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xml" ContentType="application/vnd.openxmlformats-officedocument.presentationml.tags+xml"/>
  <Override PartName="/ppt/notesSlides/notesSlide17.xml" ContentType="application/vnd.openxmlformats-officedocument.presentationml.notesSlide+xml"/>
  <Override PartName="/ppt/tags/tag2.xml" ContentType="application/vnd.openxmlformats-officedocument.presentationml.tags+xml"/>
  <Override PartName="/ppt/notesSlides/notesSlide18.xml" ContentType="application/vnd.openxmlformats-officedocument.presentationml.notesSlide+xml"/>
  <Override PartName="/ppt/tags/tag3.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0" r:id="rId2"/>
    <p:sldMasterId id="2147483707" r:id="rId3"/>
    <p:sldMasterId id="2147483731" r:id="rId4"/>
    <p:sldMasterId id="2147483737" r:id="rId5"/>
  </p:sldMasterIdLst>
  <p:notesMasterIdLst>
    <p:notesMasterId r:id="rId50"/>
  </p:notesMasterIdLst>
  <p:sldIdLst>
    <p:sldId id="263" r:id="rId6"/>
    <p:sldId id="275" r:id="rId7"/>
    <p:sldId id="269" r:id="rId8"/>
    <p:sldId id="256" r:id="rId9"/>
    <p:sldId id="2147483647" r:id="rId10"/>
    <p:sldId id="2147482750" r:id="rId11"/>
    <p:sldId id="2147483438" r:id="rId12"/>
    <p:sldId id="2147483629" r:id="rId13"/>
    <p:sldId id="2147483641" r:id="rId14"/>
    <p:sldId id="2147483642" r:id="rId15"/>
    <p:sldId id="261" r:id="rId16"/>
    <p:sldId id="2147483643" r:id="rId17"/>
    <p:sldId id="280" r:id="rId18"/>
    <p:sldId id="2147483592" r:id="rId19"/>
    <p:sldId id="2147483359" r:id="rId20"/>
    <p:sldId id="2147483476" r:id="rId21"/>
    <p:sldId id="2147483615" r:id="rId22"/>
    <p:sldId id="2147483616" r:id="rId23"/>
    <p:sldId id="2147483617" r:id="rId24"/>
    <p:sldId id="278" r:id="rId25"/>
    <p:sldId id="2147483638" r:id="rId26"/>
    <p:sldId id="262" r:id="rId27"/>
    <p:sldId id="2147483633" r:id="rId28"/>
    <p:sldId id="2147483634" r:id="rId29"/>
    <p:sldId id="264" r:id="rId30"/>
    <p:sldId id="2147483636" r:id="rId31"/>
    <p:sldId id="2147483637" r:id="rId32"/>
    <p:sldId id="265" r:id="rId33"/>
    <p:sldId id="300" r:id="rId34"/>
    <p:sldId id="291" r:id="rId35"/>
    <p:sldId id="2147483591" r:id="rId36"/>
    <p:sldId id="2147483590" r:id="rId37"/>
    <p:sldId id="329" r:id="rId38"/>
    <p:sldId id="295" r:id="rId39"/>
    <p:sldId id="260" r:id="rId40"/>
    <p:sldId id="277" r:id="rId41"/>
    <p:sldId id="2147483297" r:id="rId42"/>
    <p:sldId id="2147483499" r:id="rId43"/>
    <p:sldId id="276" r:id="rId44"/>
    <p:sldId id="266" r:id="rId45"/>
    <p:sldId id="271" r:id="rId46"/>
    <p:sldId id="2147483549" r:id="rId47"/>
    <p:sldId id="281" r:id="rId48"/>
    <p:sldId id="259" r:id="rId4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97A0BB2-D174-E50C-97BD-A0223FD3D169}" name="Hunt, Simon" initials="HS" userId="S::simon.hunt@starkbuild.co.uk::c5f4a0a2-46ec-4a64-a118-17fe020312be"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2" autoAdjust="0"/>
    <p:restoredTop sz="57217" autoAdjust="0"/>
  </p:normalViewPr>
  <p:slideViewPr>
    <p:cSldViewPr snapToGrid="0">
      <p:cViewPr varScale="1">
        <p:scale>
          <a:sx n="44" d="100"/>
          <a:sy n="44" d="100"/>
        </p:scale>
        <p:origin x="1500" y="28"/>
      </p:cViewPr>
      <p:guideLst/>
    </p:cSldViewPr>
  </p:slideViewPr>
  <p:outlineViewPr>
    <p:cViewPr>
      <p:scale>
        <a:sx n="33" d="100"/>
        <a:sy n="33" d="100"/>
      </p:scale>
      <p:origin x="0" y="-5022"/>
    </p:cViewPr>
  </p:outlineViewPr>
  <p:notesTextViewPr>
    <p:cViewPr>
      <p:scale>
        <a:sx n="1" d="1"/>
        <a:sy n="1" d="1"/>
      </p:scale>
      <p:origin x="0" y="0"/>
    </p:cViewPr>
  </p:notesTextViewPr>
  <p:sorterViewPr>
    <p:cViewPr>
      <p:scale>
        <a:sx n="90" d="100"/>
        <a:sy n="90" d="100"/>
      </p:scale>
      <p:origin x="0" y="-855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notesMaster" Target="notesMasters/notesMaster1.xml"/><Relationship Id="rId55" Type="http://schemas.microsoft.com/office/2016/11/relationships/changesInfo" Target="changesInfos/changesInfo1.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heme" Target="theme/theme1.xml"/><Relationship Id="rId5" Type="http://schemas.openxmlformats.org/officeDocument/2006/relationships/slideMaster" Target="slideMasters/slideMaster5.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microsoft.com/office/2018/10/relationships/authors" Target="authors.xml"/><Relationship Id="rId8" Type="http://schemas.openxmlformats.org/officeDocument/2006/relationships/slide" Target="slides/slide3.xml"/><Relationship Id="rId51"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ains, Shital" userId="f052a3ab-5779-446e-8ab4-4aeb0847a385" providerId="ADAL" clId="{7F9F34B3-4258-4EAA-9E2C-AD6C973CEC39}"/>
    <pc:docChg chg="modSld">
      <pc:chgData name="Bains, Shital" userId="f052a3ab-5779-446e-8ab4-4aeb0847a385" providerId="ADAL" clId="{7F9F34B3-4258-4EAA-9E2C-AD6C973CEC39}" dt="2024-02-12T12:20:52.920" v="51" actId="20577"/>
      <pc:docMkLst>
        <pc:docMk/>
      </pc:docMkLst>
      <pc:sldChg chg="modNotesTx">
        <pc:chgData name="Bains, Shital" userId="f052a3ab-5779-446e-8ab4-4aeb0847a385" providerId="ADAL" clId="{7F9F34B3-4258-4EAA-9E2C-AD6C973CEC39}" dt="2024-02-12T12:13:32.102" v="7" actId="20577"/>
        <pc:sldMkLst>
          <pc:docMk/>
          <pc:sldMk cId="2715511627" sldId="2147483476"/>
        </pc:sldMkLst>
      </pc:sldChg>
      <pc:sldChg chg="modNotesTx">
        <pc:chgData name="Bains, Shital" userId="f052a3ab-5779-446e-8ab4-4aeb0847a385" providerId="ADAL" clId="{7F9F34B3-4258-4EAA-9E2C-AD6C973CEC39}" dt="2024-02-12T12:20:52.920" v="51" actId="20577"/>
        <pc:sldMkLst>
          <pc:docMk/>
          <pc:sldMk cId="1773659989" sldId="2147483617"/>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716795B-70FF-4387-81A1-D1796EDE3BA5}" type="datetimeFigureOut">
              <a:t>2/1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99FA1A0-4253-4298-8106-84580E58E95F}" type="slidenum">
              <a:t>‹#›</a:t>
            </a:fld>
            <a:endParaRPr lang="en-US"/>
          </a:p>
        </p:txBody>
      </p:sp>
    </p:spTree>
    <p:extLst>
      <p:ext uri="{BB962C8B-B14F-4D97-AF65-F5344CB8AC3E}">
        <p14:creationId xmlns:p14="http://schemas.microsoft.com/office/powerpoint/2010/main" val="35802702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Morning/Afternoon.</a:t>
            </a:r>
          </a:p>
          <a:p>
            <a:pPr marL="171450" indent="-171450">
              <a:buFont typeface="Arial" panose="020B0604020202020204" pitchFamily="34" charset="0"/>
              <a:buChar char="•"/>
            </a:pPr>
            <a:r>
              <a:rPr lang="en-GB" dirty="0"/>
              <a:t>Today’s Team Talk is all about sharing the key messages from the Regional Roadshows and us talking about what – and how we’re going to make sure we deliver fantastic results this year, growing our live credit customer accounts and being a really strong team.</a:t>
            </a:r>
          </a:p>
        </p:txBody>
      </p:sp>
      <p:sp>
        <p:nvSpPr>
          <p:cNvPr id="4" name="Slide Number Placeholder 3"/>
          <p:cNvSpPr>
            <a:spLocks noGrp="1"/>
          </p:cNvSpPr>
          <p:nvPr>
            <p:ph type="sldNum" sz="quarter" idx="5"/>
          </p:nvPr>
        </p:nvSpPr>
        <p:spPr/>
        <p:txBody>
          <a:bodyPr/>
          <a:lstStyle/>
          <a:p>
            <a:fld id="{099FA1A0-4253-4298-8106-84580E58E95F}" type="slidenum">
              <a:rPr lang="en-GB" smtClean="0"/>
              <a:t>1</a:t>
            </a:fld>
            <a:endParaRPr lang="en-GB"/>
          </a:p>
        </p:txBody>
      </p:sp>
    </p:spTree>
    <p:extLst>
      <p:ext uri="{BB962C8B-B14F-4D97-AF65-F5344CB8AC3E}">
        <p14:creationId xmlns:p14="http://schemas.microsoft.com/office/powerpoint/2010/main" val="22298766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41525" y="301625"/>
            <a:ext cx="2655888" cy="1493838"/>
          </a:xfrm>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FEC9DA-59F6-4F18-B9AD-650860882079}" type="slidenum">
              <a:rPr kumimoji="0" lang="en-GB" sz="1200" b="0" i="0" u="none" strike="noStrike" kern="1200" cap="none" spc="0" normalizeH="0" baseline="0" noProof="0" smtClean="0">
                <a:ln>
                  <a:noFill/>
                </a:ln>
                <a:solidFill>
                  <a:prstClr val="black"/>
                </a:solidFill>
                <a:effectLst/>
                <a:uLnTx/>
                <a:uFillTx/>
                <a:latin typeface="Roboto"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Roboto" panose="020F0502020204030204"/>
              <a:ea typeface="+mn-ea"/>
              <a:cs typeface="+mn-cs"/>
            </a:endParaRPr>
          </a:p>
        </p:txBody>
      </p:sp>
      <p:sp>
        <p:nvSpPr>
          <p:cNvPr id="5" name="Notes Placeholder 2">
            <a:extLst>
              <a:ext uri="{FF2B5EF4-FFF2-40B4-BE49-F238E27FC236}">
                <a16:creationId xmlns:a16="http://schemas.microsoft.com/office/drawing/2014/main" id="{634CCDC7-3444-0BB8-247D-5C31D9ABCF43}"/>
              </a:ext>
            </a:extLst>
          </p:cNvPr>
          <p:cNvSpPr txBox="1">
            <a:spLocks/>
          </p:cNvSpPr>
          <p:nvPr/>
        </p:nvSpPr>
        <p:spPr>
          <a:xfrm>
            <a:off x="7269270" y="2257429"/>
            <a:ext cx="5388610" cy="5069606"/>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marL="228600" marR="0" lvl="0" indent="-2286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prstClr val="black"/>
              </a:solidFill>
              <a:effectLst/>
              <a:uLnTx/>
              <a:uFillTx/>
              <a:latin typeface="Roboto" panose="020F0502020204030204"/>
              <a:ea typeface="Calibri"/>
              <a:cs typeface="Calibri"/>
            </a:endParaRPr>
          </a:p>
        </p:txBody>
      </p:sp>
      <p:sp>
        <p:nvSpPr>
          <p:cNvPr id="7" name="Notes Placeholder 6">
            <a:extLst>
              <a:ext uri="{FF2B5EF4-FFF2-40B4-BE49-F238E27FC236}">
                <a16:creationId xmlns:a16="http://schemas.microsoft.com/office/drawing/2014/main" id="{51A3F464-FC90-7307-4200-3A13CA84619C}"/>
              </a:ext>
            </a:extLst>
          </p:cNvPr>
          <p:cNvSpPr>
            <a:spLocks noGrp="1"/>
          </p:cNvSpPr>
          <p:nvPr>
            <p:ph type="body" sz="quarter" idx="3"/>
          </p:nvPr>
        </p:nvSpPr>
        <p:spPr>
          <a:xfrm>
            <a:off x="673577" y="2257429"/>
            <a:ext cx="5388610" cy="7307259"/>
          </a:xfrm>
        </p:spPr>
        <p:txBody>
          <a:bodyPr/>
          <a:lstStyle/>
          <a:p>
            <a:pPr marL="228600" marR="0" lvl="0" indent="-228600" algn="l" defTabSz="914400" rtl="0" eaLnBrk="1" fontAlgn="auto" latinLnBrk="0" hangingPunct="1">
              <a:spcBef>
                <a:spcPts val="0"/>
              </a:spcBef>
              <a:spcAft>
                <a:spcPts val="600"/>
              </a:spcAft>
              <a:buClrTx/>
              <a:buSzTx/>
              <a:buFont typeface="Arial" panose="020B0604020202020204" pitchFamily="34" charset="0"/>
              <a:buChar char="•"/>
              <a:tabLst/>
              <a:defRPr/>
            </a:pPr>
            <a:r>
              <a:rPr lang="en-US" dirty="0">
                <a:cs typeface="Calibri"/>
              </a:rPr>
              <a:t>Our STARK factor – our secret sauce?</a:t>
            </a:r>
          </a:p>
          <a:p>
            <a:pPr marL="228600" marR="0" lvl="0" indent="-228600" algn="l" defTabSz="914400" rtl="0" eaLnBrk="1" fontAlgn="auto" latinLnBrk="0" hangingPunct="1">
              <a:spcBef>
                <a:spcPts val="0"/>
              </a:spcBef>
              <a:spcAft>
                <a:spcPts val="600"/>
              </a:spcAft>
              <a:buClrTx/>
              <a:buSzTx/>
              <a:buFont typeface="Arial" panose="020B0604020202020204" pitchFamily="34" charset="0"/>
              <a:buChar char="•"/>
              <a:tabLst/>
              <a:defRPr/>
            </a:pPr>
            <a:r>
              <a:rPr lang="en-US" dirty="0">
                <a:ea typeface="Calibri"/>
                <a:cs typeface="Calibri"/>
              </a:rPr>
              <a:t>It’s our products, range, availability and guidance to ensure a fair price.</a:t>
            </a:r>
          </a:p>
          <a:p>
            <a:pPr marL="228600" marR="0" lvl="0" indent="-228600" algn="l" defTabSz="914400" rtl="0" eaLnBrk="1" fontAlgn="auto" latinLnBrk="0" hangingPunct="1">
              <a:spcBef>
                <a:spcPts val="0"/>
              </a:spcBef>
              <a:spcAft>
                <a:spcPts val="600"/>
              </a:spcAft>
              <a:buClrTx/>
              <a:buSzTx/>
              <a:buFont typeface="Arial" panose="020B0604020202020204" pitchFamily="34" charset="0"/>
              <a:buChar char="•"/>
              <a:tabLst/>
              <a:defRPr/>
            </a:pPr>
            <a:r>
              <a:rPr lang="en-US" dirty="0">
                <a:ea typeface="Calibri"/>
                <a:cs typeface="Calibri"/>
              </a:rPr>
              <a:t>It’s our focus on customers and the expertise we offer and how we partner with them to go above and beyond, every time.</a:t>
            </a:r>
          </a:p>
          <a:p>
            <a:pPr marL="228600" marR="0" lvl="0" indent="-228600" algn="l" defTabSz="914400" rtl="0" eaLnBrk="1" fontAlgn="auto" latinLnBrk="0" hangingPunct="1">
              <a:spcBef>
                <a:spcPts val="0"/>
              </a:spcBef>
              <a:spcAft>
                <a:spcPts val="600"/>
              </a:spcAft>
              <a:buClrTx/>
              <a:buSzTx/>
              <a:buFont typeface="Arial" panose="020B0604020202020204" pitchFamily="34" charset="0"/>
              <a:buChar char="•"/>
              <a:tabLst/>
              <a:defRPr/>
            </a:pPr>
            <a:endParaRPr lang="en-US" dirty="0">
              <a:ea typeface="Calibri"/>
              <a:cs typeface="Calibri"/>
            </a:endParaRPr>
          </a:p>
          <a:p>
            <a:pPr>
              <a:spcAft>
                <a:spcPts val="600"/>
              </a:spcAft>
            </a:pPr>
            <a:endParaRPr lang="en-GB" dirty="0"/>
          </a:p>
        </p:txBody>
      </p:sp>
    </p:spTree>
    <p:extLst>
      <p:ext uri="{BB962C8B-B14F-4D97-AF65-F5344CB8AC3E}">
        <p14:creationId xmlns:p14="http://schemas.microsoft.com/office/powerpoint/2010/main" val="24885448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41525" y="301625"/>
            <a:ext cx="2655888" cy="1493838"/>
          </a:xfrm>
        </p:spPr>
      </p:sp>
      <p:sp>
        <p:nvSpPr>
          <p:cNvPr id="3" name="Notes Placeholder 2"/>
          <p:cNvSpPr>
            <a:spLocks noGrp="1"/>
          </p:cNvSpPr>
          <p:nvPr>
            <p:ph type="body" idx="1"/>
          </p:nvPr>
        </p:nvSpPr>
        <p:spPr>
          <a:xfrm>
            <a:off x="673576" y="2152497"/>
            <a:ext cx="5388610" cy="5069606"/>
          </a:xfrm>
        </p:spPr>
        <p:txBody>
          <a:bodyPr/>
          <a:lstStyle/>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dirty="0">
                <a:ea typeface="Calibri"/>
                <a:cs typeface="Calibri"/>
              </a:rPr>
              <a:t>The Trust in Better strategy is removing the things getting in the way, so there’s really nothing that’s stopping us focusing on our customers. That’s what we need to focus on.</a:t>
            </a:r>
          </a:p>
          <a:p>
            <a:pPr marR="0" lvl="0" algn="l" defTabSz="914400" rtl="0" eaLnBrk="1" fontAlgn="auto" latinLnBrk="0" hangingPunct="1">
              <a:lnSpc>
                <a:spcPct val="150000"/>
              </a:lnSpc>
              <a:spcBef>
                <a:spcPts val="0"/>
              </a:spcBef>
              <a:spcAft>
                <a:spcPts val="0"/>
              </a:spcAft>
              <a:buClrTx/>
              <a:buSzTx/>
              <a:tabLst/>
              <a:defRPr/>
            </a:pPr>
            <a:endParaRPr lang="en-GB" dirty="0">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FEC9DA-59F6-4F18-B9AD-650860882079}" type="slidenum">
              <a:rPr kumimoji="0" lang="en-GB" sz="1200" b="0" i="0" u="none" strike="noStrike" kern="1200" cap="none" spc="0" normalizeH="0" baseline="0" noProof="0" smtClean="0">
                <a:ln>
                  <a:noFill/>
                </a:ln>
                <a:solidFill>
                  <a:prstClr val="black"/>
                </a:solidFill>
                <a:effectLst/>
                <a:uLnTx/>
                <a:uFillTx/>
                <a:latin typeface="Roboto"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Roboto" panose="020F0502020204030204"/>
              <a:ea typeface="+mn-ea"/>
              <a:cs typeface="+mn-cs"/>
            </a:endParaRPr>
          </a:p>
        </p:txBody>
      </p:sp>
    </p:spTree>
    <p:extLst>
      <p:ext uri="{BB962C8B-B14F-4D97-AF65-F5344CB8AC3E}">
        <p14:creationId xmlns:p14="http://schemas.microsoft.com/office/powerpoint/2010/main" val="1105269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39938" y="301625"/>
            <a:ext cx="2655887" cy="1493838"/>
          </a:xfrm>
        </p:spPr>
      </p:sp>
      <p:sp>
        <p:nvSpPr>
          <p:cNvPr id="3" name="Notes Placeholder 2"/>
          <p:cNvSpPr>
            <a:spLocks noGrp="1"/>
          </p:cNvSpPr>
          <p:nvPr>
            <p:ph type="body" idx="1"/>
          </p:nvPr>
        </p:nvSpPr>
        <p:spPr>
          <a:xfrm>
            <a:off x="673576" y="2234796"/>
            <a:ext cx="5388610" cy="3884861"/>
          </a:xfrm>
        </p:spPr>
        <p:txBody>
          <a:bodyPr/>
          <a:lstStyle/>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dirty="0">
                <a:ea typeface="Calibri"/>
                <a:cs typeface="Calibri"/>
              </a:rPr>
              <a:t>Bring a little bit more brilliance every day. </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dirty="0">
                <a:ea typeface="Calibri"/>
                <a:cs typeface="Calibri"/>
              </a:rPr>
              <a:t>Every single improvement adds up to an even greater result.</a:t>
            </a:r>
          </a:p>
          <a:p>
            <a:pPr marR="0" lvl="0" algn="l" defTabSz="914400" rtl="0" eaLnBrk="1" fontAlgn="auto" latinLnBrk="0" hangingPunct="1">
              <a:lnSpc>
                <a:spcPct val="150000"/>
              </a:lnSpc>
              <a:spcBef>
                <a:spcPts val="0"/>
              </a:spcBef>
              <a:spcAft>
                <a:spcPts val="0"/>
              </a:spcAft>
              <a:buClrTx/>
              <a:buSzTx/>
              <a:tabLst/>
              <a:defRPr/>
            </a:pPr>
            <a:endParaRPr lang="en-GB" dirty="0">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FEC9DA-59F6-4F18-B9AD-650860882079}" type="slidenum">
              <a:rPr kumimoji="0" lang="en-GB" sz="1200" b="0" i="0" u="none" strike="noStrike" kern="1200" cap="none" spc="0" normalizeH="0" baseline="0" noProof="0" smtClean="0">
                <a:ln>
                  <a:noFill/>
                </a:ln>
                <a:solidFill>
                  <a:prstClr val="black"/>
                </a:solidFill>
                <a:effectLst/>
                <a:uLnTx/>
                <a:uFillTx/>
                <a:latin typeface="Roboto"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Roboto" panose="020F0502020204030204"/>
              <a:ea typeface="+mn-ea"/>
              <a:cs typeface="+mn-cs"/>
            </a:endParaRPr>
          </a:p>
        </p:txBody>
      </p:sp>
    </p:spTree>
    <p:extLst>
      <p:ext uri="{BB962C8B-B14F-4D97-AF65-F5344CB8AC3E}">
        <p14:creationId xmlns:p14="http://schemas.microsoft.com/office/powerpoint/2010/main" val="24328656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solidFill>
                  <a:srgbClr val="000000"/>
                </a:solidFill>
              </a:rPr>
              <a:t>We’ve got a simple strategy that will get us to being the UK’s number one builders’ merchant.</a:t>
            </a:r>
          </a:p>
          <a:p>
            <a:endParaRPr lang="en-GB" dirty="0">
              <a:solidFill>
                <a:srgbClr val="000000"/>
              </a:solidFill>
              <a:latin typeface="Roboto" panose="02000000000000000000" pitchFamily="2" charset="0"/>
              <a:ea typeface="Roboto"/>
              <a:cs typeface="Roboto"/>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FEC9DA-59F6-4F18-B9AD-650860882079}" type="slidenum">
              <a:rPr kumimoji="0" lang="en-GB" sz="1200" b="0" i="0" u="none" strike="noStrike" kern="1200" cap="none" spc="0" normalizeH="0" baseline="0" noProof="0" smtClean="0">
                <a:ln>
                  <a:noFill/>
                </a:ln>
                <a:solidFill>
                  <a:prstClr val="black"/>
                </a:solidFill>
                <a:effectLst/>
                <a:uLnTx/>
                <a:uFillTx/>
                <a:latin typeface="Roboto"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Roboto" panose="020F0502020204030204"/>
              <a:ea typeface="+mn-ea"/>
              <a:cs typeface="+mn-cs"/>
            </a:endParaRPr>
          </a:p>
        </p:txBody>
      </p:sp>
    </p:spTree>
    <p:extLst>
      <p:ext uri="{BB962C8B-B14F-4D97-AF65-F5344CB8AC3E}">
        <p14:creationId xmlns:p14="http://schemas.microsoft.com/office/powerpoint/2010/main" val="23933618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solidFill>
                  <a:srgbClr val="000000"/>
                </a:solidFill>
              </a:rPr>
              <a:t>Every business has a clear plan and our specialist businesses each have a clear focus:</a:t>
            </a:r>
          </a:p>
          <a:p>
            <a:pPr marL="628650" lvl="1" indent="-171450">
              <a:buFont typeface="Arial" panose="020B0604020202020204" pitchFamily="34" charset="0"/>
              <a:buChar char="•"/>
            </a:pPr>
            <a:r>
              <a:rPr lang="en-GB" dirty="0">
                <a:solidFill>
                  <a:srgbClr val="000000"/>
                </a:solidFill>
              </a:rPr>
              <a:t>Jewson Civils Frazer – Electric and water.</a:t>
            </a:r>
          </a:p>
          <a:p>
            <a:pPr marL="628650" lvl="1" indent="-171450">
              <a:buFont typeface="Arial" panose="020B0604020202020204" pitchFamily="34" charset="0"/>
              <a:buChar char="•"/>
            </a:pPr>
            <a:r>
              <a:rPr lang="en-GB" dirty="0">
                <a:solidFill>
                  <a:srgbClr val="000000"/>
                </a:solidFill>
              </a:rPr>
              <a:t>Minster – Dry cladding and fire protection.</a:t>
            </a:r>
          </a:p>
          <a:p>
            <a:pPr marL="628650" lvl="1" indent="-171450">
              <a:buFont typeface="Arial" panose="020B0604020202020204" pitchFamily="34" charset="0"/>
              <a:buChar char="•"/>
            </a:pPr>
            <a:r>
              <a:rPr lang="en-GB" dirty="0">
                <a:solidFill>
                  <a:srgbClr val="000000"/>
                </a:solidFill>
              </a:rPr>
              <a:t>International Timber – Higher value-added engineered timber.</a:t>
            </a:r>
          </a:p>
          <a:p>
            <a:pPr marL="628650" lvl="1" indent="-171450">
              <a:buFont typeface="Arial" panose="020B0604020202020204" pitchFamily="34" charset="0"/>
              <a:buChar char="•"/>
            </a:pPr>
            <a:r>
              <a:rPr lang="en-GB" dirty="0">
                <a:solidFill>
                  <a:srgbClr val="000000"/>
                </a:solidFill>
              </a:rPr>
              <a:t>Etc.</a:t>
            </a:r>
          </a:p>
          <a:p>
            <a:endParaRPr lang="en-GB" dirty="0">
              <a:ea typeface="Roboto"/>
              <a:cs typeface="Roboto"/>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FEC9DA-59F6-4F18-B9AD-650860882079}" type="slidenum">
              <a:rPr kumimoji="0" lang="en-GB" sz="1200" b="0" i="0" u="none" strike="noStrike" kern="1200" cap="none" spc="0" normalizeH="0" baseline="0" noProof="0" smtClean="0">
                <a:ln>
                  <a:noFill/>
                </a:ln>
                <a:solidFill>
                  <a:prstClr val="black"/>
                </a:solidFill>
                <a:effectLst/>
                <a:uLnTx/>
                <a:uFillTx/>
                <a:latin typeface="Roboto"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Roboto" panose="020F0502020204030204"/>
              <a:ea typeface="+mn-ea"/>
              <a:cs typeface="+mn-cs"/>
            </a:endParaRPr>
          </a:p>
        </p:txBody>
      </p:sp>
    </p:spTree>
    <p:extLst>
      <p:ext uri="{BB962C8B-B14F-4D97-AF65-F5344CB8AC3E}">
        <p14:creationId xmlns:p14="http://schemas.microsoft.com/office/powerpoint/2010/main" val="33097421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3713" y="295275"/>
            <a:ext cx="5916612" cy="3328988"/>
          </a:xfrm>
        </p:spPr>
      </p:sp>
      <p:sp>
        <p:nvSpPr>
          <p:cNvPr id="3" name="Notes Placeholder 2"/>
          <p:cNvSpPr>
            <a:spLocks noGrp="1"/>
          </p:cNvSpPr>
          <p:nvPr>
            <p:ph type="body" idx="1"/>
          </p:nvPr>
        </p:nvSpPr>
        <p:spPr>
          <a:xfrm>
            <a:off x="673576" y="3833763"/>
            <a:ext cx="5388610" cy="3884861"/>
          </a:xfrm>
        </p:spPr>
        <p:txBody>
          <a:bodyPr/>
          <a:lstStyle/>
          <a:p>
            <a:r>
              <a:rPr lang="en-GB" sz="1800" dirty="0">
                <a:effectLst/>
                <a:latin typeface="Calibri" panose="020F0502020204030204" pitchFamily="34" charset="0"/>
                <a:ea typeface="Times New Roman" panose="02020603050405020304" pitchFamily="18" charset="0"/>
              </a:rPr>
              <a:t>We have the ambition to be the number 1 builders' merchant. That means that we want to be the first choice of merchant for the small </a:t>
            </a:r>
            <a:br>
              <a:rPr lang="en-GB" sz="1800" dirty="0">
                <a:effectLst/>
                <a:latin typeface="Calibri" panose="020F0502020204030204" pitchFamily="34" charset="0"/>
                <a:ea typeface="Times New Roman" panose="02020603050405020304" pitchFamily="18" charset="0"/>
              </a:rPr>
            </a:br>
            <a:r>
              <a:rPr lang="en-GB" sz="1800" dirty="0">
                <a:effectLst/>
                <a:latin typeface="Calibri" panose="020F0502020204030204" pitchFamily="34" charset="0"/>
                <a:ea typeface="Times New Roman" panose="02020603050405020304" pitchFamily="18" charset="0"/>
              </a:rPr>
              <a:t>and medium local jobbing builder. Our Strategy for Jewson is focussed entirely on achieving that ambition</a:t>
            </a:r>
            <a:br>
              <a:rPr lang="en-GB" sz="1800" dirty="0">
                <a:effectLst/>
                <a:latin typeface="Calibri" panose="020F0502020204030204" pitchFamily="34" charset="0"/>
                <a:ea typeface="Times New Roman" panose="02020603050405020304" pitchFamily="18" charset="0"/>
              </a:rPr>
            </a:br>
            <a:br>
              <a:rPr lang="en-GB" sz="1800" dirty="0">
                <a:effectLst/>
                <a:latin typeface="Calibri" panose="020F0502020204030204" pitchFamily="34" charset="0"/>
                <a:ea typeface="Times New Roman" panose="02020603050405020304" pitchFamily="18" charset="0"/>
              </a:rPr>
            </a:br>
            <a:r>
              <a:rPr lang="en-GB" sz="1800" dirty="0">
                <a:effectLst/>
                <a:latin typeface="Calibri" panose="020F0502020204030204" pitchFamily="34" charset="0"/>
                <a:ea typeface="Times New Roman" panose="02020603050405020304" pitchFamily="18" charset="0"/>
              </a:rPr>
              <a:t>Before I explain the detail of that let me just explain about some of the specialist businesses in the group</a:t>
            </a:r>
            <a:endParaRPr lang="cy-GB" sz="1000" b="1" dirty="0"/>
          </a:p>
          <a:p>
            <a:endParaRPr lang="cy-GB" sz="1000" b="1" dirty="0"/>
          </a:p>
          <a:p>
            <a:r>
              <a:rPr lang="cy-GB" sz="1000" b="1" dirty="0"/>
              <a:t>7 Specialist Businesses</a:t>
            </a:r>
            <a:endParaRPr lang="en-US" sz="1000" dirty="0"/>
          </a:p>
          <a:p>
            <a:r>
              <a:rPr lang="cy-GB" sz="1000" dirty="0"/>
              <a:t> </a:t>
            </a:r>
            <a:endParaRPr lang="cy-GB" sz="1000" dirty="0">
              <a:ea typeface="Roboto"/>
              <a:cs typeface="Roboto"/>
            </a:endParaRPr>
          </a:p>
          <a:p>
            <a:r>
              <a:rPr lang="cy-GB" sz="1000" b="1" dirty="0"/>
              <a:t>Minster</a:t>
            </a:r>
            <a:endParaRPr lang="cy-GB" sz="1000" dirty="0"/>
          </a:p>
          <a:p>
            <a:r>
              <a:rPr lang="cy-GB" sz="1000" dirty="0"/>
              <a:t>Specialist distributors of interior solutions, dry lining and insulation, partitions, roofing and ceilings.  Minster focus is on extending our specialist ranges,  incorporating new suppliers and innovations for the growing areas of fire, facade, ceiling and insulation offer and working hard on our target project pipelines</a:t>
            </a:r>
            <a:endParaRPr lang="cy-GB" sz="1000" dirty="0">
              <a:ea typeface="Roboto"/>
              <a:cs typeface="Roboto"/>
            </a:endParaRPr>
          </a:p>
          <a:p>
            <a:r>
              <a:rPr lang="cy-GB" sz="1000" dirty="0"/>
              <a:t> </a:t>
            </a:r>
            <a:endParaRPr lang="cy-GB" sz="1000" dirty="0">
              <a:ea typeface="Roboto"/>
              <a:cs typeface="Roboto"/>
            </a:endParaRPr>
          </a:p>
          <a:p>
            <a:r>
              <a:rPr lang="cy-GB" sz="1000" b="1" dirty="0"/>
              <a:t>Frazer</a:t>
            </a:r>
            <a:endParaRPr lang="cy-GB" sz="1000" dirty="0"/>
          </a:p>
          <a:p>
            <a:r>
              <a:rPr lang="cy-GB" sz="1000" dirty="0"/>
              <a:t>JCF also extending ranges focussing particularly on multi-utility and surface water management propositions and engaging early in key projects and framework opportunities and further develop the power and infrastructure pipeline</a:t>
            </a:r>
            <a:endParaRPr lang="cy-GB" sz="1000" dirty="0">
              <a:ea typeface="Roboto"/>
              <a:cs typeface="Roboto"/>
            </a:endParaRPr>
          </a:p>
          <a:p>
            <a:r>
              <a:rPr lang="cy-GB" sz="1000" dirty="0"/>
              <a:t> </a:t>
            </a:r>
            <a:endParaRPr lang="cy-GB" sz="1000" dirty="0">
              <a:ea typeface="Roboto"/>
              <a:cs typeface="Roboto"/>
            </a:endParaRPr>
          </a:p>
          <a:p>
            <a:r>
              <a:rPr lang="cy-GB" sz="1000" b="1" dirty="0"/>
              <a:t>Normans</a:t>
            </a:r>
            <a:endParaRPr lang="cy-GB" sz="1000" dirty="0"/>
          </a:p>
          <a:p>
            <a:r>
              <a:rPr lang="cy-GB" sz="1000" dirty="0"/>
              <a:t>Fascinating, great very broad General Builders Merchants, Civils, Offsite manufacture and assembly, Steel bending, Kitchens and bathrooms, Hire, Agriculture, Auto Marine</a:t>
            </a:r>
          </a:p>
          <a:p>
            <a:r>
              <a:rPr lang="cy-GB" sz="1000" dirty="0"/>
              <a:t> </a:t>
            </a:r>
            <a:endParaRPr lang="cy-GB" sz="1000" dirty="0">
              <a:ea typeface="Roboto"/>
              <a:cs typeface="Roboto"/>
            </a:endParaRPr>
          </a:p>
          <a:p>
            <a:r>
              <a:rPr lang="cy-GB" sz="1000" b="1" dirty="0"/>
              <a:t>JP Corry</a:t>
            </a:r>
            <a:endParaRPr lang="cy-GB" sz="1000" dirty="0"/>
          </a:p>
          <a:p>
            <a:r>
              <a:rPr lang="cy-GB" sz="1000" dirty="0"/>
              <a:t>JPC looking to enhance specialist ranges and Value-added products, through our technical teams such as facades, water management, doors &amp; washrooms, reviewing options for toll hire addition and a major revamp of the flagship site at Springfield Road with planning now approved</a:t>
            </a:r>
          </a:p>
          <a:p>
            <a:r>
              <a:rPr lang="cy-GB" sz="1000" dirty="0"/>
              <a:t> </a:t>
            </a:r>
            <a:endParaRPr lang="cy-GB" sz="1000" dirty="0">
              <a:ea typeface="Roboto"/>
              <a:cs typeface="Roboto"/>
            </a:endParaRPr>
          </a:p>
          <a:p>
            <a:r>
              <a:rPr lang="cy-GB" sz="1000" b="1" dirty="0"/>
              <a:t>MBS</a:t>
            </a:r>
            <a:endParaRPr lang="cy-GB" sz="1000" dirty="0"/>
          </a:p>
          <a:p>
            <a:r>
              <a:rPr lang="cy-GB" sz="1000" dirty="0"/>
              <a:t>Major Build Solutions operates from 6 dedicated hubs across Great Britain offering a unique proposition to our large housebuilder customers, planning to double the revenue generated in the next 4 years. We will also expand the geographic footprint with a new site in the NW.  </a:t>
            </a:r>
          </a:p>
          <a:p>
            <a:r>
              <a:rPr lang="cy-GB" sz="1000" dirty="0"/>
              <a:t> </a:t>
            </a:r>
            <a:endParaRPr lang="cy-GB" sz="1000" dirty="0">
              <a:ea typeface="Roboto"/>
              <a:cs typeface="Roboto"/>
            </a:endParaRPr>
          </a:p>
          <a:p>
            <a:r>
              <a:rPr lang="cy-GB" sz="1000" b="1" dirty="0"/>
              <a:t>JPS</a:t>
            </a:r>
            <a:endParaRPr lang="cy-GB" sz="1000" dirty="0"/>
          </a:p>
          <a:p>
            <a:r>
              <a:rPr lang="cy-GB" sz="1000" dirty="0"/>
              <a:t>Fabulous proposition for the public sector RMI segment of the business. Great guns and growing fast, multiple recent wins. Doubled sales over past 4 years and planning to do the same over the next 4 years. Will be over 70 standalone stores in 2024</a:t>
            </a:r>
          </a:p>
          <a:p>
            <a:r>
              <a:rPr lang="cy-GB" sz="1000" dirty="0"/>
              <a:t> </a:t>
            </a:r>
            <a:endParaRPr lang="cy-GB" sz="1000" dirty="0">
              <a:ea typeface="Roboto"/>
              <a:cs typeface="Roboto"/>
            </a:endParaRPr>
          </a:p>
          <a:p>
            <a:r>
              <a:rPr lang="cy-GB" sz="1000" b="1" dirty="0"/>
              <a:t>International Timber</a:t>
            </a:r>
            <a:endParaRPr lang="cy-GB" sz="1000" dirty="0"/>
          </a:p>
          <a:p>
            <a:r>
              <a:rPr lang="cy-GB" sz="1000" dirty="0"/>
              <a:t>Key focus is to drive Growth in Hardwoods (mainly Machined), laminated, cladding, specialist panel and Modified products with improved profitability</a:t>
            </a:r>
          </a:p>
          <a:p>
            <a:endParaRPr lang="cy-GB" sz="1000" dirty="0">
              <a:ea typeface="Roboto"/>
              <a:cs typeface="Roboto"/>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FEC9DA-59F6-4F18-B9AD-650860882079}" type="slidenum">
              <a:rPr kumimoji="0" lang="en-GB" sz="1200" b="0" i="0" u="none" strike="noStrike" kern="1200" cap="none" spc="0" normalizeH="0" baseline="0" noProof="0" smtClean="0">
                <a:ln>
                  <a:noFill/>
                </a:ln>
                <a:solidFill>
                  <a:prstClr val="black"/>
                </a:solidFill>
                <a:effectLst/>
                <a:uLnTx/>
                <a:uFillTx/>
                <a:latin typeface="Roboto"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Roboto" panose="020F0502020204030204"/>
              <a:ea typeface="+mn-ea"/>
              <a:cs typeface="+mn-cs"/>
            </a:endParaRPr>
          </a:p>
        </p:txBody>
      </p:sp>
    </p:spTree>
    <p:extLst>
      <p:ext uri="{BB962C8B-B14F-4D97-AF65-F5344CB8AC3E}">
        <p14:creationId xmlns:p14="http://schemas.microsoft.com/office/powerpoint/2010/main" val="37226555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cy-GB" dirty="0"/>
              <a:t>There are 10 priority areas we’re focusing on as Jewson.</a:t>
            </a:r>
          </a:p>
          <a:p>
            <a:pPr marL="171450" indent="-171450">
              <a:buFont typeface="Arial" panose="020B0604020202020204" pitchFamily="34" charset="0"/>
              <a:buChar char="•"/>
            </a:pPr>
            <a:r>
              <a:rPr lang="cy-GB" dirty="0"/>
              <a:t>We’ve simplified the organisation and its structure; we’re simplifying policies and procedures too.</a:t>
            </a:r>
          </a:p>
          <a:p>
            <a:pPr marL="171450" indent="-171450">
              <a:buFont typeface="Arial" panose="020B0604020202020204" pitchFamily="34" charset="0"/>
              <a:buChar char="•"/>
            </a:pPr>
            <a:r>
              <a:rPr lang="cy-GB" dirty="0"/>
              <a:t>Cost reduction has been a primary focus, but it’s also about being able to enable quicker decision-making, which the new structure now supports.</a:t>
            </a:r>
          </a:p>
          <a:p>
            <a:pPr marL="171450" indent="-171450">
              <a:buFont typeface="Arial" panose="020B0604020202020204" pitchFamily="34" charset="0"/>
              <a:buChar char="•"/>
            </a:pPr>
            <a:r>
              <a:rPr lang="cy-GB" dirty="0"/>
              <a:t>Branch teams are at the hear and now have the autonomy to focus on local business and local marketing conditions. Branches now have accountability for EBITDA and P&amp;L.</a:t>
            </a:r>
          </a:p>
          <a:p>
            <a:pPr marL="171450" indent="-171450">
              <a:buFont typeface="Arial" panose="020B0604020202020204" pitchFamily="34" charset="0"/>
              <a:buChar char="•"/>
            </a:pPr>
            <a:r>
              <a:rPr lang="cy-GB" dirty="0"/>
              <a:t>We need to keep close to market prices and that’s why there’s now very clear guidance that we have to keep to, to offer a fair price AND also protect our margins. Guidance for the remaining SKUs is only weeks away and we can now focus on volume and margin uplift.</a:t>
            </a:r>
          </a:p>
          <a:p>
            <a:pPr marL="171450" indent="-171450">
              <a:buFont typeface="Arial" panose="020B0604020202020204" pitchFamily="34" charset="0"/>
              <a:buChar char="•"/>
            </a:pPr>
            <a:r>
              <a:rPr lang="cy-GB" dirty="0"/>
              <a:t>Because we’re part of STARK group, we can benefit from their scale and also sharing experiences across our country cousins. </a:t>
            </a:r>
          </a:p>
          <a:p>
            <a:pPr marL="171450" indent="-171450">
              <a:buFont typeface="Arial" panose="020B0604020202020204" pitchFamily="34" charset="0"/>
              <a:buChar char="•"/>
            </a:pPr>
            <a:r>
              <a:rPr lang="cy-GB" dirty="0"/>
              <a:t>For Jewson to be a proper builders’ merchant, we need ~9,000 SKUs to provide small and medium jobbing builders with what they need for the job. The range is being worked on and there are some exciting new products on their way.</a:t>
            </a:r>
            <a:r>
              <a:rPr lang="en-GB" sz="1800" dirty="0">
                <a:effectLst/>
                <a:latin typeface="Calibri" panose="020F0502020204030204" pitchFamily="34" charset="0"/>
                <a:ea typeface="Times New Roman" panose="02020603050405020304" pitchFamily="18" charset="0"/>
              </a:rPr>
              <a:t> Not all branches will be able to fit 9,000 </a:t>
            </a:r>
            <a:r>
              <a:rPr lang="en-GB" sz="1800" dirty="0" err="1">
                <a:effectLst/>
                <a:latin typeface="Calibri" panose="020F0502020204030204" pitchFamily="34" charset="0"/>
                <a:ea typeface="Times New Roman" panose="02020603050405020304" pitchFamily="18" charset="0"/>
              </a:rPr>
              <a:t>skus</a:t>
            </a:r>
            <a:r>
              <a:rPr lang="en-GB" sz="1800" dirty="0">
                <a:effectLst/>
                <a:latin typeface="Calibri" panose="020F0502020204030204" pitchFamily="34" charset="0"/>
                <a:ea typeface="Times New Roman" panose="02020603050405020304" pitchFamily="18" charset="0"/>
              </a:rPr>
              <a:t> but we are confident that we can increase the numbers in many branches, AND we can of course still get all the other items and more for customers when they need them within a few days. The team are working on a detailed where to buy guide</a:t>
            </a:r>
            <a:endParaRPr lang="cy-GB" dirty="0"/>
          </a:p>
          <a:p>
            <a:pPr marL="171450" indent="-171450">
              <a:buFont typeface="Arial" panose="020B0604020202020204" pitchFamily="34" charset="0"/>
              <a:buChar char="•"/>
            </a:pPr>
            <a:r>
              <a:rPr lang="cy-GB" dirty="0"/>
              <a:t>When it comes to stock, we need to be at least 96% availability, and we need to actively manage this. Relex is a forecasting tool that is now in about a third of branches and is being rolled out to help every operational team keep on top of having the right product mix and availability.</a:t>
            </a:r>
          </a:p>
          <a:p>
            <a:pPr marL="171450" indent="-171450">
              <a:buFont typeface="Arial" panose="020B0604020202020204" pitchFamily="34" charset="0"/>
              <a:buChar char="•"/>
            </a:pPr>
            <a:r>
              <a:rPr lang="cy-GB" dirty="0"/>
              <a:t>Tool Hire is a great margin business and we’re reviewing the fleet, also investing to make sure there are more and bigger sites for customers.</a:t>
            </a:r>
          </a:p>
          <a:p>
            <a:pPr marL="171450" indent="-171450">
              <a:buFont typeface="Arial" panose="020B0604020202020204" pitchFamily="34" charset="0"/>
              <a:buChar char="•"/>
            </a:pPr>
            <a:r>
              <a:rPr lang="cy-GB" dirty="0"/>
              <a:t>We need to be delivering 10 drops a day; five is the average and that’s not good enough. We’re going to be getting PDP level technology to also help improve the delivery experience for customers, drivers and in-branch teams alike.</a:t>
            </a:r>
          </a:p>
          <a:p>
            <a:pPr marL="171450" indent="-171450">
              <a:buFont typeface="Arial" panose="020B0604020202020204" pitchFamily="34" charset="0"/>
              <a:buChar char="•"/>
            </a:pPr>
            <a:r>
              <a:rPr lang="cy-GB" dirty="0"/>
              <a:t>Our branch network will continue to be reviewed to make sure we’re meeting market conditions and providing customers with the service they need. There’s a plan in place to make sure sites are being improved, from drainage and pothole issues, to toilets and roofs. STARK Group understands merchanting and that’s why there’s a multi-million Pound investment being made to improve branches over the next four to five years.</a:t>
            </a:r>
          </a:p>
          <a:p>
            <a:pPr marL="171450" indent="-171450">
              <a:buFont typeface="Arial" panose="020B0604020202020204" pitchFamily="34" charset="0"/>
              <a:buChar char="•"/>
            </a:pPr>
            <a:r>
              <a:rPr lang="cy-GB" dirty="0"/>
              <a:t>When it comes to new Branches of the Future, the first application is in and everyone’s hoping it will be open in August. It will be much bigger, with a drive-through and also a temperature controlled room for moulding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FEC9DA-59F6-4F18-B9AD-650860882079}" type="slidenum">
              <a:rPr kumimoji="0" lang="en-GB" sz="1200" b="0" i="0" u="none" strike="noStrike" kern="1200" cap="none" spc="0" normalizeH="0" baseline="0" noProof="0" smtClean="0">
                <a:ln>
                  <a:noFill/>
                </a:ln>
                <a:solidFill>
                  <a:prstClr val="black"/>
                </a:solidFill>
                <a:effectLst/>
                <a:uLnTx/>
                <a:uFillTx/>
                <a:latin typeface="Roboto"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Roboto" panose="020F0502020204030204"/>
              <a:ea typeface="+mn-ea"/>
              <a:cs typeface="+mn-cs"/>
            </a:endParaRPr>
          </a:p>
        </p:txBody>
      </p:sp>
    </p:spTree>
    <p:extLst>
      <p:ext uri="{BB962C8B-B14F-4D97-AF65-F5344CB8AC3E}">
        <p14:creationId xmlns:p14="http://schemas.microsoft.com/office/powerpoint/2010/main" val="41884462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September – Specials margin guidance and KVI pricing guidance.</a:t>
            </a:r>
            <a:endParaRPr lang="en-GB" dirty="0">
              <a:ea typeface="Roboto"/>
              <a:cs typeface="Roboto"/>
            </a:endParaRPr>
          </a:p>
          <a:p>
            <a:pPr marL="171450" indent="-171450">
              <a:buFont typeface="Arial" panose="020B0604020202020204" pitchFamily="34" charset="0"/>
              <a:buChar char="•"/>
            </a:pPr>
            <a:r>
              <a:rPr lang="en-GB" dirty="0"/>
              <a:t>September - DC restructure scoping.</a:t>
            </a:r>
            <a:endParaRPr lang="en-GB" dirty="0">
              <a:ea typeface="Roboto"/>
              <a:cs typeface="Roboto"/>
            </a:endParaRPr>
          </a:p>
          <a:p>
            <a:pPr marL="171450" indent="-171450">
              <a:buFont typeface="Arial" panose="020B0604020202020204" pitchFamily="34" charset="0"/>
              <a:buChar char="•"/>
            </a:pPr>
            <a:r>
              <a:rPr lang="en-GB" dirty="0"/>
              <a:t>October - Tool Hire Loss and Damage Waiver and Equipment investment. </a:t>
            </a:r>
            <a:endParaRPr lang="en-GB" dirty="0">
              <a:ea typeface="Roboto"/>
              <a:cs typeface="Roboto"/>
            </a:endParaRPr>
          </a:p>
          <a:p>
            <a:pPr marL="171450" indent="-171450">
              <a:buFont typeface="Arial" panose="020B0604020202020204" pitchFamily="34" charset="0"/>
              <a:buChar char="•"/>
            </a:pPr>
            <a:r>
              <a:rPr lang="en-GB" dirty="0"/>
              <a:t>October - Material cost price reduction. </a:t>
            </a:r>
            <a:endParaRPr lang="en-GB" dirty="0">
              <a:ea typeface="Roboto"/>
              <a:cs typeface="Roboto"/>
            </a:endParaRPr>
          </a:p>
          <a:p>
            <a:pPr marL="171450" indent="-171450">
              <a:buFont typeface="Arial" panose="020B0604020202020204" pitchFamily="34" charset="0"/>
              <a:buChar char="•"/>
            </a:pPr>
            <a:r>
              <a:rPr lang="en-GB" dirty="0"/>
              <a:t>October - Raptor new own brand and old brand clearance. </a:t>
            </a:r>
            <a:endParaRPr lang="en-GB" dirty="0">
              <a:ea typeface="Roboto"/>
              <a:cs typeface="Roboto"/>
            </a:endParaRPr>
          </a:p>
          <a:p>
            <a:pPr marL="171450" indent="-171450">
              <a:buFont typeface="Arial" panose="020B0604020202020204" pitchFamily="34" charset="0"/>
              <a:buChar char="•"/>
            </a:pPr>
            <a:r>
              <a:rPr lang="en-GB" dirty="0"/>
              <a:t>November - Price Guidance to middle tail.</a:t>
            </a:r>
          </a:p>
          <a:p>
            <a:endParaRPr lang="en-GB" dirty="0">
              <a:ea typeface="Roboto" panose="020F0502020204030204"/>
              <a:cs typeface="Roboto"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FEC9DA-59F6-4F18-B9AD-650860882079}" type="slidenum">
              <a:rPr kumimoji="0" lang="en-GB" sz="1200" b="0" i="0" u="none" strike="noStrike" kern="1200" cap="none" spc="0" normalizeH="0" baseline="0" noProof="0" smtClean="0">
                <a:ln>
                  <a:noFill/>
                </a:ln>
                <a:solidFill>
                  <a:prstClr val="black"/>
                </a:solidFill>
                <a:effectLst/>
                <a:uLnTx/>
                <a:uFillTx/>
                <a:latin typeface="Roboto"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Roboto" panose="020F0502020204030204"/>
              <a:ea typeface="+mn-ea"/>
              <a:cs typeface="+mn-cs"/>
            </a:endParaRPr>
          </a:p>
        </p:txBody>
      </p:sp>
    </p:spTree>
    <p:extLst>
      <p:ext uri="{BB962C8B-B14F-4D97-AF65-F5344CB8AC3E}">
        <p14:creationId xmlns:p14="http://schemas.microsoft.com/office/powerpoint/2010/main" val="34408338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January – Template terms to lapsed customers.</a:t>
            </a:r>
            <a:endParaRPr lang="en-GB" dirty="0">
              <a:ea typeface="Roboto"/>
              <a:cs typeface="Roboto"/>
            </a:endParaRPr>
          </a:p>
          <a:p>
            <a:pPr marL="171450" indent="-171450">
              <a:buFont typeface="Arial" panose="020B0604020202020204" pitchFamily="34" charset="0"/>
              <a:buChar char="•"/>
            </a:pPr>
            <a:r>
              <a:rPr lang="en-GB" dirty="0"/>
              <a:t>January – Regional Roadshows.</a:t>
            </a:r>
            <a:endParaRPr lang="en-GB" dirty="0">
              <a:ea typeface="Roboto"/>
              <a:cs typeface="Roboto"/>
            </a:endParaRPr>
          </a:p>
          <a:p>
            <a:pPr marL="171450" indent="-171450">
              <a:buFont typeface="Arial" panose="020B0604020202020204" pitchFamily="34" charset="0"/>
              <a:buChar char="•"/>
            </a:pPr>
            <a:r>
              <a:rPr lang="en-GB" dirty="0"/>
              <a:t>January – MDT flow simplification.</a:t>
            </a:r>
            <a:endParaRPr lang="en-GB" dirty="0">
              <a:ea typeface="Roboto"/>
              <a:cs typeface="Roboto"/>
            </a:endParaRPr>
          </a:p>
          <a:p>
            <a:pPr marL="171450" indent="-171450">
              <a:buFont typeface="Arial" panose="020B0604020202020204" pitchFamily="34" charset="0"/>
              <a:buChar char="•"/>
            </a:pPr>
            <a:r>
              <a:rPr lang="en-GB" dirty="0"/>
              <a:t>Q1 2024 – 100+ new crane vehicles.</a:t>
            </a:r>
            <a:endParaRPr lang="en-GB" dirty="0">
              <a:ea typeface="Roboto"/>
              <a:cs typeface="Roboto"/>
            </a:endParaRPr>
          </a:p>
          <a:p>
            <a:pPr marL="171450" indent="-171450">
              <a:buFont typeface="Arial" panose="020B0604020202020204" pitchFamily="34" charset="0"/>
              <a:buChar char="•"/>
            </a:pPr>
            <a:r>
              <a:rPr lang="en-GB" dirty="0"/>
              <a:t>Q1 2024 Decorating, workwear and Metalwork Ranges.</a:t>
            </a:r>
            <a:endParaRPr lang="en-GB" dirty="0">
              <a:ea typeface="Roboto"/>
              <a:cs typeface="Roboto"/>
            </a:endParaRPr>
          </a:p>
          <a:p>
            <a:pPr marL="171450" indent="-171450">
              <a:buFont typeface="Arial" panose="020B0604020202020204" pitchFamily="34" charset="0"/>
              <a:buChar char="•"/>
            </a:pPr>
            <a:r>
              <a:rPr lang="en-GB" dirty="0"/>
              <a:t>Q1 2024 new Landscaping Doors and Drainage propositions.</a:t>
            </a:r>
            <a:endParaRPr lang="en-GB" dirty="0">
              <a:ea typeface="Roboto"/>
              <a:cs typeface="Roboto"/>
            </a:endParaRPr>
          </a:p>
          <a:p>
            <a:pPr marL="171450" indent="-171450">
              <a:buFont typeface="Arial" panose="020B0604020202020204" pitchFamily="34" charset="0"/>
              <a:buChar char="•"/>
            </a:pPr>
            <a:r>
              <a:rPr lang="en-GB" dirty="0"/>
              <a:t>Mar 2024 – Management training and development programme.</a:t>
            </a:r>
          </a:p>
          <a:p>
            <a:pPr marL="171450" indent="-171450">
              <a:buFont typeface="Arial" panose="020B0604020202020204" pitchFamily="34" charset="0"/>
              <a:buChar char="•"/>
            </a:pPr>
            <a:endParaRPr lang="en-US" dirty="0">
              <a:ea typeface="Roboto" panose="020F0502020204030204"/>
              <a:cs typeface="Roboto" panose="020F0502020204030204"/>
            </a:endParaRP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FEC9DA-59F6-4F18-B9AD-650860882079}" type="slidenum">
              <a:rPr kumimoji="0" lang="en-GB" sz="1200" b="0" i="0" u="none" strike="noStrike" kern="1200" cap="none" spc="0" normalizeH="0" baseline="0" noProof="0" smtClean="0">
                <a:ln>
                  <a:noFill/>
                </a:ln>
                <a:solidFill>
                  <a:prstClr val="black"/>
                </a:solidFill>
                <a:effectLst/>
                <a:uLnTx/>
                <a:uFillTx/>
                <a:latin typeface="Roboto"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Roboto" panose="020F0502020204030204"/>
              <a:ea typeface="+mn-ea"/>
              <a:cs typeface="+mn-cs"/>
            </a:endParaRPr>
          </a:p>
        </p:txBody>
      </p:sp>
    </p:spTree>
    <p:extLst>
      <p:ext uri="{BB962C8B-B14F-4D97-AF65-F5344CB8AC3E}">
        <p14:creationId xmlns:p14="http://schemas.microsoft.com/office/powerpoint/2010/main" val="41363728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Current work</a:t>
            </a:r>
            <a:r>
              <a:rPr lang="en-US" dirty="0">
                <a:ea typeface="+mn-ea"/>
                <a:cs typeface="+mn-cs"/>
              </a:rPr>
              <a:t>.</a:t>
            </a:r>
            <a:endParaRPr lang="en-GB" dirty="0">
              <a:ea typeface="Roboto"/>
              <a:cs typeface="Roboto"/>
            </a:endParaRPr>
          </a:p>
          <a:p>
            <a:pPr marL="171450" indent="-171450">
              <a:buFont typeface="Arial" panose="020B0604020202020204" pitchFamily="34" charset="0"/>
              <a:buChar char="•"/>
            </a:pPr>
            <a:r>
              <a:rPr lang="en-GB" dirty="0"/>
              <a:t>Branch investments ongoing – Rutherglen, </a:t>
            </a:r>
            <a:r>
              <a:rPr lang="en-GB" sz="1800" dirty="0">
                <a:effectLst/>
                <a:latin typeface="Calibri" panose="020F0502020204030204" pitchFamily="34" charset="0"/>
                <a:ea typeface="Times New Roman" panose="02020603050405020304" pitchFamily="18" charset="0"/>
              </a:rPr>
              <a:t>Bridgwater</a:t>
            </a:r>
            <a:r>
              <a:rPr lang="en-GB" sz="1800">
                <a:effectLst/>
                <a:latin typeface="Calibri" panose="020F0502020204030204" pitchFamily="34" charset="0"/>
                <a:ea typeface="Times New Roman" panose="02020603050405020304" pitchFamily="18" charset="0"/>
              </a:rPr>
              <a:t>, Cardiff</a:t>
            </a:r>
            <a:endParaRPr lang="en-GB" dirty="0">
              <a:ea typeface="Roboto"/>
              <a:cs typeface="Roboto"/>
            </a:endParaRPr>
          </a:p>
          <a:p>
            <a:pPr marL="171450" indent="-171450">
              <a:buFont typeface="Arial" panose="020B0604020202020204" pitchFamily="34" charset="0"/>
              <a:buChar char="•"/>
            </a:pPr>
            <a:r>
              <a:rPr lang="en-GB" dirty="0"/>
              <a:t>Branch investments in plan pre-August 2024.</a:t>
            </a:r>
            <a:endParaRPr lang="en-GB" dirty="0">
              <a:ea typeface="Roboto"/>
              <a:cs typeface="Roboto"/>
            </a:endParaRPr>
          </a:p>
          <a:p>
            <a:pPr marL="171450" indent="-171450">
              <a:buFont typeface="Arial" panose="020B0604020202020204" pitchFamily="34" charset="0"/>
              <a:buChar char="•"/>
            </a:pPr>
            <a:r>
              <a:rPr lang="en-GB" dirty="0"/>
              <a:t>Further material price reductions – some possible bigger sourcing moves being developed.</a:t>
            </a:r>
            <a:endParaRPr lang="en-GB" dirty="0">
              <a:ea typeface="Roboto"/>
              <a:cs typeface="Roboto"/>
            </a:endParaRPr>
          </a:p>
          <a:p>
            <a:pPr marL="171450" indent="-171450">
              <a:buFont typeface="Arial" panose="020B0604020202020204" pitchFamily="34" charset="0"/>
              <a:buChar char="•"/>
            </a:pPr>
            <a:r>
              <a:rPr lang="en-GB" dirty="0"/>
              <a:t>July 24 CRM launch.</a:t>
            </a:r>
            <a:endParaRPr lang="en-GB" dirty="0">
              <a:ea typeface="Roboto"/>
              <a:cs typeface="Roboto"/>
            </a:endParaRPr>
          </a:p>
          <a:p>
            <a:pPr marL="171450" indent="-171450">
              <a:buFont typeface="Arial" panose="020B0604020202020204" pitchFamily="34" charset="0"/>
              <a:buChar char="•"/>
            </a:pPr>
            <a:r>
              <a:rPr lang="en-GB" dirty="0"/>
              <a:t>Tool Hire Growth.</a:t>
            </a:r>
            <a:endParaRPr lang="en-GB" dirty="0">
              <a:ea typeface="Roboto"/>
              <a:cs typeface="Roboto"/>
            </a:endParaRPr>
          </a:p>
          <a:p>
            <a:pPr marL="171450" indent="-171450">
              <a:buFont typeface="Arial" panose="020B0604020202020204" pitchFamily="34" charset="0"/>
              <a:buChar char="•"/>
            </a:pPr>
            <a:r>
              <a:rPr lang="en-GB" dirty="0"/>
              <a:t>Tool Hire hubs.</a:t>
            </a:r>
            <a:endParaRPr lang="en-GB" dirty="0">
              <a:ea typeface="Roboto"/>
              <a:cs typeface="Roboto"/>
            </a:endParaRPr>
          </a:p>
          <a:p>
            <a:pPr marL="171450" indent="-171450">
              <a:buFont typeface="Arial" panose="020B0604020202020204" pitchFamily="34" charset="0"/>
              <a:buChar char="•"/>
            </a:pPr>
            <a:r>
              <a:rPr lang="en-GB" dirty="0" err="1"/>
              <a:t>Relex</a:t>
            </a:r>
            <a:r>
              <a:rPr lang="en-GB" dirty="0"/>
              <a:t> roll out completion.</a:t>
            </a:r>
            <a:endParaRPr lang="en-GB" dirty="0">
              <a:ea typeface="Roboto"/>
              <a:cs typeface="Roboto"/>
            </a:endParaRPr>
          </a:p>
          <a:p>
            <a:pPr marL="171450" indent="-171450">
              <a:buFont typeface="Arial" panose="020B0604020202020204" pitchFamily="34" charset="0"/>
              <a:buChar char="•"/>
            </a:pPr>
            <a:r>
              <a:rPr lang="en-GB" dirty="0"/>
              <a:t>Further DC improvements and medium-term planning.</a:t>
            </a:r>
          </a:p>
          <a:p>
            <a:pPr marL="171450" indent="-171450">
              <a:buFont typeface="Arial" panose="020B0604020202020204" pitchFamily="34" charset="0"/>
              <a:buChar char="•"/>
            </a:pPr>
            <a:r>
              <a:rPr lang="en-GB" sz="1800" dirty="0">
                <a:effectLst/>
                <a:latin typeface="Calibri" panose="020F0502020204030204" pitchFamily="34" charset="0"/>
                <a:ea typeface="Times New Roman" panose="02020603050405020304" pitchFamily="18" charset="0"/>
              </a:rPr>
              <a:t>Planning application - we are intending to open Branch Of The Future in August subject to any planning delays</a:t>
            </a:r>
            <a:endParaRPr lang="en-GB" dirty="0">
              <a:ea typeface="Roboto"/>
              <a:cs typeface="Roboto"/>
            </a:endParaRPr>
          </a:p>
          <a:p>
            <a:endParaRPr lang="en-GB" b="1" dirty="0">
              <a:ea typeface="Roboto"/>
              <a:cs typeface="Roboto"/>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FEC9DA-59F6-4F18-B9AD-650860882079}" type="slidenum">
              <a:rPr kumimoji="0" lang="en-GB" sz="1200" b="0" i="0" u="none" strike="noStrike" kern="1200" cap="none" spc="0" normalizeH="0" baseline="0" noProof="0" smtClean="0">
                <a:ln>
                  <a:noFill/>
                </a:ln>
                <a:solidFill>
                  <a:prstClr val="black"/>
                </a:solidFill>
                <a:effectLst/>
                <a:uLnTx/>
                <a:uFillTx/>
                <a:latin typeface="Roboto"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Roboto" panose="020F0502020204030204"/>
              <a:ea typeface="+mn-ea"/>
              <a:cs typeface="+mn-cs"/>
            </a:endParaRPr>
          </a:p>
        </p:txBody>
      </p:sp>
    </p:spTree>
    <p:extLst>
      <p:ext uri="{BB962C8B-B14F-4D97-AF65-F5344CB8AC3E}">
        <p14:creationId xmlns:p14="http://schemas.microsoft.com/office/powerpoint/2010/main" val="34078723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nSpc>
                <a:spcPct val="150000"/>
              </a:lnSpc>
              <a:spcBef>
                <a:spcPts val="0"/>
              </a:spcBef>
              <a:spcAft>
                <a:spcPts val="0"/>
              </a:spcAft>
              <a:buFont typeface="Arial" panose="020B0604020202020204" pitchFamily="34" charset="0"/>
              <a:buChar char="•"/>
            </a:pPr>
            <a:r>
              <a:rPr lang="en-GB" kern="100" dirty="0">
                <a:effectLst/>
                <a:latin typeface="Calibri"/>
                <a:ea typeface="Calibri"/>
                <a:cs typeface="Calibri"/>
              </a:rPr>
              <a:t>This is the agenda for what we’re going to talk about.</a:t>
            </a:r>
          </a:p>
          <a:p>
            <a:pPr marL="171450" marR="0" indent="-171450">
              <a:lnSpc>
                <a:spcPct val="150000"/>
              </a:lnSpc>
              <a:spcBef>
                <a:spcPts val="0"/>
              </a:spcBef>
              <a:spcAft>
                <a:spcPts val="0"/>
              </a:spcAft>
              <a:buFont typeface="Arial" panose="020B0604020202020204" pitchFamily="34" charset="0"/>
              <a:buChar char="•"/>
            </a:pPr>
            <a:r>
              <a:rPr lang="en-GB" kern="100" dirty="0">
                <a:effectLst/>
                <a:latin typeface="Calibri"/>
                <a:ea typeface="Calibri"/>
                <a:cs typeface="Calibri"/>
              </a:rPr>
              <a:t>Our Team Talk isn’t going to be me talking at you. I’m going to be asking all of us to get involved in the conversation.</a:t>
            </a:r>
          </a:p>
          <a:p>
            <a:pPr marL="171450" marR="0" indent="-171450">
              <a:lnSpc>
                <a:spcPct val="150000"/>
              </a:lnSpc>
              <a:spcBef>
                <a:spcPts val="0"/>
              </a:spcBef>
              <a:spcAft>
                <a:spcPts val="0"/>
              </a:spcAft>
              <a:buFont typeface="Arial" panose="020B0604020202020204" pitchFamily="34" charset="0"/>
              <a:buChar char="•"/>
            </a:pPr>
            <a:r>
              <a:rPr lang="en-GB" kern="100" dirty="0">
                <a:effectLst/>
                <a:latin typeface="Calibri"/>
                <a:ea typeface="Calibri"/>
                <a:cs typeface="Calibri"/>
              </a:rPr>
              <a:t>We all have our part to play in winning in 2024.</a:t>
            </a:r>
            <a:endParaRPr lang="en-US" kern="100" dirty="0">
              <a:effectLst/>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FEC9DA-59F6-4F18-B9AD-650860882079}" type="slidenum">
              <a:rPr kumimoji="0" lang="en-GB" sz="1200" b="0" i="0" u="none" strike="noStrike" kern="1200" cap="none" spc="0" normalizeH="0" baseline="0" noProof="0" smtClean="0">
                <a:ln>
                  <a:noFill/>
                </a:ln>
                <a:solidFill>
                  <a:prstClr val="black"/>
                </a:solidFill>
                <a:effectLst/>
                <a:uLnTx/>
                <a:uFillTx/>
                <a:latin typeface="Roboto"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Roboto" panose="020F0502020204030204"/>
              <a:ea typeface="+mn-ea"/>
              <a:cs typeface="+mn-cs"/>
            </a:endParaRPr>
          </a:p>
        </p:txBody>
      </p:sp>
    </p:spTree>
    <p:extLst>
      <p:ext uri="{BB962C8B-B14F-4D97-AF65-F5344CB8AC3E}">
        <p14:creationId xmlns:p14="http://schemas.microsoft.com/office/powerpoint/2010/main" val="9145030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solidFill>
                  <a:srgbClr val="000000"/>
                </a:solidFill>
              </a:rPr>
              <a:t>Our Category team is focused on making sure branches are set for success too.</a:t>
            </a:r>
            <a:endParaRPr lang="en-GB" dirty="0"/>
          </a:p>
          <a:p>
            <a:endParaRPr lang="en-GB" dirty="0">
              <a:solidFill>
                <a:srgbClr val="000000"/>
              </a:solidFill>
              <a:latin typeface="Roboto" panose="02000000000000000000" pitchFamily="2" charset="0"/>
              <a:ea typeface="Roboto"/>
              <a:cs typeface="Roboto"/>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FEC9DA-59F6-4F18-B9AD-650860882079}" type="slidenum">
              <a:rPr kumimoji="0" lang="en-GB" sz="1200" b="0" i="0" u="none" strike="noStrike" kern="1200" cap="none" spc="0" normalizeH="0" baseline="0" noProof="0" smtClean="0">
                <a:ln>
                  <a:noFill/>
                </a:ln>
                <a:solidFill>
                  <a:prstClr val="black"/>
                </a:solidFill>
                <a:effectLst/>
                <a:uLnTx/>
                <a:uFillTx/>
                <a:latin typeface="Roboto"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Roboto" panose="020F0502020204030204"/>
              <a:ea typeface="+mn-ea"/>
              <a:cs typeface="+mn-cs"/>
            </a:endParaRPr>
          </a:p>
        </p:txBody>
      </p:sp>
    </p:spTree>
    <p:extLst>
      <p:ext uri="{BB962C8B-B14F-4D97-AF65-F5344CB8AC3E}">
        <p14:creationId xmlns:p14="http://schemas.microsoft.com/office/powerpoint/2010/main" val="28361320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GB" dirty="0"/>
              <a:t>Fix the Basics.</a:t>
            </a:r>
          </a:p>
          <a:p>
            <a:pPr marL="628650" lvl="1" indent="-171450">
              <a:buFont typeface="Arial" panose="020B0604020202020204" pitchFamily="34" charset="0"/>
              <a:buChar char="•"/>
            </a:pPr>
            <a:r>
              <a:rPr lang="en-GB" dirty="0"/>
              <a:t>“Best” Small Medium Large range.</a:t>
            </a:r>
          </a:p>
          <a:p>
            <a:pPr marL="628650" lvl="1" indent="-171450">
              <a:buFont typeface="Arial" panose="020B0604020202020204" pitchFamily="34" charset="0"/>
              <a:buChar char="•"/>
            </a:pPr>
            <a:r>
              <a:rPr lang="en-GB" dirty="0"/>
              <a:t>Fill Gaps: Add missing ranges/products and develop opportunities: Drainage, Decorating, Roofing.</a:t>
            </a:r>
          </a:p>
          <a:p>
            <a:pPr marL="171450" lvl="0" indent="-171450">
              <a:buFont typeface="Arial" panose="020B0604020202020204" pitchFamily="34" charset="0"/>
              <a:buChar char="•"/>
            </a:pPr>
            <a:r>
              <a:rPr lang="en-GB" dirty="0"/>
              <a:t>Own Brand.</a:t>
            </a:r>
          </a:p>
          <a:p>
            <a:pPr marL="628650" lvl="1" indent="-171450">
              <a:buFont typeface="Arial" panose="020B0604020202020204" pitchFamily="34" charset="0"/>
              <a:buChar char="•"/>
            </a:pPr>
            <a:r>
              <a:rPr lang="en-GB" dirty="0"/>
              <a:t>Comprehensive Group approach.</a:t>
            </a:r>
          </a:p>
          <a:p>
            <a:pPr marL="628650" lvl="1" indent="-171450">
              <a:buFont typeface="Arial" panose="020B0604020202020204" pitchFamily="34" charset="0"/>
              <a:buChar char="•"/>
            </a:pPr>
            <a:r>
              <a:rPr lang="en-GB" dirty="0"/>
              <a:t>Screws and Ironmongery, April – May.</a:t>
            </a:r>
            <a:endParaRPr lang="en-GB" dirty="0">
              <a:cs typeface="Calibri"/>
            </a:endParaRPr>
          </a:p>
          <a:p>
            <a:pPr marL="628650" lvl="1" indent="-171450">
              <a:buFont typeface="Arial" panose="020B0604020202020204" pitchFamily="34" charset="0"/>
              <a:buChar char="•"/>
            </a:pPr>
            <a:r>
              <a:rPr lang="en-GB" dirty="0"/>
              <a:t>Exit S-G 2024.</a:t>
            </a:r>
          </a:p>
          <a:p>
            <a:pPr marL="171450" lvl="0" indent="-171450">
              <a:buFont typeface="Arial" panose="020B0604020202020204" pitchFamily="34" charset="0"/>
              <a:buChar char="•"/>
            </a:pPr>
            <a:r>
              <a:rPr lang="en-GB" dirty="0"/>
              <a:t>Governance.</a:t>
            </a:r>
          </a:p>
          <a:p>
            <a:pPr marL="628650" lvl="1" indent="-171450">
              <a:buFont typeface="Arial" panose="020B0604020202020204" pitchFamily="34" charset="0"/>
              <a:buChar char="•"/>
            </a:pPr>
            <a:r>
              <a:rPr lang="en-GB" dirty="0"/>
              <a:t>Trading Board.</a:t>
            </a:r>
          </a:p>
          <a:p>
            <a:pPr marL="628650" lvl="1" indent="-171450">
              <a:buFont typeface="Arial" panose="020B0604020202020204" pitchFamily="34" charset="0"/>
              <a:buChar char="•"/>
            </a:pPr>
            <a:r>
              <a:rPr lang="en-GB" dirty="0"/>
              <a:t>Customer Boar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2E0D94-69FF-4999-8A48-862729D47DF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18095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The Category team is now structured to be focused on branch operation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FEC9DA-59F6-4F18-B9AD-650860882079}" type="slidenum">
              <a:rPr kumimoji="0" lang="en-GB" sz="1200" b="0" i="0" u="none" strike="noStrike" kern="1200" cap="none" spc="0" normalizeH="0" baseline="0" noProof="0" smtClean="0">
                <a:ln>
                  <a:noFill/>
                </a:ln>
                <a:solidFill>
                  <a:prstClr val="black"/>
                </a:solidFill>
                <a:effectLst/>
                <a:uLnTx/>
                <a:uFillTx/>
                <a:latin typeface="Roboto"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Roboto" panose="020F0502020204030204"/>
              <a:ea typeface="+mn-ea"/>
              <a:cs typeface="+mn-cs"/>
            </a:endParaRPr>
          </a:p>
        </p:txBody>
      </p:sp>
    </p:spTree>
    <p:extLst>
      <p:ext uri="{BB962C8B-B14F-4D97-AF65-F5344CB8AC3E}">
        <p14:creationId xmlns:p14="http://schemas.microsoft.com/office/powerpoint/2010/main" val="19473515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We’ll have a great four-pronged own-brand category mix that will set us apart from the competi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FEC9DA-59F6-4F18-B9AD-650860882079}" type="slidenum">
              <a:rPr kumimoji="0" lang="en-GB" sz="1200" b="0" i="0" u="none" strike="noStrike" kern="1200" cap="none" spc="0" normalizeH="0" baseline="0" noProof="0" smtClean="0">
                <a:ln>
                  <a:noFill/>
                </a:ln>
                <a:solidFill>
                  <a:prstClr val="black"/>
                </a:solidFill>
                <a:effectLst/>
                <a:uLnTx/>
                <a:uFillTx/>
                <a:latin typeface="Roboto"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Roboto" panose="020F0502020204030204"/>
              <a:ea typeface="+mn-ea"/>
              <a:cs typeface="+mn-cs"/>
            </a:endParaRPr>
          </a:p>
        </p:txBody>
      </p:sp>
    </p:spTree>
    <p:extLst>
      <p:ext uri="{BB962C8B-B14F-4D97-AF65-F5344CB8AC3E}">
        <p14:creationId xmlns:p14="http://schemas.microsoft.com/office/powerpoint/2010/main" val="42665842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FEC9DA-59F6-4F18-B9AD-650860882079}" type="slidenum">
              <a:rPr kumimoji="0" lang="en-GB" sz="1200" b="0" i="0" u="none" strike="noStrike" kern="1200" cap="none" spc="0" normalizeH="0" baseline="0" noProof="0" smtClean="0">
                <a:ln>
                  <a:noFill/>
                </a:ln>
                <a:solidFill>
                  <a:prstClr val="black"/>
                </a:solidFill>
                <a:effectLst/>
                <a:uLnTx/>
                <a:uFillTx/>
                <a:latin typeface="Roboto"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Roboto" panose="020F0502020204030204"/>
              <a:ea typeface="+mn-ea"/>
              <a:cs typeface="+mn-cs"/>
            </a:endParaRPr>
          </a:p>
        </p:txBody>
      </p:sp>
    </p:spTree>
    <p:extLst>
      <p:ext uri="{BB962C8B-B14F-4D97-AF65-F5344CB8AC3E}">
        <p14:creationId xmlns:p14="http://schemas.microsoft.com/office/powerpoint/2010/main" val="35614419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FEC9DA-59F6-4F18-B9AD-650860882079}" type="slidenum">
              <a:rPr kumimoji="0" lang="en-GB" sz="1200" b="0" i="0" u="none" strike="noStrike" kern="1200" cap="none" spc="0" normalizeH="0" baseline="0" noProof="0" smtClean="0">
                <a:ln>
                  <a:noFill/>
                </a:ln>
                <a:solidFill>
                  <a:prstClr val="black"/>
                </a:solidFill>
                <a:effectLst/>
                <a:uLnTx/>
                <a:uFillTx/>
                <a:latin typeface="Roboto"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Roboto" panose="020F0502020204030204"/>
              <a:ea typeface="+mn-ea"/>
              <a:cs typeface="+mn-cs"/>
            </a:endParaRPr>
          </a:p>
        </p:txBody>
      </p:sp>
    </p:spTree>
    <p:extLst>
      <p:ext uri="{BB962C8B-B14F-4D97-AF65-F5344CB8AC3E}">
        <p14:creationId xmlns:p14="http://schemas.microsoft.com/office/powerpoint/2010/main" val="20103636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FEC9DA-59F6-4F18-B9AD-650860882079}" type="slidenum">
              <a:rPr kumimoji="0" lang="en-GB" sz="1200" b="0" i="0" u="none" strike="noStrike" kern="1200" cap="none" spc="0" normalizeH="0" baseline="0" noProof="0" smtClean="0">
                <a:ln>
                  <a:noFill/>
                </a:ln>
                <a:solidFill>
                  <a:prstClr val="black"/>
                </a:solidFill>
                <a:effectLst/>
                <a:uLnTx/>
                <a:uFillTx/>
                <a:latin typeface="Roboto"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Roboto" panose="020F0502020204030204"/>
              <a:ea typeface="+mn-ea"/>
              <a:cs typeface="+mn-cs"/>
            </a:endParaRPr>
          </a:p>
        </p:txBody>
      </p:sp>
    </p:spTree>
    <p:extLst>
      <p:ext uri="{BB962C8B-B14F-4D97-AF65-F5344CB8AC3E}">
        <p14:creationId xmlns:p14="http://schemas.microsoft.com/office/powerpoint/2010/main" val="124763220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D86ABD-A3E1-4C62-86F9-9BFA67CDE2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3216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solidFill>
                  <a:srgbClr val="000000"/>
                </a:solidFill>
              </a:rPr>
              <a:t>You’ve now got an update on where we are with the Trust in Better strategy and we can see there’s been a lot of progress – with plans still being implemented to deliver the rest of the improvements and changes we need for the company to win.</a:t>
            </a:r>
          </a:p>
          <a:p>
            <a:pPr marL="171450" indent="-171450">
              <a:buFont typeface="Arial" panose="020B0604020202020204" pitchFamily="34" charset="0"/>
              <a:buChar char="•"/>
            </a:pPr>
            <a:r>
              <a:rPr lang="en-GB" dirty="0">
                <a:solidFill>
                  <a:srgbClr val="000000"/>
                </a:solidFill>
              </a:rPr>
              <a:t>It’s now over to us to make sure we deliver our part of the plans.</a:t>
            </a:r>
          </a:p>
          <a:p>
            <a:pPr marL="171450" indent="-171450">
              <a:buFont typeface="Arial" panose="020B0604020202020204" pitchFamily="34" charset="0"/>
              <a:buChar char="•"/>
            </a:pPr>
            <a:r>
              <a:rPr lang="en-GB" dirty="0">
                <a:solidFill>
                  <a:srgbClr val="000000"/>
                </a:solidFill>
              </a:rPr>
              <a:t>Let’s start with a conversation about what we need to do differently in 2024. What’s working, what’s not, and what do we need to change.</a:t>
            </a:r>
            <a:endParaRPr lang="en-GB" dirty="0"/>
          </a:p>
          <a:p>
            <a:endParaRPr lang="en-GB" dirty="0">
              <a:solidFill>
                <a:srgbClr val="000000"/>
              </a:solidFill>
              <a:latin typeface="Roboto" panose="02000000000000000000" pitchFamily="2" charset="0"/>
              <a:ea typeface="Roboto"/>
              <a:cs typeface="Roboto"/>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FEC9DA-59F6-4F18-B9AD-650860882079}" type="slidenum">
              <a:rPr kumimoji="0" lang="en-GB" sz="1200" b="0" i="0" u="none" strike="noStrike" kern="1200" cap="none" spc="0" normalizeH="0" baseline="0" noProof="0" smtClean="0">
                <a:ln>
                  <a:noFill/>
                </a:ln>
                <a:solidFill>
                  <a:prstClr val="black"/>
                </a:solidFill>
                <a:effectLst/>
                <a:uLnTx/>
                <a:uFillTx/>
                <a:latin typeface="Roboto"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Roboto" panose="020F0502020204030204"/>
              <a:ea typeface="+mn-ea"/>
              <a:cs typeface="+mn-cs"/>
            </a:endParaRPr>
          </a:p>
        </p:txBody>
      </p:sp>
    </p:spTree>
    <p:extLst>
      <p:ext uri="{BB962C8B-B14F-4D97-AF65-F5344CB8AC3E}">
        <p14:creationId xmlns:p14="http://schemas.microsoft.com/office/powerpoint/2010/main" val="162204502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 typeface="Arial" panose="020B0604020202020204" pitchFamily="34" charset="0"/>
              <a:buChar char="•"/>
            </a:pPr>
            <a:r>
              <a:rPr lang="en-GB" sz="1200" dirty="0">
                <a:effectLst/>
                <a:latin typeface="Calibri"/>
                <a:ea typeface="Calibri" panose="020F0502020204030204" pitchFamily="34" charset="0"/>
                <a:cs typeface="Calibri"/>
              </a:rPr>
              <a:t>What will we stop doing that’s not working any more?</a:t>
            </a:r>
          </a:p>
          <a:p>
            <a:pPr marL="171450" indent="-171450">
              <a:lnSpc>
                <a:spcPct val="107000"/>
              </a:lnSpc>
              <a:spcAft>
                <a:spcPts val="800"/>
              </a:spcAft>
              <a:buFont typeface="Arial" panose="020B0604020202020204" pitchFamily="34" charset="0"/>
              <a:buChar char="•"/>
            </a:pPr>
            <a:r>
              <a:rPr lang="en-GB" sz="1200" dirty="0">
                <a:effectLst/>
                <a:latin typeface="Calibri"/>
                <a:ea typeface="Calibri" panose="020F0502020204030204" pitchFamily="34" charset="0"/>
                <a:cs typeface="Calibri"/>
              </a:rPr>
              <a:t>What will we start doing to help ourselves?</a:t>
            </a:r>
          </a:p>
          <a:p>
            <a:pPr marL="171450" indent="-171450">
              <a:lnSpc>
                <a:spcPct val="107000"/>
              </a:lnSpc>
              <a:spcAft>
                <a:spcPts val="800"/>
              </a:spcAft>
              <a:buFont typeface="Arial" panose="020B0604020202020204" pitchFamily="34" charset="0"/>
              <a:buChar char="•"/>
            </a:pPr>
            <a:r>
              <a:rPr lang="en-GB" sz="1200" dirty="0">
                <a:effectLst/>
                <a:latin typeface="Calibri"/>
                <a:ea typeface="Calibri" panose="020F0502020204030204" pitchFamily="34" charset="0"/>
                <a:cs typeface="Calibri"/>
              </a:rPr>
              <a:t>What will we carry on going, but further improve?</a:t>
            </a:r>
            <a:endParaRPr lang="en-GB" dirty="0"/>
          </a:p>
          <a:p>
            <a:endParaRPr lang="en-GB" dirty="0"/>
          </a:p>
        </p:txBody>
      </p:sp>
      <p:sp>
        <p:nvSpPr>
          <p:cNvPr id="4" name="Slide Number Placeholder 3"/>
          <p:cNvSpPr>
            <a:spLocks noGrp="1"/>
          </p:cNvSpPr>
          <p:nvPr>
            <p:ph type="sldNum" sz="quarter" idx="5"/>
          </p:nvPr>
        </p:nvSpPr>
        <p:spPr/>
        <p:txBody>
          <a:bodyPr/>
          <a:lstStyle/>
          <a:p>
            <a:fld id="{06FEC9DA-59F6-4F18-B9AD-650860882079}" type="slidenum">
              <a:rPr lang="en-GB" smtClean="0"/>
              <a:t>29</a:t>
            </a:fld>
            <a:endParaRPr lang="en-GB"/>
          </a:p>
        </p:txBody>
      </p:sp>
    </p:spTree>
    <p:extLst>
      <p:ext uri="{BB962C8B-B14F-4D97-AF65-F5344CB8AC3E}">
        <p14:creationId xmlns:p14="http://schemas.microsoft.com/office/powerpoint/2010/main" val="40197524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37D3B9-53A4-D690-52FF-12475A71F22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242BD4-FBAB-0F2B-2966-41C64BCF26B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12E0578-6BB3-0775-38AB-14A5B10D8DE4}"/>
              </a:ext>
            </a:extLst>
          </p:cNvPr>
          <p:cNvSpPr>
            <a:spLocks noGrp="1"/>
          </p:cNvSpPr>
          <p:nvPr>
            <p:ph type="body" idx="1"/>
          </p:nvPr>
        </p:nvSpPr>
        <p:spPr/>
        <p:txBody>
          <a:bodyPr/>
          <a:lstStyle/>
          <a:p>
            <a:pPr marL="171450" marR="0" lvl="0" indent="-171450" algn="l" defTabSz="914400" rtl="0" eaLnBrk="1" fontAlgn="base" latinLnBrk="0" hangingPunct="1">
              <a:lnSpc>
                <a:spcPct val="150000"/>
              </a:lnSpc>
              <a:spcBef>
                <a:spcPts val="0"/>
              </a:spcBef>
              <a:spcAft>
                <a:spcPts val="0"/>
              </a:spcAft>
              <a:buClrTx/>
              <a:buSzTx/>
              <a:buFont typeface="Arial" panose="020B0604020202020204" pitchFamily="34" charset="0"/>
              <a:buChar char="•"/>
              <a:tabLst/>
              <a:defRPr/>
            </a:pPr>
            <a:r>
              <a:rPr lang="en-US" dirty="0">
                <a:ea typeface="Roboto"/>
                <a:cs typeface="Roboto"/>
              </a:rPr>
              <a:t>We’re going to start today’s Team Talk by looking at Safety.</a:t>
            </a:r>
          </a:p>
          <a:p>
            <a:pPr marL="171450" marR="0" lvl="0" indent="-171450" algn="l" defTabSz="914400" rtl="0" eaLnBrk="1" fontAlgn="base" latinLnBrk="0" hangingPunct="1">
              <a:lnSpc>
                <a:spcPct val="150000"/>
              </a:lnSpc>
              <a:spcBef>
                <a:spcPts val="0"/>
              </a:spcBef>
              <a:spcAft>
                <a:spcPts val="0"/>
              </a:spcAft>
              <a:buClrTx/>
              <a:buSzTx/>
              <a:buFont typeface="Arial" panose="020B0604020202020204" pitchFamily="34" charset="0"/>
              <a:buChar char="•"/>
              <a:tabLst/>
              <a:defRPr/>
            </a:pPr>
            <a:r>
              <a:rPr lang="en-US" dirty="0">
                <a:ea typeface="Roboto"/>
                <a:cs typeface="Roboto"/>
              </a:rPr>
              <a:t>The safety of our customers and colleagues isn’t an option; it’s something we’ve got to keep left, right and </a:t>
            </a:r>
            <a:r>
              <a:rPr lang="en-US" dirty="0" err="1">
                <a:ea typeface="Roboto"/>
                <a:cs typeface="Roboto"/>
              </a:rPr>
              <a:t>centre</a:t>
            </a:r>
            <a:r>
              <a:rPr lang="en-US" dirty="0">
                <a:ea typeface="Roboto"/>
                <a:cs typeface="Roboto"/>
              </a:rPr>
              <a:t> of everything we do and how we operate.</a:t>
            </a:r>
          </a:p>
          <a:p>
            <a:pPr marL="171450" marR="0" lvl="0" indent="-171450" algn="l" defTabSz="914400" rtl="0" eaLnBrk="1" fontAlgn="base" latinLnBrk="0" hangingPunct="1">
              <a:lnSpc>
                <a:spcPct val="150000"/>
              </a:lnSpc>
              <a:spcBef>
                <a:spcPts val="0"/>
              </a:spcBef>
              <a:spcAft>
                <a:spcPts val="0"/>
              </a:spcAft>
              <a:buClrTx/>
              <a:buSzTx/>
              <a:buFont typeface="Arial" panose="020B0604020202020204" pitchFamily="34" charset="0"/>
              <a:buChar char="•"/>
              <a:tabLst/>
              <a:defRPr/>
            </a:pPr>
            <a:endParaRPr lang="en-US" dirty="0">
              <a:ea typeface="Roboto"/>
              <a:cs typeface="Roboto"/>
            </a:endParaRPr>
          </a:p>
          <a:p>
            <a:endParaRPr lang="en-GB" dirty="0"/>
          </a:p>
        </p:txBody>
      </p:sp>
      <p:sp>
        <p:nvSpPr>
          <p:cNvPr id="4" name="Slide Number Placeholder 3">
            <a:extLst>
              <a:ext uri="{FF2B5EF4-FFF2-40B4-BE49-F238E27FC236}">
                <a16:creationId xmlns:a16="http://schemas.microsoft.com/office/drawing/2014/main" id="{6FCADD41-5B87-08B3-8CEE-0E49EB6921E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FEC9DA-59F6-4F18-B9AD-650860882079}" type="slidenum">
              <a:rPr kumimoji="0" lang="en-GB" sz="1200" b="0" i="0" u="none" strike="noStrike" kern="1200" cap="none" spc="0" normalizeH="0" baseline="0" noProof="0" smtClean="0">
                <a:ln>
                  <a:noFill/>
                </a:ln>
                <a:solidFill>
                  <a:prstClr val="black"/>
                </a:solidFill>
                <a:effectLst/>
                <a:uLnTx/>
                <a:uFillTx/>
                <a:latin typeface="Roboto"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Roboto" panose="020F0502020204030204"/>
              <a:ea typeface="+mn-ea"/>
              <a:cs typeface="+mn-cs"/>
            </a:endParaRPr>
          </a:p>
        </p:txBody>
      </p:sp>
    </p:spTree>
    <p:extLst>
      <p:ext uri="{BB962C8B-B14F-4D97-AF65-F5344CB8AC3E}">
        <p14:creationId xmlns:p14="http://schemas.microsoft.com/office/powerpoint/2010/main" val="35754375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50000"/>
              </a:lnSpc>
              <a:buFont typeface="Arial" panose="020B0604020202020204" pitchFamily="34" charset="0"/>
              <a:buChar char="•"/>
            </a:pPr>
            <a:r>
              <a:rPr lang="en-GB" dirty="0"/>
              <a:t>Now I’d like you to reflect by yourself for a moment – what you will do differently to make our plans successful. </a:t>
            </a:r>
          </a:p>
          <a:p>
            <a:endParaRPr lang="en-GB" dirty="0"/>
          </a:p>
        </p:txBody>
      </p:sp>
      <p:sp>
        <p:nvSpPr>
          <p:cNvPr id="4" name="Slide Number Placeholder 3"/>
          <p:cNvSpPr>
            <a:spLocks noGrp="1"/>
          </p:cNvSpPr>
          <p:nvPr>
            <p:ph type="sldNum" sz="quarter" idx="5"/>
          </p:nvPr>
        </p:nvSpPr>
        <p:spPr/>
        <p:txBody>
          <a:bodyPr/>
          <a:lstStyle/>
          <a:p>
            <a:fld id="{06FEC9DA-59F6-4F18-B9AD-650860882079}" type="slidenum">
              <a:rPr lang="en-GB" smtClean="0"/>
              <a:t>30</a:t>
            </a:fld>
            <a:endParaRPr lang="en-GB"/>
          </a:p>
        </p:txBody>
      </p:sp>
    </p:spTree>
    <p:extLst>
      <p:ext uri="{BB962C8B-B14F-4D97-AF65-F5344CB8AC3E}">
        <p14:creationId xmlns:p14="http://schemas.microsoft.com/office/powerpoint/2010/main" val="346017518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50000"/>
              </a:lnSpc>
              <a:buFont typeface="Arial" panose="020B0604020202020204" pitchFamily="34" charset="0"/>
              <a:buChar char="•"/>
            </a:pPr>
            <a:r>
              <a:rPr lang="en-US" dirty="0">
                <a:solidFill>
                  <a:srgbClr val="000000"/>
                </a:solidFill>
                <a:latin typeface="+mn-lt"/>
                <a:ea typeface="Roboto"/>
                <a:cs typeface="Calibri Light"/>
              </a:rPr>
              <a:t>We’re now going to turn our attention to the Tell Us! Survey that took place towards the end of last year, in November. </a:t>
            </a:r>
          </a:p>
          <a:p>
            <a:pPr marL="171450" indent="-171450">
              <a:lnSpc>
                <a:spcPct val="150000"/>
              </a:lnSpc>
              <a:buFont typeface="Arial" panose="020B0604020202020204" pitchFamily="34" charset="0"/>
              <a:buChar char="•"/>
            </a:pPr>
            <a:r>
              <a:rPr lang="en-US" dirty="0">
                <a:solidFill>
                  <a:srgbClr val="000000"/>
                </a:solidFill>
                <a:latin typeface="+mn-lt"/>
                <a:ea typeface="Roboto"/>
                <a:cs typeface="Calibri Light"/>
              </a:rPr>
              <a:t>The results from the survey give us a snapshot of how engaged everyone was at that point in time and importantly allow us a really clear insight into what we are doing well. </a:t>
            </a:r>
          </a:p>
          <a:p>
            <a:pPr marL="171450" indent="-171450">
              <a:lnSpc>
                <a:spcPct val="150000"/>
              </a:lnSpc>
              <a:buFont typeface="Arial" panose="020B0604020202020204" pitchFamily="34" charset="0"/>
              <a:buChar char="•"/>
            </a:pPr>
            <a:r>
              <a:rPr lang="en-US" dirty="0">
                <a:solidFill>
                  <a:srgbClr val="000000"/>
                </a:solidFill>
                <a:latin typeface="+mn-lt"/>
                <a:ea typeface="Roboto"/>
                <a:cs typeface="Calibri Light"/>
              </a:rPr>
              <a:t>They also show us where we need to focus more of our energy in terms of staff engagement order to make a positive difference by leading our teams in a values driven way. </a:t>
            </a:r>
          </a:p>
          <a:p>
            <a:pPr marL="171450" indent="-171450">
              <a:lnSpc>
                <a:spcPct val="150000"/>
              </a:lnSpc>
              <a:buFont typeface="Arial" panose="020B0604020202020204" pitchFamily="34" charset="0"/>
              <a:buChar char="•"/>
            </a:pPr>
            <a:r>
              <a:rPr lang="en-US" dirty="0">
                <a:solidFill>
                  <a:srgbClr val="000000"/>
                </a:solidFill>
                <a:latin typeface="+mn-lt"/>
                <a:ea typeface="Roboto"/>
                <a:cs typeface="Calibri Light"/>
              </a:rPr>
              <a:t>Staff engagement and performance go hand in hand so the more engaged our colleagues are the more successful we are as a business. </a:t>
            </a:r>
          </a:p>
          <a:p>
            <a:pPr marL="171450" indent="-171450">
              <a:lnSpc>
                <a:spcPct val="150000"/>
              </a:lnSpc>
              <a:buFont typeface="Arial" panose="020B0604020202020204" pitchFamily="34" charset="0"/>
              <a:buChar char="•"/>
            </a:pPr>
            <a:r>
              <a:rPr lang="en-US" dirty="0">
                <a:solidFill>
                  <a:srgbClr val="000000"/>
                </a:solidFill>
                <a:latin typeface="+mn-lt"/>
                <a:ea typeface="Roboto"/>
                <a:cs typeface="Calibri Light"/>
              </a:rPr>
              <a:t>Added to that the survey results also provide us with a benchmark so that moving forward we can track and measure improvement. </a:t>
            </a:r>
            <a:endParaRPr lang="en-US" dirty="0">
              <a:latin typeface="+mn-lt"/>
              <a:ea typeface="Roboto" panose="020F0502020204030204"/>
              <a:cs typeface="Calibri Light"/>
            </a:endParaRPr>
          </a:p>
          <a:p>
            <a:pPr marL="171450" indent="-171450">
              <a:lnSpc>
                <a:spcPct val="150000"/>
              </a:lnSpc>
              <a:buFont typeface="Arial" panose="020B0604020202020204" pitchFamily="34" charset="0"/>
              <a:buChar char="•"/>
            </a:pPr>
            <a:r>
              <a:rPr lang="en-US" dirty="0">
                <a:latin typeface="+mn-lt"/>
                <a:ea typeface="Roboto" panose="020F0502020204030204"/>
                <a:cs typeface="Calibri Light"/>
              </a:rPr>
              <a:t>So today I want to share with you the highlights of the Stark UK survey result. </a:t>
            </a:r>
          </a:p>
          <a:p>
            <a:pPr marL="171450" indent="-171450">
              <a:lnSpc>
                <a:spcPct val="150000"/>
              </a:lnSpc>
              <a:buFont typeface="Arial" panose="020B0604020202020204" pitchFamily="34" charset="0"/>
              <a:buChar char="•"/>
            </a:pPr>
            <a:r>
              <a:rPr lang="en-US" dirty="0">
                <a:latin typeface="+mn-lt"/>
                <a:ea typeface="Roboto" panose="020F0502020204030204"/>
                <a:cs typeface="Calibri Light"/>
              </a:rPr>
              <a:t>We will look at the NPS (Net Promotor Score), which is a key measure as it is underpinned by all the survey engagement driver questions and is a great indicator of our overall staff culture and engagement.</a:t>
            </a:r>
          </a:p>
          <a:p>
            <a:pPr marL="171450" indent="-171450">
              <a:lnSpc>
                <a:spcPct val="150000"/>
              </a:lnSpc>
              <a:buFont typeface="Arial" panose="020B0604020202020204" pitchFamily="34" charset="0"/>
              <a:buChar char="•"/>
            </a:pPr>
            <a:r>
              <a:rPr lang="en-US" dirty="0">
                <a:latin typeface="+mn-lt"/>
                <a:ea typeface="Roboto" panose="020F0502020204030204"/>
                <a:cs typeface="Calibri Light"/>
              </a:rPr>
              <a:t>And finally we will look forward to what we need to do next in terms of the survey results.</a:t>
            </a:r>
          </a:p>
          <a:p>
            <a:pPr marL="171450" indent="-171450">
              <a:lnSpc>
                <a:spcPct val="150000"/>
              </a:lnSpc>
              <a:buFont typeface="Arial" panose="020B0604020202020204" pitchFamily="34" charset="0"/>
              <a:buChar char="•"/>
            </a:pPr>
            <a:endParaRPr lang="en-US" dirty="0">
              <a:latin typeface="+mn-lt"/>
              <a:ea typeface="Roboto" panose="020F0502020204030204"/>
              <a:cs typeface="Calibri Light"/>
            </a:endParaRPr>
          </a:p>
          <a:p>
            <a:endParaRPr lang="en-GB" dirty="0">
              <a:latin typeface="Roboto" panose="020F0502020204030204"/>
              <a:ea typeface="Roboto" panose="020F0502020204030204"/>
              <a:cs typeface="Roboto" panose="020F0502020204030204"/>
            </a:endParaRPr>
          </a:p>
        </p:txBody>
      </p:sp>
      <p:sp>
        <p:nvSpPr>
          <p:cNvPr id="4" name="Slide Number Placeholder 3"/>
          <p:cNvSpPr>
            <a:spLocks noGrp="1"/>
          </p:cNvSpPr>
          <p:nvPr>
            <p:ph type="sldNum" sz="quarter" idx="5"/>
          </p:nvPr>
        </p:nvSpPr>
        <p:spPr/>
        <p:txBody>
          <a:bodyPr/>
          <a:lstStyle/>
          <a:p>
            <a:fld id="{06FEC9DA-59F6-4F18-B9AD-650860882079}" type="slidenum">
              <a:rPr lang="en-GB" smtClean="0"/>
              <a:t>31</a:t>
            </a:fld>
            <a:endParaRPr lang="en-GB"/>
          </a:p>
        </p:txBody>
      </p:sp>
    </p:spTree>
    <p:extLst>
      <p:ext uri="{BB962C8B-B14F-4D97-AF65-F5344CB8AC3E}">
        <p14:creationId xmlns:p14="http://schemas.microsoft.com/office/powerpoint/2010/main" val="174871625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latin typeface="+mn-lt"/>
              </a:rPr>
              <a:t>80% of staff completed the survey. STARK</a:t>
            </a:r>
            <a:r>
              <a:rPr lang="en-GB" dirty="0">
                <a:effectLst/>
                <a:latin typeface="+mn-lt"/>
              </a:rPr>
              <a:t> Group were </a:t>
            </a:r>
            <a:r>
              <a:rPr lang="en-GB" dirty="0">
                <a:latin typeface="+mn-lt"/>
              </a:rPr>
              <a:t>really</a:t>
            </a:r>
            <a:r>
              <a:rPr lang="en-GB" dirty="0">
                <a:effectLst/>
                <a:latin typeface="+mn-lt"/>
              </a:rPr>
              <a:t> pleased with our levels of response, especially </a:t>
            </a:r>
            <a:r>
              <a:rPr lang="en-GB" dirty="0">
                <a:latin typeface="+mn-lt"/>
              </a:rPr>
              <a:t>when taking into account </a:t>
            </a:r>
            <a:r>
              <a:rPr lang="en-GB" dirty="0">
                <a:effectLst/>
                <a:latin typeface="+mn-lt"/>
              </a:rPr>
              <a:t>the level of activity </a:t>
            </a:r>
            <a:r>
              <a:rPr lang="en-GB" dirty="0">
                <a:latin typeface="+mn-lt"/>
              </a:rPr>
              <a:t>and </a:t>
            </a:r>
            <a:r>
              <a:rPr lang="en-GB" dirty="0">
                <a:effectLst/>
                <a:latin typeface="+mn-lt"/>
              </a:rPr>
              <a:t>change </a:t>
            </a:r>
            <a:r>
              <a:rPr lang="en-GB" dirty="0">
                <a:latin typeface="+mn-lt"/>
              </a:rPr>
              <a:t>that has been, and still is, happening</a:t>
            </a:r>
            <a:r>
              <a:rPr lang="en-GB" dirty="0">
                <a:effectLst/>
                <a:latin typeface="+mn-lt"/>
              </a:rPr>
              <a:t> across the business</a:t>
            </a:r>
            <a:r>
              <a:rPr lang="en-GB" dirty="0">
                <a:latin typeface="+mn-lt"/>
              </a:rPr>
              <a:t>.</a:t>
            </a:r>
            <a:endParaRPr lang="en-GB" dirty="0">
              <a:effectLst/>
              <a:latin typeface="+mn-lt"/>
            </a:endParaRPr>
          </a:p>
          <a:p>
            <a:pPr marL="171450" indent="-171450">
              <a:buFont typeface="Arial" panose="020B0604020202020204" pitchFamily="34" charset="0"/>
              <a:buChar char="•"/>
            </a:pPr>
            <a:r>
              <a:rPr lang="en-GB" dirty="0">
                <a:latin typeface="+mn-lt"/>
                <a:ea typeface="Roboto" panose="020F0502020204030204"/>
                <a:cs typeface="Roboto" panose="020F0502020204030204"/>
              </a:rPr>
              <a:t>The slide shows the three main engagement measures and the seven engagement drivers which underpin the engagement measures. When you look at the scores – green scores are considered as 'good', grey scores are considered as 'neutral' and any figures in red present 'areas of most opportunity' and the great news is that there are no 'red' scores for the measures that you are looking at. As you dig down further into the business unit / branch it is likely that you will see greater variations in the scores.</a:t>
            </a:r>
            <a:endParaRPr lang="en-GB" dirty="0">
              <a:latin typeface="+mn-lt"/>
            </a:endParaRPr>
          </a:p>
          <a:p>
            <a:pPr marL="171450" indent="-171450">
              <a:buFont typeface="Arial" panose="020B0604020202020204" pitchFamily="34" charset="0"/>
              <a:buChar char="•"/>
            </a:pPr>
            <a:r>
              <a:rPr lang="en-GB" b="1" dirty="0">
                <a:effectLst/>
                <a:latin typeface="+mn-lt"/>
              </a:rPr>
              <a:t>ENGAGEMENT SCORES </a:t>
            </a:r>
            <a:r>
              <a:rPr lang="en-GB" b="1" dirty="0">
                <a:latin typeface="+mn-lt"/>
              </a:rPr>
              <a:t>are defined by:</a:t>
            </a:r>
            <a:endParaRPr lang="en-GB" dirty="0">
              <a:effectLst/>
              <a:latin typeface="+mn-lt"/>
              <a:cs typeface="+mn-lt"/>
            </a:endParaRPr>
          </a:p>
          <a:p>
            <a:pPr marL="171450" indent="-171450">
              <a:buFont typeface="Arial" panose="020B0604020202020204" pitchFamily="34" charset="0"/>
              <a:buChar char="•"/>
            </a:pPr>
            <a:r>
              <a:rPr lang="en-GB" dirty="0">
                <a:effectLst/>
                <a:latin typeface="+mn-lt"/>
              </a:rPr>
              <a:t>Satisfaction &amp; Motivation – </a:t>
            </a:r>
            <a:r>
              <a:rPr lang="en-GB" b="0" i="0" dirty="0">
                <a:solidFill>
                  <a:srgbClr val="000000"/>
                </a:solidFill>
                <a:effectLst/>
                <a:latin typeface="+mn-lt"/>
              </a:rPr>
              <a:t>Overall, how satisfied are you as an employee at your place of work?</a:t>
            </a:r>
            <a:r>
              <a:rPr lang="en-GB" dirty="0">
                <a:solidFill>
                  <a:srgbClr val="000000"/>
                </a:solidFill>
                <a:latin typeface="+mn-lt"/>
              </a:rPr>
              <a:t> </a:t>
            </a:r>
            <a:endParaRPr lang="en-GB" b="0" i="0" dirty="0">
              <a:solidFill>
                <a:srgbClr val="000000"/>
              </a:solidFill>
              <a:effectLst/>
              <a:latin typeface="+mn-lt"/>
            </a:endParaRPr>
          </a:p>
          <a:p>
            <a:pPr marL="171450" indent="-171450">
              <a:buFont typeface="Arial" panose="020B0604020202020204" pitchFamily="34" charset="0"/>
              <a:buChar char="•"/>
            </a:pPr>
            <a:r>
              <a:rPr lang="en-GB" b="0" i="0" dirty="0">
                <a:solidFill>
                  <a:srgbClr val="000000"/>
                </a:solidFill>
                <a:effectLst/>
                <a:latin typeface="+mn-lt"/>
              </a:rPr>
              <a:t>Loyalty – I would like to be employed at STARK UK in two years’ time</a:t>
            </a:r>
            <a:r>
              <a:rPr lang="en-GB" dirty="0">
                <a:solidFill>
                  <a:srgbClr val="000000"/>
                </a:solidFill>
                <a:latin typeface="+mn-lt"/>
              </a:rPr>
              <a:t> /  I am enthusiastic around the business and my work tasks.</a:t>
            </a:r>
            <a:endParaRPr lang="en-GB" b="0" i="0" dirty="0">
              <a:solidFill>
                <a:srgbClr val="000000"/>
              </a:solidFill>
              <a:effectLst/>
              <a:latin typeface="+mn-lt"/>
            </a:endParaRPr>
          </a:p>
          <a:p>
            <a:pPr marL="171450" indent="-171450">
              <a:buFont typeface="Arial" panose="020B0604020202020204" pitchFamily="34" charset="0"/>
              <a:buChar char="•"/>
            </a:pPr>
            <a:r>
              <a:rPr lang="en-GB" dirty="0">
                <a:latin typeface="+mn-lt"/>
              </a:rPr>
              <a:t>Employee Net Promoter Score </a:t>
            </a:r>
            <a:r>
              <a:rPr lang="en-GB" dirty="0" err="1">
                <a:latin typeface="+mn-lt"/>
              </a:rPr>
              <a:t>eNPS</a:t>
            </a:r>
            <a:r>
              <a:rPr lang="en-GB" dirty="0">
                <a:latin typeface="+mn-lt"/>
              </a:rPr>
              <a:t> – I would recommend Stark UK as a place to work.  This is measured on a scale of -100 to +100) (Good is 0-30, above 30 is excellent, world class is 50+).</a:t>
            </a:r>
            <a:endParaRPr lang="en-GB" dirty="0">
              <a:latin typeface="+mn-lt"/>
              <a:ea typeface="Roboto"/>
              <a:cs typeface="Roboto"/>
            </a:endParaRPr>
          </a:p>
          <a:p>
            <a:pPr marL="171450" indent="-171450">
              <a:buFont typeface="Arial" panose="020B0604020202020204" pitchFamily="34" charset="0"/>
              <a:buChar char="•"/>
            </a:pPr>
            <a:r>
              <a:rPr lang="en-GB" dirty="0">
                <a:solidFill>
                  <a:srgbClr val="000000"/>
                </a:solidFill>
                <a:latin typeface="+mn-lt"/>
              </a:rPr>
              <a:t>An important point to remember is that when colleagues talk about their place of work they talk to other members of staff, they talk to our suppliers and they talk to our customers.</a:t>
            </a:r>
            <a:endParaRPr lang="en-GB" b="0" i="0" dirty="0">
              <a:solidFill>
                <a:srgbClr val="000000"/>
              </a:solidFill>
              <a:effectLst/>
              <a:latin typeface="+mn-lt"/>
            </a:endParaRPr>
          </a:p>
          <a:p>
            <a:pPr marL="171450" indent="-171450">
              <a:buFont typeface="Arial" panose="020B0604020202020204" pitchFamily="34" charset="0"/>
              <a:buChar char="•"/>
            </a:pPr>
            <a:r>
              <a:rPr lang="en-GB" b="0" i="0" dirty="0">
                <a:solidFill>
                  <a:srgbClr val="000000"/>
                </a:solidFill>
                <a:effectLst/>
                <a:latin typeface="+mn-lt"/>
              </a:rPr>
              <a:t>Engagement Drivers </a:t>
            </a:r>
            <a:r>
              <a:rPr lang="en-GB" dirty="0">
                <a:solidFill>
                  <a:srgbClr val="000000"/>
                </a:solidFill>
                <a:latin typeface="+mn-lt"/>
              </a:rPr>
              <a:t>are on the right-hand side of the screen and these are seen as the </a:t>
            </a:r>
            <a:r>
              <a:rPr lang="en-GB" b="0" i="0" dirty="0">
                <a:solidFill>
                  <a:srgbClr val="000000"/>
                </a:solidFill>
                <a:effectLst/>
                <a:latin typeface="+mn-lt"/>
              </a:rPr>
              <a:t>core drivers for employee engagement</a:t>
            </a:r>
            <a:r>
              <a:rPr lang="en-GB" dirty="0">
                <a:solidFill>
                  <a:srgbClr val="000000"/>
                </a:solidFill>
                <a:latin typeface="+mn-lt"/>
              </a:rPr>
              <a:t> and are self-explanatory. </a:t>
            </a:r>
            <a:endParaRPr lang="en-GB" b="0" i="0" dirty="0">
              <a:solidFill>
                <a:srgbClr val="818181"/>
              </a:solidFill>
              <a:effectLst/>
              <a:latin typeface="+mn-lt"/>
            </a:endParaRPr>
          </a:p>
          <a:p>
            <a:pPr marL="171450" indent="-171450">
              <a:buFont typeface="Arial" panose="020B0604020202020204" pitchFamily="34" charset="0"/>
              <a:buChar char="•"/>
            </a:pPr>
            <a:endParaRPr lang="en-GB" b="0" i="0" dirty="0">
              <a:solidFill>
                <a:srgbClr val="818181"/>
              </a:solidFill>
              <a:effectLst/>
              <a:latin typeface="+mn-lt"/>
            </a:endParaRPr>
          </a:p>
          <a:p>
            <a:pPr marL="171450" indent="-171450">
              <a:buFont typeface="Arial" panose="020B0604020202020204" pitchFamily="34" charset="0"/>
              <a:buChar char="•"/>
            </a:pPr>
            <a:endParaRPr lang="en-GB" b="0" i="0" dirty="0">
              <a:solidFill>
                <a:srgbClr val="818181"/>
              </a:solidFill>
              <a:effectLst/>
              <a:latin typeface="+mn-lt"/>
            </a:endParaRPr>
          </a:p>
          <a:p>
            <a:pPr marL="228600" indent="-228600">
              <a:buFont typeface="Calibri Light" panose="020F0302020204030204"/>
              <a:buAutoNum type="arabicPeriod"/>
            </a:pPr>
            <a:endParaRPr lang="en-GB" dirty="0">
              <a:ea typeface="Roboto"/>
              <a:cs typeface="Roboto"/>
            </a:endParaRPr>
          </a:p>
        </p:txBody>
      </p:sp>
      <p:sp>
        <p:nvSpPr>
          <p:cNvPr id="4" name="Slide Number Placeholder 3"/>
          <p:cNvSpPr>
            <a:spLocks noGrp="1"/>
          </p:cNvSpPr>
          <p:nvPr>
            <p:ph type="sldNum" sz="quarter" idx="5"/>
          </p:nvPr>
        </p:nvSpPr>
        <p:spPr/>
        <p:txBody>
          <a:bodyPr/>
          <a:lstStyle/>
          <a:p>
            <a:fld id="{06FEC9DA-59F6-4F18-B9AD-650860882079}" type="slidenum">
              <a:rPr lang="en-GB" smtClean="0"/>
              <a:t>32</a:t>
            </a:fld>
            <a:endParaRPr lang="en-GB"/>
          </a:p>
        </p:txBody>
      </p:sp>
    </p:spTree>
    <p:extLst>
      <p:ext uri="{BB962C8B-B14F-4D97-AF65-F5344CB8AC3E}">
        <p14:creationId xmlns:p14="http://schemas.microsoft.com/office/powerpoint/2010/main" val="38385027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50000"/>
              </a:lnSpc>
              <a:buFont typeface="Arial" panose="020B0604020202020204" pitchFamily="34" charset="0"/>
              <a:buChar char="•"/>
            </a:pPr>
            <a:r>
              <a:rPr lang="en-US" dirty="0"/>
              <a:t>Our values drive how we show up – how we think and behave.</a:t>
            </a:r>
          </a:p>
          <a:p>
            <a:pPr marL="171450" indent="-171450">
              <a:lnSpc>
                <a:spcPct val="150000"/>
              </a:lnSpc>
              <a:buFont typeface="Arial" panose="020B0604020202020204" pitchFamily="34" charset="0"/>
              <a:buChar char="•"/>
            </a:pPr>
            <a:r>
              <a:rPr lang="en-US" dirty="0"/>
              <a:t>We’ve all adopting STARK’s values of Decency, Passion and Pride, as we fully integrate with STARK Group.</a:t>
            </a:r>
          </a:p>
          <a:p>
            <a:pPr marL="171450" indent="-171450">
              <a:lnSpc>
                <a:spcPct val="150000"/>
              </a:lnSpc>
              <a:buFont typeface="Arial" panose="020B0604020202020204" pitchFamily="34" charset="0"/>
              <a:buChar char="•"/>
            </a:pPr>
            <a:r>
              <a:rPr lang="en-US" dirty="0"/>
              <a:t>What do these values mean to you. How do they help you serve our customers and be a good team member?</a:t>
            </a:r>
          </a:p>
        </p:txBody>
      </p:sp>
      <p:sp>
        <p:nvSpPr>
          <p:cNvPr id="4" name="Slide Number Placeholder 3"/>
          <p:cNvSpPr>
            <a:spLocks noGrp="1"/>
          </p:cNvSpPr>
          <p:nvPr>
            <p:ph type="sldNum" sz="quarter" idx="5"/>
          </p:nvPr>
        </p:nvSpPr>
        <p:spPr/>
        <p:txBody>
          <a:bodyPr/>
          <a:lstStyle/>
          <a:p>
            <a:fld id="{06FEC9DA-59F6-4F18-B9AD-650860882079}" type="slidenum">
              <a:rPr lang="en-GB" smtClean="0"/>
              <a:t>33</a:t>
            </a:fld>
            <a:endParaRPr lang="en-GB"/>
          </a:p>
        </p:txBody>
      </p:sp>
    </p:spTree>
    <p:extLst>
      <p:ext uri="{BB962C8B-B14F-4D97-AF65-F5344CB8AC3E}">
        <p14:creationId xmlns:p14="http://schemas.microsoft.com/office/powerpoint/2010/main" val="130474679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fontAlgn="base">
              <a:lnSpc>
                <a:spcPct val="150000"/>
              </a:lnSpc>
              <a:buFont typeface="Arial" panose="020B0604020202020204" pitchFamily="34" charset="0"/>
              <a:buChar char="•"/>
            </a:pPr>
            <a:r>
              <a:rPr lang="en-US" b="0" i="0" u="none" strike="noStrike" dirty="0">
                <a:solidFill>
                  <a:srgbClr val="000000"/>
                </a:solidFill>
                <a:effectLst/>
                <a:latin typeface="+mj-lt"/>
                <a:ea typeface="Roboto"/>
                <a:cs typeface="Roboto"/>
              </a:rPr>
              <a:t>Let’s l</a:t>
            </a:r>
            <a:r>
              <a:rPr lang="en-US" dirty="0">
                <a:solidFill>
                  <a:srgbClr val="000000"/>
                </a:solidFill>
                <a:latin typeface="+mj-lt"/>
                <a:ea typeface="Roboto"/>
                <a:cs typeface="Roboto"/>
              </a:rPr>
              <a:t>ook at one value at a time and explore what</a:t>
            </a:r>
            <a:r>
              <a:rPr lang="en-US" b="0" i="0" u="none" strike="noStrike" dirty="0">
                <a:solidFill>
                  <a:srgbClr val="000000"/>
                </a:solidFill>
                <a:effectLst/>
                <a:latin typeface="+mj-lt"/>
                <a:ea typeface="Roboto"/>
                <a:cs typeface="Roboto"/>
              </a:rPr>
              <a:t> this value </a:t>
            </a:r>
            <a:r>
              <a:rPr lang="en-US" dirty="0">
                <a:solidFill>
                  <a:srgbClr val="000000"/>
                </a:solidFill>
                <a:latin typeface="+mj-lt"/>
                <a:ea typeface="Roboto"/>
                <a:cs typeface="Roboto"/>
              </a:rPr>
              <a:t>looks</a:t>
            </a:r>
            <a:r>
              <a:rPr lang="en-US" b="0" i="0" u="none" strike="noStrike" dirty="0">
                <a:solidFill>
                  <a:srgbClr val="000000"/>
                </a:solidFill>
                <a:effectLst/>
                <a:latin typeface="+mj-lt"/>
                <a:ea typeface="Roboto"/>
                <a:cs typeface="Roboto"/>
              </a:rPr>
              <a:t> like in action…</a:t>
            </a:r>
            <a:endParaRPr lang="en-US" b="0" i="0" dirty="0">
              <a:solidFill>
                <a:srgbClr val="000000"/>
              </a:solidFill>
              <a:effectLst/>
              <a:latin typeface="+mj-lt"/>
              <a:ea typeface="Roboto"/>
              <a:cs typeface="Roboto"/>
            </a:endParaRPr>
          </a:p>
          <a:p>
            <a:pPr marL="171450" indent="-171450" algn="l" rtl="0" fontAlgn="base">
              <a:lnSpc>
                <a:spcPct val="150000"/>
              </a:lnSpc>
              <a:buFont typeface="Arial" panose="020B0604020202020204" pitchFamily="34" charset="0"/>
              <a:buChar char="•"/>
            </a:pPr>
            <a:r>
              <a:rPr lang="en-US" b="0" i="0" u="none" strike="noStrike" dirty="0">
                <a:solidFill>
                  <a:srgbClr val="000000"/>
                </a:solidFill>
                <a:effectLst/>
                <a:latin typeface="+mj-lt"/>
                <a:ea typeface="Roboto"/>
                <a:cs typeface="Roboto"/>
              </a:rPr>
              <a:t>…for me?</a:t>
            </a:r>
            <a:r>
              <a:rPr lang="en-US" b="0" i="0" dirty="0">
                <a:solidFill>
                  <a:srgbClr val="000000"/>
                </a:solidFill>
                <a:effectLst/>
                <a:latin typeface="+mj-lt"/>
                <a:ea typeface="Roboto"/>
                <a:cs typeface="Roboto"/>
              </a:rPr>
              <a:t>​</a:t>
            </a:r>
          </a:p>
          <a:p>
            <a:pPr marL="171450" indent="-171450" algn="l" rtl="0" fontAlgn="base">
              <a:lnSpc>
                <a:spcPct val="150000"/>
              </a:lnSpc>
              <a:buFont typeface="Arial" panose="020B0604020202020204" pitchFamily="34" charset="0"/>
              <a:buChar char="•"/>
            </a:pPr>
            <a:r>
              <a:rPr lang="en-US" b="0" i="0" u="none" strike="noStrike" dirty="0">
                <a:solidFill>
                  <a:srgbClr val="000000"/>
                </a:solidFill>
                <a:effectLst/>
                <a:latin typeface="+mj-lt"/>
                <a:ea typeface="Roboto"/>
                <a:cs typeface="Roboto"/>
              </a:rPr>
              <a:t>…for how we serve our customers? </a:t>
            </a:r>
            <a:r>
              <a:rPr lang="en-US" b="0" i="0" dirty="0">
                <a:solidFill>
                  <a:srgbClr val="000000"/>
                </a:solidFill>
                <a:effectLst/>
                <a:latin typeface="+mj-lt"/>
                <a:ea typeface="Roboto"/>
                <a:cs typeface="Roboto"/>
              </a:rPr>
              <a:t>​</a:t>
            </a:r>
          </a:p>
          <a:p>
            <a:pPr marL="171450" indent="-171450" algn="l" rtl="0" fontAlgn="base">
              <a:lnSpc>
                <a:spcPct val="150000"/>
              </a:lnSpc>
              <a:buFont typeface="Arial" panose="020B0604020202020204" pitchFamily="34" charset="0"/>
              <a:buChar char="•"/>
            </a:pPr>
            <a:r>
              <a:rPr lang="en-US" b="0" i="0" u="none" strike="noStrike" dirty="0">
                <a:solidFill>
                  <a:srgbClr val="000000"/>
                </a:solidFill>
                <a:effectLst/>
                <a:latin typeface="+mj-lt"/>
                <a:ea typeface="Roboto"/>
                <a:cs typeface="Roboto"/>
              </a:rPr>
              <a:t>…for our teamwork? </a:t>
            </a:r>
            <a:r>
              <a:rPr lang="en-US" b="0" i="0" dirty="0">
                <a:solidFill>
                  <a:srgbClr val="000000"/>
                </a:solidFill>
                <a:effectLst/>
                <a:latin typeface="+mj-lt"/>
                <a:ea typeface="Roboto"/>
                <a:cs typeface="Roboto"/>
              </a:rPr>
              <a:t>​</a:t>
            </a:r>
          </a:p>
          <a:p>
            <a:pPr marL="171450" indent="-171450" algn="l" rtl="0" fontAlgn="base">
              <a:lnSpc>
                <a:spcPct val="150000"/>
              </a:lnSpc>
              <a:buFont typeface="Arial" panose="020B0604020202020204" pitchFamily="34" charset="0"/>
              <a:buChar char="•"/>
            </a:pPr>
            <a:endParaRPr lang="en-US" b="0" i="0" dirty="0">
              <a:solidFill>
                <a:srgbClr val="000000"/>
              </a:solidFill>
              <a:effectLst/>
              <a:latin typeface="+mj-lt"/>
              <a:ea typeface="Roboto"/>
              <a:cs typeface="Roboto"/>
            </a:endParaRPr>
          </a:p>
          <a:p>
            <a:endParaRPr lang="en-GB" dirty="0"/>
          </a:p>
        </p:txBody>
      </p:sp>
      <p:sp>
        <p:nvSpPr>
          <p:cNvPr id="4" name="Slide Number Placeholder 3"/>
          <p:cNvSpPr>
            <a:spLocks noGrp="1"/>
          </p:cNvSpPr>
          <p:nvPr>
            <p:ph type="sldNum" sz="quarter" idx="5"/>
          </p:nvPr>
        </p:nvSpPr>
        <p:spPr/>
        <p:txBody>
          <a:bodyPr/>
          <a:lstStyle/>
          <a:p>
            <a:fld id="{06FEC9DA-59F6-4F18-B9AD-650860882079}" type="slidenum">
              <a:rPr lang="en-GB" smtClean="0"/>
              <a:t>34</a:t>
            </a:fld>
            <a:endParaRPr lang="en-GB"/>
          </a:p>
        </p:txBody>
      </p:sp>
    </p:spTree>
    <p:extLst>
      <p:ext uri="{BB962C8B-B14F-4D97-AF65-F5344CB8AC3E}">
        <p14:creationId xmlns:p14="http://schemas.microsoft.com/office/powerpoint/2010/main" val="155755130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solidFill>
                  <a:srgbClr val="000000"/>
                </a:solidFill>
              </a:rPr>
              <a:t>We’re now clear on the plans, what we need to do differently and how we will bring our brilliance by living the values every day.</a:t>
            </a:r>
          </a:p>
          <a:p>
            <a:pPr marL="171450" indent="-171450">
              <a:buFont typeface="Arial" panose="020B0604020202020204" pitchFamily="34" charset="0"/>
              <a:buChar char="•"/>
            </a:pPr>
            <a:r>
              <a:rPr lang="en-GB" dirty="0">
                <a:solidFill>
                  <a:srgbClr val="000000"/>
                </a:solidFill>
              </a:rPr>
              <a:t>Let’s finish today’s Team Talk by looking at the key priorities and then get going.</a:t>
            </a:r>
            <a:endParaRPr lang="en-GB" dirty="0"/>
          </a:p>
          <a:p>
            <a:endParaRPr lang="en-GB" dirty="0">
              <a:solidFill>
                <a:srgbClr val="000000"/>
              </a:solidFill>
              <a:latin typeface="Roboto" panose="02000000000000000000" pitchFamily="2" charset="0"/>
              <a:ea typeface="Roboto"/>
              <a:cs typeface="Roboto"/>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FEC9DA-59F6-4F18-B9AD-650860882079}" type="slidenum">
              <a:rPr kumimoji="0" lang="en-GB" sz="1200" b="0" i="0" u="none" strike="noStrike" kern="1200" cap="none" spc="0" normalizeH="0" baseline="0" noProof="0" smtClean="0">
                <a:ln>
                  <a:noFill/>
                </a:ln>
                <a:solidFill>
                  <a:prstClr val="black"/>
                </a:solidFill>
                <a:effectLst/>
                <a:uLnTx/>
                <a:uFillTx/>
                <a:latin typeface="Roboto"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Roboto" panose="020F0502020204030204"/>
              <a:ea typeface="+mn-ea"/>
              <a:cs typeface="+mn-cs"/>
            </a:endParaRPr>
          </a:p>
        </p:txBody>
      </p:sp>
    </p:spTree>
    <p:extLst>
      <p:ext uri="{BB962C8B-B14F-4D97-AF65-F5344CB8AC3E}">
        <p14:creationId xmlns:p14="http://schemas.microsoft.com/office/powerpoint/2010/main" val="104910320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latin typeface="Calibri"/>
                <a:ea typeface="Calibri"/>
                <a:cs typeface="Calibri"/>
              </a:rPr>
              <a:t>We need to grow our live credit accounts; support functions – everything we do should be in service of our branches.</a:t>
            </a:r>
          </a:p>
          <a:p>
            <a:pPr marL="171450" indent="-171450">
              <a:buFont typeface="Arial" panose="020B0604020202020204" pitchFamily="34" charset="0"/>
              <a:buChar char="•"/>
            </a:pPr>
            <a:r>
              <a:rPr lang="en-US" dirty="0">
                <a:latin typeface="Calibri"/>
                <a:ea typeface="Calibri"/>
                <a:cs typeface="Calibri"/>
              </a:rPr>
              <a:t>We need to grow collections per day.</a:t>
            </a:r>
          </a:p>
          <a:p>
            <a:pPr marL="171450" indent="-171450">
              <a:buFont typeface="Arial" panose="020B0604020202020204" pitchFamily="34" charset="0"/>
              <a:buChar char="•"/>
            </a:pPr>
            <a:r>
              <a:rPr lang="en-US" dirty="0">
                <a:latin typeface="Calibri"/>
                <a:ea typeface="Calibri"/>
                <a:cs typeface="Calibri"/>
              </a:rPr>
              <a:t>We need to increase the number of deliveries per day.</a:t>
            </a:r>
          </a:p>
          <a:p>
            <a:pPr marL="171450" indent="-171450">
              <a:buFont typeface="Arial" panose="020B0604020202020204" pitchFamily="34" charset="0"/>
              <a:buChar char="•"/>
            </a:pPr>
            <a:r>
              <a:rPr lang="en-US" dirty="0">
                <a:latin typeface="Calibri"/>
                <a:ea typeface="Calibri"/>
                <a:cs typeface="Calibri"/>
              </a:rPr>
              <a:t>We need to keep focused on safety, keep talking with each other, and keep in conversation with our customers.</a:t>
            </a:r>
          </a:p>
          <a:p>
            <a:pPr marL="171450" indent="-171450">
              <a:buFont typeface="Arial" panose="020B0604020202020204" pitchFamily="34" charset="0"/>
              <a:buChar char="•"/>
            </a:pPr>
            <a:r>
              <a:rPr lang="en-US" dirty="0">
                <a:latin typeface="Calibri"/>
                <a:ea typeface="Calibri"/>
                <a:cs typeface="Calibri"/>
              </a:rPr>
              <a:t>Any questions?</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FEC9DA-59F6-4F18-B9AD-650860882079}" type="slidenum">
              <a:rPr kumimoji="0" lang="en-GB" sz="1200" b="0" i="0" u="none" strike="noStrike" kern="1200" cap="none" spc="0" normalizeH="0" baseline="0" noProof="0" smtClean="0">
                <a:ln>
                  <a:noFill/>
                </a:ln>
                <a:solidFill>
                  <a:prstClr val="black"/>
                </a:solidFill>
                <a:effectLst/>
                <a:uLnTx/>
                <a:uFillTx/>
                <a:latin typeface="Roboto"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a:ln>
                <a:noFill/>
              </a:ln>
              <a:solidFill>
                <a:prstClr val="black"/>
              </a:solidFill>
              <a:effectLst/>
              <a:uLnTx/>
              <a:uFillTx/>
              <a:latin typeface="Roboto" panose="020F0502020204030204"/>
              <a:ea typeface="+mn-ea"/>
              <a:cs typeface="+mn-cs"/>
            </a:endParaRPr>
          </a:p>
        </p:txBody>
      </p:sp>
    </p:spTree>
    <p:extLst>
      <p:ext uri="{BB962C8B-B14F-4D97-AF65-F5344CB8AC3E}">
        <p14:creationId xmlns:p14="http://schemas.microsoft.com/office/powerpoint/2010/main" val="186782307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spcAft>
                <a:spcPts val="800"/>
              </a:spcAft>
              <a:buFont typeface="Arial" panose="020B0604020202020204" pitchFamily="34" charset="0"/>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Better starts with each of us. Better starts today. Trust in Better.</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FEC9DA-59F6-4F18-B9AD-650860882079}" type="slidenum">
              <a:rPr kumimoji="0" lang="en-GB" sz="1200" b="0" i="0" u="none" strike="noStrike" kern="1200" cap="none" spc="0" normalizeH="0" baseline="0" noProof="0" smtClean="0">
                <a:ln>
                  <a:noFill/>
                </a:ln>
                <a:solidFill>
                  <a:prstClr val="black"/>
                </a:solidFill>
                <a:effectLst/>
                <a:uLnTx/>
                <a:uFillTx/>
                <a:latin typeface="Roboto"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a:ln>
                <a:noFill/>
              </a:ln>
              <a:solidFill>
                <a:prstClr val="black"/>
              </a:solidFill>
              <a:effectLst/>
              <a:uLnTx/>
              <a:uFillTx/>
              <a:latin typeface="Roboto" panose="020F0502020204030204"/>
              <a:ea typeface="+mn-ea"/>
              <a:cs typeface="+mn-cs"/>
            </a:endParaRPr>
          </a:p>
        </p:txBody>
      </p:sp>
    </p:spTree>
    <p:extLst>
      <p:ext uri="{BB962C8B-B14F-4D97-AF65-F5344CB8AC3E}">
        <p14:creationId xmlns:p14="http://schemas.microsoft.com/office/powerpoint/2010/main" val="136784475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Thank you.</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FEC9DA-59F6-4F18-B9AD-650860882079}" type="slidenum">
              <a:rPr kumimoji="0" lang="en-GB" sz="1200" b="0" i="0" u="none" strike="noStrike" kern="1200" cap="none" spc="0" normalizeH="0" baseline="0" noProof="0" smtClean="0">
                <a:ln>
                  <a:noFill/>
                </a:ln>
                <a:solidFill>
                  <a:prstClr val="black"/>
                </a:solidFill>
                <a:effectLst/>
                <a:uLnTx/>
                <a:uFillTx/>
                <a:latin typeface="Roboto"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200" b="0" i="0" u="none" strike="noStrike" kern="1200" cap="none" spc="0" normalizeH="0" baseline="0" noProof="0">
              <a:ln>
                <a:noFill/>
              </a:ln>
              <a:solidFill>
                <a:prstClr val="black"/>
              </a:solidFill>
              <a:effectLst/>
              <a:uLnTx/>
              <a:uFillTx/>
              <a:latin typeface="Roboto" panose="020F0502020204030204"/>
              <a:ea typeface="+mn-ea"/>
              <a:cs typeface="+mn-cs"/>
            </a:endParaRPr>
          </a:p>
        </p:txBody>
      </p:sp>
    </p:spTree>
    <p:extLst>
      <p:ext uri="{BB962C8B-B14F-4D97-AF65-F5344CB8AC3E}">
        <p14:creationId xmlns:p14="http://schemas.microsoft.com/office/powerpoint/2010/main" val="188809256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FEC9DA-59F6-4F18-B9AD-650860882079}" type="slidenum">
              <a:rPr kumimoji="0" lang="en-GB" sz="1200" b="0" i="0" u="none" strike="noStrike" kern="1200" cap="none" spc="0" normalizeH="0" baseline="0" noProof="0" smtClean="0">
                <a:ln>
                  <a:noFill/>
                </a:ln>
                <a:solidFill>
                  <a:prstClr val="black"/>
                </a:solidFill>
                <a:effectLst/>
                <a:uLnTx/>
                <a:uFillTx/>
                <a:latin typeface="Roboto"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a:ln>
                <a:noFill/>
              </a:ln>
              <a:solidFill>
                <a:prstClr val="black"/>
              </a:solidFill>
              <a:effectLst/>
              <a:uLnTx/>
              <a:uFillTx/>
              <a:latin typeface="Roboto" panose="020F0502020204030204"/>
              <a:ea typeface="+mn-ea"/>
              <a:cs typeface="+mn-cs"/>
            </a:endParaRPr>
          </a:p>
        </p:txBody>
      </p:sp>
    </p:spTree>
    <p:extLst>
      <p:ext uri="{BB962C8B-B14F-4D97-AF65-F5344CB8AC3E}">
        <p14:creationId xmlns:p14="http://schemas.microsoft.com/office/powerpoint/2010/main" val="30584837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Overall, a very good performance in terms of frequency and the types of accidents experienced in the region, in comparison to historic performances over the years.</a:t>
            </a:r>
          </a:p>
          <a:p>
            <a:pPr marL="171450" indent="-171450">
              <a:buFont typeface="Arial" panose="020B0604020202020204" pitchFamily="34" charset="0"/>
              <a:buChar char="•"/>
            </a:pPr>
            <a:r>
              <a:rPr lang="en-GB" dirty="0"/>
              <a:t>The severity of injuries, which thankfully year on year reduces in terms of the impact of those injuries on the injured colleagues, and the length and complexity of their recoveries. </a:t>
            </a:r>
          </a:p>
          <a:p>
            <a:pPr marL="171450" indent="-171450">
              <a:buFont typeface="Arial" panose="020B0604020202020204" pitchFamily="34" charset="0"/>
              <a:buChar char="•"/>
            </a:pPr>
            <a:r>
              <a:rPr lang="en-GB" b="1" dirty="0"/>
              <a:t>2 lost time injuries</a:t>
            </a:r>
            <a:r>
              <a:rPr lang="en-GB" dirty="0"/>
              <a:t>, thankfully none of them were very serious injuries, however some incidents had much greater potential for serious injury and were therefore treated as a </a:t>
            </a:r>
            <a:r>
              <a:rPr lang="en-GB" b="1" dirty="0"/>
              <a:t>SIPs (Serious Injury Potential) </a:t>
            </a:r>
            <a:r>
              <a:rPr lang="en-GB" dirty="0"/>
              <a:t>and underwent vigorous investigation and senior management reviews as a result - and some of those SIPs were near misses which is a great opportunity for us to learn.</a:t>
            </a:r>
            <a:endParaRPr lang="en-GB" b="1" dirty="0"/>
          </a:p>
          <a:p>
            <a:pPr marL="171450" indent="-171450">
              <a:buFont typeface="Arial" panose="020B0604020202020204" pitchFamily="34" charset="0"/>
              <a:buChar char="•"/>
            </a:pPr>
            <a:r>
              <a:rPr lang="en-GB" b="1" dirty="0"/>
              <a:t>No significant professional medical treatment injuries on the books </a:t>
            </a:r>
            <a:r>
              <a:rPr lang="en-GB" dirty="0"/>
              <a:t>and a total of </a:t>
            </a:r>
            <a:r>
              <a:rPr lang="en-GB" b="1" dirty="0"/>
              <a:t>81 first aid injuries</a:t>
            </a:r>
            <a:r>
              <a:rPr lang="en-GB" dirty="0"/>
              <a:t>, low in severity.</a:t>
            </a:r>
          </a:p>
          <a:p>
            <a:pPr marL="171450" indent="-171450">
              <a:buFont typeface="Arial" panose="020B0604020202020204" pitchFamily="34" charset="0"/>
              <a:buChar char="•"/>
            </a:pPr>
            <a:r>
              <a:rPr lang="en-GB" dirty="0"/>
              <a:t>A healthy number of near miss reports, indicating that our culture of </a:t>
            </a:r>
            <a:r>
              <a:rPr lang="en-GB" b="1" dirty="0"/>
              <a:t>open and honest reporting remains something for us to be proud of</a:t>
            </a:r>
            <a:r>
              <a:rPr lang="en-GB" dirty="0"/>
              <a:t>.</a:t>
            </a:r>
          </a:p>
          <a:p>
            <a:pPr marL="171450" indent="-171450">
              <a:buFont typeface="Arial" panose="020B0604020202020204" pitchFamily="34" charset="0"/>
              <a:buChar char="•"/>
            </a:pPr>
            <a:r>
              <a:rPr lang="en-GB" dirty="0"/>
              <a:t>In terms of who gets injured, it’s our </a:t>
            </a:r>
            <a:r>
              <a:rPr lang="en-GB" b="1" dirty="0"/>
              <a:t>Drivers and yard or warehouse teams </a:t>
            </a:r>
            <a:r>
              <a:rPr lang="en-GB" dirty="0"/>
              <a:t>– at the sharp end and working with the hazards – hence why hazard control (including behaviour – which is the hardest hazard to manage) is so important.</a:t>
            </a:r>
          </a:p>
          <a:p>
            <a:pPr marL="171450" indent="-171450">
              <a:buFont typeface="Arial" panose="020B0604020202020204" pitchFamily="34" charset="0"/>
              <a:buChar char="•"/>
            </a:pPr>
            <a:r>
              <a:rPr lang="en-GB" dirty="0"/>
              <a:t>The main activities that cause injuries are </a:t>
            </a:r>
            <a:r>
              <a:rPr lang="en-GB" b="1" dirty="0"/>
              <a:t>manual handling </a:t>
            </a:r>
            <a:r>
              <a:rPr lang="en-GB" dirty="0"/>
              <a:t>and </a:t>
            </a:r>
            <a:r>
              <a:rPr lang="en-GB" b="1" dirty="0"/>
              <a:t>driver activities </a:t>
            </a:r>
            <a:r>
              <a:rPr lang="en-GB" dirty="0"/>
              <a:t>(including Tool Hire) and of course </a:t>
            </a:r>
            <a:r>
              <a:rPr lang="en-GB" b="1" dirty="0"/>
              <a:t>Forklift truck operations</a:t>
            </a:r>
            <a:r>
              <a:rPr lang="en-GB" dirty="0"/>
              <a:t>.</a:t>
            </a:r>
          </a:p>
          <a:p>
            <a:pPr marL="171450" indent="-171450">
              <a:buFont typeface="Arial" panose="020B0604020202020204" pitchFamily="34" charset="0"/>
              <a:buChar char="•"/>
            </a:pPr>
            <a:r>
              <a:rPr lang="en-GB" dirty="0"/>
              <a:t>Thankfully, right across the business the severity or level of harm has predominantly been </a:t>
            </a:r>
            <a:r>
              <a:rPr lang="en-GB" b="1" dirty="0"/>
              <a:t>low impact manual handling related injuries, fingers and limb injuries</a:t>
            </a:r>
            <a:r>
              <a:rPr lang="en-GB" dirty="0"/>
              <a:t>. The risk of severe injury increases by multiple factors once to add working at height and forklift trucks into the causation – so we must continue to focus on these areas through 2024.</a:t>
            </a:r>
          </a:p>
          <a:p>
            <a:pPr marL="171450" indent="-171450">
              <a:buFont typeface="Arial" panose="020B0604020202020204" pitchFamily="34" charset="0"/>
              <a:buChar char="•"/>
            </a:pPr>
            <a:r>
              <a:rPr lang="en-GB" dirty="0"/>
              <a:t>No surprises for the general location of most of the regions injury experience – yards and warehouses and of course off-site when our teams are delivering to unfamiliar environments where we have limited control – and here is </a:t>
            </a:r>
            <a:r>
              <a:rPr lang="en-GB" b="1" dirty="0"/>
              <a:t>the importance of dynamic risk assessment and common sense behavioural safety</a:t>
            </a:r>
            <a:r>
              <a:rPr lang="en-GB" dirty="0"/>
              <a:t>.</a:t>
            </a:r>
          </a:p>
          <a:p>
            <a:pPr marL="171450" indent="-171450">
              <a:buFont typeface="Arial" panose="020B0604020202020204" pitchFamily="34" charset="0"/>
              <a:buChar char="•"/>
            </a:pPr>
            <a:r>
              <a:rPr lang="en-GB" dirty="0"/>
              <a:t>It needs to be said however that when we look at the </a:t>
            </a:r>
            <a:r>
              <a:rPr lang="en-GB" b="1" dirty="0"/>
              <a:t>ROOT and UNDERLYING CAUSES:</a:t>
            </a:r>
          </a:p>
          <a:p>
            <a:pPr marL="685800" lvl="1" indent="-228600">
              <a:buFont typeface="+mj-lt"/>
              <a:buAutoNum type="arabicPeriod"/>
            </a:pPr>
            <a:r>
              <a:rPr lang="en-GB" b="1" dirty="0"/>
              <a:t>Supervision and influence </a:t>
            </a:r>
            <a:r>
              <a:rPr lang="en-GB" dirty="0"/>
              <a:t>over our teams working practices and behaviour</a:t>
            </a:r>
          </a:p>
          <a:p>
            <a:pPr marL="685800" lvl="1" indent="-228600">
              <a:buFont typeface="+mj-lt"/>
              <a:buAutoNum type="arabicPeriod"/>
            </a:pPr>
            <a:r>
              <a:rPr lang="en-GB" b="1" dirty="0"/>
              <a:t>Need to do proper risk assessments and </a:t>
            </a:r>
            <a:r>
              <a:rPr lang="en-GB" dirty="0"/>
              <a:t>plan deliveries better, mainly taking basic information from our customers before sending our Drivers out. This way they can take steps to load in a certain way, or get support – or just be more aware of the hazards and risks at the location they’re about to head off to.</a:t>
            </a:r>
          </a:p>
        </p:txBody>
      </p:sp>
      <p:sp>
        <p:nvSpPr>
          <p:cNvPr id="4" name="Slide Number Placeholder 3"/>
          <p:cNvSpPr>
            <a:spLocks noGrp="1"/>
          </p:cNvSpPr>
          <p:nvPr>
            <p:ph type="sldNum" sz="quarter" idx="5"/>
          </p:nvPr>
        </p:nvSpPr>
        <p:spPr/>
        <p:txBody>
          <a:bodyPr/>
          <a:lstStyle/>
          <a:p>
            <a:fld id="{FA42E722-3306-4C54-9E32-19E27A4A4BBC}" type="slidenum">
              <a:rPr lang="en-GB" smtClean="0"/>
              <a:t>4</a:t>
            </a:fld>
            <a:endParaRPr lang="en-GB"/>
          </a:p>
        </p:txBody>
      </p:sp>
    </p:spTree>
    <p:extLst>
      <p:ext uri="{BB962C8B-B14F-4D97-AF65-F5344CB8AC3E}">
        <p14:creationId xmlns:p14="http://schemas.microsoft.com/office/powerpoint/2010/main" val="71784219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Roboto"/>
              <a:cs typeface="Roboto"/>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FEC9DA-59F6-4F18-B9AD-650860882079}" type="slidenum">
              <a:rPr kumimoji="0" lang="en-GB" sz="1200" b="0" i="0" u="none" strike="noStrike" kern="1200" cap="none" spc="0" normalizeH="0" baseline="0" noProof="0" smtClean="0">
                <a:ln>
                  <a:noFill/>
                </a:ln>
                <a:solidFill>
                  <a:prstClr val="black"/>
                </a:solidFill>
                <a:effectLst/>
                <a:uLnTx/>
                <a:uFillTx/>
                <a:latin typeface="Roboto"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200" b="0" i="0" u="none" strike="noStrike" kern="1200" cap="none" spc="0" normalizeH="0" baseline="0" noProof="0">
              <a:ln>
                <a:noFill/>
              </a:ln>
              <a:solidFill>
                <a:prstClr val="black"/>
              </a:solidFill>
              <a:effectLst/>
              <a:uLnTx/>
              <a:uFillTx/>
              <a:latin typeface="Roboto" panose="020F0502020204030204"/>
              <a:ea typeface="+mn-ea"/>
              <a:cs typeface="+mn-cs"/>
            </a:endParaRPr>
          </a:p>
        </p:txBody>
      </p:sp>
    </p:spTree>
    <p:extLst>
      <p:ext uri="{BB962C8B-B14F-4D97-AF65-F5344CB8AC3E}">
        <p14:creationId xmlns:p14="http://schemas.microsoft.com/office/powerpoint/2010/main" val="107887323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FEC9DA-59F6-4F18-B9AD-650860882079}" type="slidenum">
              <a:rPr kumimoji="0" lang="en-GB" sz="1200" b="0" i="0" u="none" strike="noStrike" kern="1200" cap="none" spc="0" normalizeH="0" baseline="0" noProof="0" smtClean="0">
                <a:ln>
                  <a:noFill/>
                </a:ln>
                <a:solidFill>
                  <a:prstClr val="black"/>
                </a:solidFill>
                <a:effectLst/>
                <a:uLnTx/>
                <a:uFillTx/>
                <a:latin typeface="Roboto"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1200" b="0" i="0" u="none" strike="noStrike" kern="1200" cap="none" spc="0" normalizeH="0" baseline="0" noProof="0">
              <a:ln>
                <a:noFill/>
              </a:ln>
              <a:solidFill>
                <a:prstClr val="black"/>
              </a:solidFill>
              <a:effectLst/>
              <a:uLnTx/>
              <a:uFillTx/>
              <a:latin typeface="Roboto" panose="020F0502020204030204"/>
              <a:ea typeface="+mn-ea"/>
              <a:cs typeface="+mn-cs"/>
            </a:endParaRPr>
          </a:p>
        </p:txBody>
      </p:sp>
    </p:spTree>
    <p:extLst>
      <p:ext uri="{BB962C8B-B14F-4D97-AF65-F5344CB8AC3E}">
        <p14:creationId xmlns:p14="http://schemas.microsoft.com/office/powerpoint/2010/main" val="172077902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06FEC9DA-59F6-4F18-B9AD-650860882079}" type="slidenum">
              <a:rPr lang="en-GB" smtClean="0"/>
              <a:t>42</a:t>
            </a:fld>
            <a:endParaRPr lang="en-GB"/>
          </a:p>
        </p:txBody>
      </p:sp>
    </p:spTree>
    <p:extLst>
      <p:ext uri="{BB962C8B-B14F-4D97-AF65-F5344CB8AC3E}">
        <p14:creationId xmlns:p14="http://schemas.microsoft.com/office/powerpoint/2010/main" val="172077902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FEC9DA-59F6-4F18-B9AD-650860882079}" type="slidenum">
              <a:rPr kumimoji="0" lang="en-GB" sz="1200" b="0" i="0" u="none" strike="noStrike" kern="1200" cap="none" spc="0" normalizeH="0" baseline="0" noProof="0" smtClean="0">
                <a:ln>
                  <a:noFill/>
                </a:ln>
                <a:solidFill>
                  <a:prstClr val="black"/>
                </a:solidFill>
                <a:effectLst/>
                <a:uLnTx/>
                <a:uFillTx/>
                <a:latin typeface="Roboto"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200" b="0" i="0" u="none" strike="noStrike" kern="1200" cap="none" spc="0" normalizeH="0" baseline="0" noProof="0">
              <a:ln>
                <a:noFill/>
              </a:ln>
              <a:solidFill>
                <a:prstClr val="black"/>
              </a:solidFill>
              <a:effectLst/>
              <a:uLnTx/>
              <a:uFillTx/>
              <a:latin typeface="Roboto" panose="020F0502020204030204"/>
              <a:ea typeface="+mn-ea"/>
              <a:cs typeface="+mn-cs"/>
            </a:endParaRPr>
          </a:p>
        </p:txBody>
      </p:sp>
    </p:spTree>
    <p:extLst>
      <p:ext uri="{BB962C8B-B14F-4D97-AF65-F5344CB8AC3E}">
        <p14:creationId xmlns:p14="http://schemas.microsoft.com/office/powerpoint/2010/main" val="390990019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latin typeface="Roboto" panose="020F0502020204030204"/>
              <a:ea typeface="Roboto" panose="020F0502020204030204"/>
              <a:cs typeface="Roboto" panose="020F0502020204030204"/>
            </a:endParaRPr>
          </a:p>
        </p:txBody>
      </p:sp>
      <p:sp>
        <p:nvSpPr>
          <p:cNvPr id="4" name="Slide Number Placeholder 3"/>
          <p:cNvSpPr>
            <a:spLocks noGrp="1"/>
          </p:cNvSpPr>
          <p:nvPr>
            <p:ph type="sldNum" sz="quarter" idx="5"/>
          </p:nvPr>
        </p:nvSpPr>
        <p:spPr/>
        <p:txBody>
          <a:bodyPr/>
          <a:lstStyle/>
          <a:p>
            <a:fld id="{06FEC9DA-59F6-4F18-B9AD-650860882079}" type="slidenum">
              <a:rPr lang="en-GB" smtClean="0"/>
              <a:t>44</a:t>
            </a:fld>
            <a:endParaRPr lang="en-GB"/>
          </a:p>
        </p:txBody>
      </p:sp>
    </p:spTree>
    <p:extLst>
      <p:ext uri="{BB962C8B-B14F-4D97-AF65-F5344CB8AC3E}">
        <p14:creationId xmlns:p14="http://schemas.microsoft.com/office/powerpoint/2010/main" val="17207790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For 2024, our focus doesn’t change, we just have really stay focussed and be consistent in that, and that means being better at </a:t>
            </a:r>
            <a:r>
              <a:rPr lang="en-GB" b="1" dirty="0"/>
              <a:t>‘practical and pragmatic management supervision and influence’.</a:t>
            </a:r>
            <a:r>
              <a:rPr lang="en-GB" dirty="0"/>
              <a:t> </a:t>
            </a:r>
          </a:p>
          <a:p>
            <a:pPr marL="171450" indent="-171450">
              <a:buFont typeface="Arial" panose="020B0604020202020204" pitchFamily="34" charset="0"/>
              <a:buChar char="•"/>
            </a:pPr>
            <a:r>
              <a:rPr lang="en-GB" dirty="0"/>
              <a:t>We’ve got to keep to high standards and I’ll be helping you do to that. </a:t>
            </a:r>
            <a:r>
              <a:rPr lang="en-GB" b="1" dirty="0"/>
              <a:t>STARK </a:t>
            </a:r>
            <a:r>
              <a:rPr lang="en-GB" b="1" i="0" dirty="0"/>
              <a:t>Connect</a:t>
            </a:r>
            <a:r>
              <a:rPr lang="en-GB" b="1" i="1" dirty="0"/>
              <a:t> </a:t>
            </a:r>
            <a:r>
              <a:rPr lang="en-GB" i="1" dirty="0"/>
              <a:t>(formally known as SMAT Connect) </a:t>
            </a:r>
            <a:r>
              <a:rPr lang="en-GB" dirty="0"/>
              <a:t>can help us too.</a:t>
            </a:r>
          </a:p>
          <a:p>
            <a:pPr marL="171450" indent="-171450">
              <a:buFont typeface="Arial" panose="020B0604020202020204" pitchFamily="34" charset="0"/>
              <a:buChar char="•"/>
            </a:pPr>
            <a:r>
              <a:rPr lang="en-GB" b="1" dirty="0"/>
              <a:t>Priority number 1 </a:t>
            </a:r>
            <a:r>
              <a:rPr lang="en-GB" dirty="0"/>
              <a:t>– is our biggest operational hazard, </a:t>
            </a:r>
            <a:r>
              <a:rPr lang="en-GB" b="1" dirty="0"/>
              <a:t>Forklift trucks</a:t>
            </a:r>
            <a:r>
              <a:rPr lang="en-GB" dirty="0"/>
              <a:t>. Almost EVERYTHING links to our teams making sure that the </a:t>
            </a:r>
            <a:r>
              <a:rPr lang="en-GB" b="1" dirty="0"/>
              <a:t>safe operating exclusion zone </a:t>
            </a:r>
            <a:r>
              <a:rPr lang="en-GB" dirty="0"/>
              <a:t>is managed – kept clear at ALL times when the FLT is in motion. This is the most critical operational rule we have, this and looking in the direction of travel at all times, especially when reversing. If we manage this well, </a:t>
            </a:r>
            <a:r>
              <a:rPr lang="en-GB" b="1" dirty="0"/>
              <a:t>we just don’t hit people – it’s as simple as that</a:t>
            </a:r>
            <a:r>
              <a:rPr lang="en-GB" dirty="0"/>
              <a:t>.</a:t>
            </a:r>
          </a:p>
          <a:p>
            <a:pPr marL="171450" indent="-171450">
              <a:buFont typeface="Arial" panose="020B0604020202020204" pitchFamily="34" charset="0"/>
              <a:buChar char="•"/>
            </a:pPr>
            <a:r>
              <a:rPr lang="en-GB" b="1" dirty="0"/>
              <a:t>Priority number 2 </a:t>
            </a:r>
            <a:r>
              <a:rPr lang="en-GB" dirty="0"/>
              <a:t>– As you’d probably expect, it’s Driver activities. Driver accidents when out delivering, or loading and unloading vehicles, result in around 50% of all our injuries, and they’re usually the most severe. We need to focus and influence how they </a:t>
            </a:r>
            <a:r>
              <a:rPr lang="en-GB" b="1" dirty="0"/>
              <a:t>work at height </a:t>
            </a:r>
            <a:r>
              <a:rPr lang="en-GB" dirty="0"/>
              <a:t>and that’s predominantly accessing and exiting the vehicle cabs and when needing to access the vehicle bed – remember </a:t>
            </a:r>
            <a:r>
              <a:rPr lang="en-GB" b="1" dirty="0"/>
              <a:t>feet on the ground is key</a:t>
            </a:r>
            <a:r>
              <a:rPr lang="en-GB" dirty="0"/>
              <a:t>, followed by using the fall prevention bars </a:t>
            </a:r>
            <a:r>
              <a:rPr lang="en-GB" b="1" dirty="0"/>
              <a:t>(Safe-T-Drop)</a:t>
            </a:r>
            <a:r>
              <a:rPr lang="en-GB" dirty="0"/>
              <a:t> and always having </a:t>
            </a:r>
            <a:r>
              <a:rPr lang="en-GB" b="1" dirty="0"/>
              <a:t>3 points of contact</a:t>
            </a:r>
            <a:r>
              <a:rPr lang="en-GB" dirty="0"/>
              <a:t>.</a:t>
            </a:r>
          </a:p>
          <a:p>
            <a:pPr marL="171450" indent="-171450">
              <a:buFont typeface="Arial" panose="020B0604020202020204" pitchFamily="34" charset="0"/>
              <a:buChar char="•"/>
            </a:pPr>
            <a:r>
              <a:rPr lang="en-GB" b="1" dirty="0"/>
              <a:t>Priority number 3 </a:t>
            </a:r>
            <a:r>
              <a:rPr lang="en-GB" dirty="0"/>
              <a:t>– </a:t>
            </a:r>
            <a:r>
              <a:rPr lang="en-GB" b="0" dirty="0"/>
              <a:t>Asbestos!</a:t>
            </a:r>
            <a:r>
              <a:rPr lang="en-GB" dirty="0"/>
              <a:t> We know what to do, and it’s more simple than it seems. We just have to make sure we </a:t>
            </a:r>
            <a:r>
              <a:rPr lang="en-GB" b="1" dirty="0"/>
              <a:t>know the locations of asbestos containing materials </a:t>
            </a:r>
            <a:r>
              <a:rPr lang="en-GB" dirty="0"/>
              <a:t>at our branches, (from understanding our individual site survey), </a:t>
            </a:r>
            <a:r>
              <a:rPr lang="en-GB" b="1" dirty="0"/>
              <a:t>and I need to keep you informed on these locations </a:t>
            </a:r>
            <a:r>
              <a:rPr lang="en-GB" dirty="0"/>
              <a:t>so we all treat them with care and delicacy, and </a:t>
            </a:r>
            <a:r>
              <a:rPr lang="en-GB" b="1" dirty="0"/>
              <a:t>openly report </a:t>
            </a:r>
            <a:r>
              <a:rPr lang="en-GB" dirty="0"/>
              <a:t>to you if they accidentally damage any ACMs. Finally, </a:t>
            </a:r>
            <a:r>
              <a:rPr lang="en-GB" b="1" dirty="0"/>
              <a:t>physically inspect these areas once a month; we need to make sure we’ve noted down on our monthly EHS inspection sheet</a:t>
            </a:r>
            <a:r>
              <a:rPr lang="en-GB" dirty="0"/>
              <a:t>, and of course </a:t>
            </a:r>
            <a:r>
              <a:rPr lang="en-GB" b="1" dirty="0"/>
              <a:t>immediately report any damage identified to Property </a:t>
            </a:r>
            <a:r>
              <a:rPr lang="en-GB" dirty="0"/>
              <a:t>so we can urgently fix it to make it safe. We cannot afford to ignore any damage or disrepair to asbestos containing materials in our branches.</a:t>
            </a:r>
          </a:p>
          <a:p>
            <a:pPr marL="171450" indent="-171450">
              <a:buFont typeface="Arial" panose="020B0604020202020204" pitchFamily="34" charset="0"/>
              <a:buChar char="•"/>
            </a:pPr>
            <a:r>
              <a:rPr lang="en-GB" b="1" dirty="0"/>
              <a:t>Priority number 4 </a:t>
            </a:r>
            <a:r>
              <a:rPr lang="en-GB" dirty="0"/>
              <a:t>– Product safety. This predominantly means how we handle products, how we store them, how we load and move them around and to our customer. The key things to focus on and influence your teams over are always – </a:t>
            </a:r>
            <a:r>
              <a:rPr lang="en-GB" b="1" dirty="0"/>
              <a:t>manual handling </a:t>
            </a:r>
            <a:r>
              <a:rPr lang="en-GB" dirty="0"/>
              <a:t>(make sure your teams are trained, it’s risk assessed, you’ve recorded their physical capabilities) and observe occasionally that they’re adopting common sense good practices when physically handling stock. The other key area is storage, </a:t>
            </a:r>
            <a:r>
              <a:rPr lang="en-GB" b="1" dirty="0"/>
              <a:t>stacking of packs </a:t>
            </a:r>
            <a:r>
              <a:rPr lang="en-GB" dirty="0"/>
              <a:t>and please remember that whenever we have </a:t>
            </a:r>
            <a:r>
              <a:rPr lang="en-GB" b="1" dirty="0"/>
              <a:t>adverse weather (in particular high winds) </a:t>
            </a:r>
            <a:r>
              <a:rPr lang="en-GB" dirty="0"/>
              <a:t>which seems more and more frequent these days, we need to be making sure external sock is secure and we’re not creating surface to air missiles through carelessness or just bad practice.</a:t>
            </a:r>
          </a:p>
          <a:p>
            <a:pPr marL="171450" indent="-171450">
              <a:buFont typeface="Arial" panose="020B0604020202020204" pitchFamily="34" charset="0"/>
              <a:buChar char="•"/>
            </a:pPr>
            <a:r>
              <a:rPr lang="en-GB" dirty="0"/>
              <a:t>And </a:t>
            </a:r>
            <a:r>
              <a:rPr lang="en-GB" b="1" dirty="0"/>
              <a:t>Priority number 5 </a:t>
            </a:r>
            <a:r>
              <a:rPr lang="en-GB" dirty="0"/>
              <a:t>– EHS training. Coaching is the key, now carried out in small, subject-specific workshops in informal familiar settings, which are a set of short group sessions called ‘EHS Lite’. The approach now in EHS is to </a:t>
            </a:r>
            <a:r>
              <a:rPr lang="en-GB" b="1" dirty="0"/>
              <a:t>coach not catch</a:t>
            </a:r>
            <a:r>
              <a:rPr lang="en-GB" dirty="0"/>
              <a:t>, less audits and much more support, so don’t hesitate to shout for help.</a:t>
            </a:r>
          </a:p>
        </p:txBody>
      </p:sp>
      <p:sp>
        <p:nvSpPr>
          <p:cNvPr id="4" name="Slide Number Placeholder 3"/>
          <p:cNvSpPr>
            <a:spLocks noGrp="1"/>
          </p:cNvSpPr>
          <p:nvPr>
            <p:ph type="sldNum" sz="quarter" idx="5"/>
          </p:nvPr>
        </p:nvSpPr>
        <p:spPr/>
        <p:txBody>
          <a:bodyPr/>
          <a:lstStyle/>
          <a:p>
            <a:fld id="{FA42E722-3306-4C54-9E32-19E27A4A4BBC}" type="slidenum">
              <a:rPr lang="en-GB" smtClean="0"/>
              <a:t>5</a:t>
            </a:fld>
            <a:endParaRPr lang="en-GB"/>
          </a:p>
        </p:txBody>
      </p:sp>
    </p:spTree>
    <p:extLst>
      <p:ext uri="{BB962C8B-B14F-4D97-AF65-F5344CB8AC3E}">
        <p14:creationId xmlns:p14="http://schemas.microsoft.com/office/powerpoint/2010/main" val="39312077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15000"/>
              </a:lnSpc>
              <a:buFont typeface="Symbol" panose="05050102010706020507" pitchFamily="18" charset="2"/>
              <a:buChar char=""/>
            </a:pPr>
            <a:r>
              <a:rPr lang="en-GB" sz="1800" dirty="0">
                <a:effectLst/>
                <a:latin typeface="Calibri" panose="020F0502020204030204" pitchFamily="34" charset="0"/>
                <a:ea typeface="Calibri" panose="020F0502020204030204" pitchFamily="34" charset="0"/>
                <a:cs typeface="Times New Roman" panose="02020603050405020304" pitchFamily="18" charset="0"/>
              </a:rPr>
              <a:t>We’ve moved on from MHS, which we know helped a number of people and saved lives. </a:t>
            </a:r>
          </a:p>
          <a:p>
            <a:pPr marL="342900" lvl="0" indent="-342900">
              <a:lnSpc>
                <a:spcPct val="115000"/>
              </a:lnSpc>
              <a:buFont typeface="Symbol" panose="05050102010706020507" pitchFamily="18" charset="2"/>
              <a:buChar char=""/>
            </a:pPr>
            <a:r>
              <a:rPr lang="en-GB" sz="1800" dirty="0">
                <a:effectLst/>
                <a:latin typeface="Calibri" panose="020F0502020204030204" pitchFamily="34" charset="0"/>
                <a:ea typeface="Calibri" panose="020F0502020204030204" pitchFamily="34" charset="0"/>
                <a:cs typeface="Times New Roman" panose="02020603050405020304" pitchFamily="18" charset="0"/>
              </a:rPr>
              <a:t>Pleased to say Aviva’s offering has even more for us. </a:t>
            </a:r>
          </a:p>
          <a:p>
            <a:pPr marL="342900" lvl="0" indent="-342900">
              <a:lnSpc>
                <a:spcPct val="115000"/>
              </a:lnSpc>
              <a:spcAft>
                <a:spcPts val="1000"/>
              </a:spcAft>
              <a:buFont typeface="Symbol" panose="05050102010706020507" pitchFamily="18" charset="2"/>
              <a:buChar char=""/>
            </a:pPr>
            <a:r>
              <a:rPr lang="en-GB" sz="1800" dirty="0">
                <a:effectLst/>
                <a:latin typeface="Calibri" panose="020F0502020204030204" pitchFamily="34" charset="0"/>
                <a:ea typeface="Calibri" panose="020F0502020204030204" pitchFamily="34" charset="0"/>
                <a:cs typeface="Times New Roman" panose="02020603050405020304" pitchFamily="18" charset="0"/>
              </a:rPr>
              <a:t>Digi Care + still covers Mental Health but also a much wider offer, and also for our families – in days when we struggle to see GPs.</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FEC9DA-59F6-4F18-B9AD-650860882079}" type="slidenum">
              <a:rPr kumimoji="0" lang="en-GB" sz="1200" b="0" i="0" u="none" strike="noStrike" kern="1200" cap="none" spc="0" normalizeH="0" baseline="0" noProof="0" smtClean="0">
                <a:ln>
                  <a:noFill/>
                </a:ln>
                <a:solidFill>
                  <a:prstClr val="black"/>
                </a:solidFill>
                <a:effectLst/>
                <a:uLnTx/>
                <a:uFillTx/>
                <a:latin typeface="Roboto"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Roboto" panose="020F0502020204030204"/>
              <a:ea typeface="+mn-ea"/>
              <a:cs typeface="+mn-cs"/>
            </a:endParaRPr>
          </a:p>
        </p:txBody>
      </p:sp>
    </p:spTree>
    <p:extLst>
      <p:ext uri="{BB962C8B-B14F-4D97-AF65-F5344CB8AC3E}">
        <p14:creationId xmlns:p14="http://schemas.microsoft.com/office/powerpoint/2010/main" val="30314717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base" latinLnBrk="0" hangingPunct="1">
              <a:lnSpc>
                <a:spcPct val="150000"/>
              </a:lnSpc>
              <a:spcBef>
                <a:spcPts val="0"/>
              </a:spcBef>
              <a:spcAft>
                <a:spcPts val="0"/>
              </a:spcAft>
              <a:buClrTx/>
              <a:buSzTx/>
              <a:buFont typeface="Arial" panose="020B0604020202020204" pitchFamily="34" charset="0"/>
              <a:buChar char="•"/>
              <a:tabLst/>
              <a:defRPr/>
            </a:pPr>
            <a:endParaRPr lang="en-US" dirty="0">
              <a:ea typeface="Roboto"/>
              <a:cs typeface="Roboto"/>
            </a:endParaRPr>
          </a:p>
          <a:p>
            <a:pPr marL="171450" indent="-171450">
              <a:buFont typeface="Arial" panose="020B0604020202020204" pitchFamily="34" charset="0"/>
              <a:buChar char="•"/>
            </a:pPr>
            <a:r>
              <a:rPr lang="en-GB" dirty="0"/>
              <a:t>So, let’s talk about how things are today with our business and what this means for us.</a:t>
            </a:r>
          </a:p>
        </p:txBody>
      </p:sp>
      <p:sp>
        <p:nvSpPr>
          <p:cNvPr id="4" name="Slide Number Placeholder 3"/>
          <p:cNvSpPr>
            <a:spLocks noGrp="1"/>
          </p:cNvSpPr>
          <p:nvPr>
            <p:ph type="sldNum" sz="quarter" idx="5"/>
          </p:nvPr>
        </p:nvSpPr>
        <p:spPr/>
        <p:txBody>
          <a:bodyPr/>
          <a:lstStyle/>
          <a:p>
            <a:fld id="{06FEC9DA-59F6-4F18-B9AD-650860882079}" type="slidenum">
              <a:rPr lang="en-GB" smtClean="0"/>
              <a:t>7</a:t>
            </a:fld>
            <a:endParaRPr lang="en-GB"/>
          </a:p>
        </p:txBody>
      </p:sp>
    </p:spTree>
    <p:extLst>
      <p:ext uri="{BB962C8B-B14F-4D97-AF65-F5344CB8AC3E}">
        <p14:creationId xmlns:p14="http://schemas.microsoft.com/office/powerpoint/2010/main" val="9659447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41525" y="301625"/>
            <a:ext cx="2655888" cy="1493838"/>
          </a:xfrm>
        </p:spPr>
      </p:sp>
      <p:sp>
        <p:nvSpPr>
          <p:cNvPr id="3" name="Notes Placeholder 2"/>
          <p:cNvSpPr>
            <a:spLocks noGrp="1"/>
          </p:cNvSpPr>
          <p:nvPr>
            <p:ph type="body" idx="1"/>
          </p:nvPr>
        </p:nvSpPr>
        <p:spPr>
          <a:xfrm>
            <a:off x="673576" y="2094904"/>
            <a:ext cx="5388610" cy="3884861"/>
          </a:xfrm>
        </p:spPr>
        <p:txBody>
          <a:bodyPr/>
          <a:lstStyle/>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b="0" dirty="0">
                <a:ea typeface="Calibri"/>
                <a:cs typeface="Calibri"/>
              </a:rPr>
              <a:t>We need to turn around the overall financial performance of the business across all of STARK UK, and that has to start and end with driving the number and size of live credit accounts.</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b="0" dirty="0">
                <a:ea typeface="Calibri"/>
                <a:cs typeface="Calibri"/>
              </a:rPr>
              <a:t>We’re currently operating in a very challenged market and yet we have a fantastic opportunity to deliver on our Trust in Better strategy and plans.</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b="0" dirty="0">
                <a:ea typeface="Calibri"/>
                <a:cs typeface="Calibri"/>
              </a:rPr>
              <a:t>We’ve made and will continue to make lots of little – and big improvements that will make the whole situation better. The sum has to be greater than the individual parts.</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b="0" dirty="0">
                <a:ea typeface="Calibri"/>
                <a:cs typeface="Calibri"/>
              </a:rPr>
              <a:t>We’re seeing lots of pockets of brilliance – and need to see more.</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b="0" dirty="0">
                <a:ea typeface="Calibri"/>
                <a:cs typeface="Calibri"/>
              </a:rPr>
              <a:t>There’s a lot of lifting and shifting of best practice we need to do and also a lot of unpicking and sorting out issues that have come from previous ownership with Saint-Gobain.</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lang="en-GB" dirty="0">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FEC9DA-59F6-4F18-B9AD-650860882079}" type="slidenum">
              <a:rPr kumimoji="0" lang="en-GB" sz="1200" b="0" i="0" u="none" strike="noStrike" kern="1200" cap="none" spc="0" normalizeH="0" baseline="0" noProof="0" smtClean="0">
                <a:ln>
                  <a:noFill/>
                </a:ln>
                <a:solidFill>
                  <a:prstClr val="black"/>
                </a:solidFill>
                <a:effectLst/>
                <a:uLnTx/>
                <a:uFillTx/>
                <a:latin typeface="Roboto"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Roboto" panose="020F0502020204030204"/>
              <a:ea typeface="+mn-ea"/>
              <a:cs typeface="+mn-cs"/>
            </a:endParaRPr>
          </a:p>
        </p:txBody>
      </p:sp>
    </p:spTree>
    <p:extLst>
      <p:ext uri="{BB962C8B-B14F-4D97-AF65-F5344CB8AC3E}">
        <p14:creationId xmlns:p14="http://schemas.microsoft.com/office/powerpoint/2010/main" val="1552691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41525" y="301625"/>
            <a:ext cx="2655888" cy="1493838"/>
          </a:xfrm>
        </p:spPr>
      </p:sp>
      <p:sp>
        <p:nvSpPr>
          <p:cNvPr id="3" name="Notes Placeholder 2"/>
          <p:cNvSpPr>
            <a:spLocks noGrp="1"/>
          </p:cNvSpPr>
          <p:nvPr>
            <p:ph type="body" idx="1"/>
          </p:nvPr>
        </p:nvSpPr>
        <p:spPr>
          <a:xfrm>
            <a:off x="673576" y="2053653"/>
            <a:ext cx="5388610" cy="5681014"/>
          </a:xfrm>
        </p:spPr>
        <p:txBody>
          <a:bodyPr/>
          <a:lstStyle/>
          <a:p>
            <a:pPr marL="228600" marR="0" lvl="0" indent="-228600" algn="l" defTabSz="914400" rtl="0" eaLnBrk="1" fontAlgn="auto" latinLnBrk="0" hangingPunct="1">
              <a:lnSpc>
                <a:spcPct val="150000"/>
              </a:lnSpc>
              <a:buClrTx/>
              <a:buSzTx/>
              <a:buFont typeface="Arial" panose="020B0604020202020204" pitchFamily="34" charset="0"/>
              <a:buChar char="•"/>
              <a:tabLst/>
              <a:defRPr/>
            </a:pPr>
            <a:r>
              <a:rPr lang="en-GB" dirty="0">
                <a:cs typeface="Calibri"/>
              </a:rPr>
              <a:t>We need to do the basics brilliantly.</a:t>
            </a:r>
          </a:p>
          <a:p>
            <a:pPr marL="228600" marR="0" lvl="0" indent="-228600" algn="l" defTabSz="914400" rtl="0" eaLnBrk="1" fontAlgn="auto" latinLnBrk="0" hangingPunct="1">
              <a:lnSpc>
                <a:spcPct val="150000"/>
              </a:lnSpc>
              <a:buClrTx/>
              <a:buSzTx/>
              <a:buFont typeface="Arial" panose="020B0604020202020204" pitchFamily="34" charset="0"/>
              <a:buChar char="•"/>
              <a:tabLst/>
              <a:defRPr/>
            </a:pPr>
            <a:r>
              <a:rPr lang="en-GB" dirty="0">
                <a:ea typeface="Calibri"/>
                <a:cs typeface="Calibri"/>
              </a:rPr>
              <a:t>Branch teams are the focus and support functions are here to help give every chance for success.</a:t>
            </a:r>
          </a:p>
          <a:p>
            <a:pPr marL="228600" marR="0" lvl="0" indent="-228600" algn="l" defTabSz="914400" rtl="0" eaLnBrk="1" fontAlgn="auto" latinLnBrk="0" hangingPunct="1">
              <a:lnSpc>
                <a:spcPct val="150000"/>
              </a:lnSpc>
              <a:buClrTx/>
              <a:buSzTx/>
              <a:buFont typeface="Arial" panose="020B0604020202020204" pitchFamily="34" charset="0"/>
              <a:buChar char="•"/>
              <a:tabLst/>
              <a:defRPr/>
            </a:pPr>
            <a:r>
              <a:rPr lang="en-GB" dirty="0">
                <a:ea typeface="Calibri"/>
                <a:cs typeface="Calibri"/>
              </a:rPr>
              <a:t>Our customers are and have to be at the heart of everything we do.</a:t>
            </a:r>
          </a:p>
          <a:p>
            <a:pPr marL="228600" marR="0" lvl="0" indent="-228600" algn="l" defTabSz="914400" rtl="0" eaLnBrk="1" fontAlgn="auto" latinLnBrk="0" hangingPunct="1">
              <a:lnSpc>
                <a:spcPct val="150000"/>
              </a:lnSpc>
              <a:buClrTx/>
              <a:buSzTx/>
              <a:buFont typeface="Arial" panose="020B0604020202020204" pitchFamily="34" charset="0"/>
              <a:buChar char="•"/>
              <a:tabLst/>
              <a:defRPr/>
            </a:pPr>
            <a:r>
              <a:rPr lang="en-GB" dirty="0">
                <a:ea typeface="Calibri"/>
                <a:cs typeface="Calibri"/>
              </a:rPr>
              <a:t>And, we really need to keep things simple. As a builders’ merchant, we buy, stock and sell; we need to move the barriers to be close to our customers.</a:t>
            </a:r>
          </a:p>
          <a:p>
            <a:pPr marL="228600" marR="0" lvl="0" indent="-228600" algn="l" defTabSz="914400" rtl="0" eaLnBrk="1" fontAlgn="auto" latinLnBrk="0" hangingPunct="1">
              <a:lnSpc>
                <a:spcPct val="150000"/>
              </a:lnSpc>
              <a:buClrTx/>
              <a:buSzTx/>
              <a:buFont typeface="Arial" panose="020B0604020202020204" pitchFamily="34" charset="0"/>
              <a:buChar char="•"/>
              <a:tabLst/>
              <a:defRPr/>
            </a:pPr>
            <a:r>
              <a:rPr lang="en-GB" dirty="0">
                <a:ea typeface="Calibri"/>
                <a:cs typeface="Calibri"/>
              </a:rPr>
              <a:t>And, we need to hold and grow our customers.</a:t>
            </a:r>
            <a:endParaRPr lang="en-US" dirty="0">
              <a:ea typeface="Calibri"/>
              <a:cs typeface="Calibri"/>
            </a:endParaRPr>
          </a:p>
          <a:p>
            <a:pPr marR="0" lvl="0" algn="l" defTabSz="914400" rtl="0" eaLnBrk="1" fontAlgn="auto" latinLnBrk="0" hangingPunct="1">
              <a:lnSpc>
                <a:spcPct val="150000"/>
              </a:lnSpc>
              <a:buClrTx/>
              <a:buSzTx/>
              <a:tabLst/>
              <a:defRPr/>
            </a:pPr>
            <a:endParaRPr lang="en-GB" dirty="0">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FEC9DA-59F6-4F18-B9AD-650860882079}" type="slidenum">
              <a:rPr kumimoji="0" lang="en-GB" sz="1200" b="0" i="0" u="none" strike="noStrike" kern="1200" cap="none" spc="0" normalizeH="0" baseline="0" noProof="0" smtClean="0">
                <a:ln>
                  <a:noFill/>
                </a:ln>
                <a:solidFill>
                  <a:prstClr val="black"/>
                </a:solidFill>
                <a:effectLst/>
                <a:uLnTx/>
                <a:uFillTx/>
                <a:latin typeface="Roboto"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Roboto" panose="020F0502020204030204"/>
              <a:ea typeface="+mn-ea"/>
              <a:cs typeface="+mn-cs"/>
            </a:endParaRPr>
          </a:p>
        </p:txBody>
      </p:sp>
    </p:spTree>
    <p:extLst>
      <p:ext uri="{BB962C8B-B14F-4D97-AF65-F5344CB8AC3E}">
        <p14:creationId xmlns:p14="http://schemas.microsoft.com/office/powerpoint/2010/main" val="9331744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sv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3.sv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png"/><Relationship Id="rId1" Type="http://schemas.openxmlformats.org/officeDocument/2006/relationships/slideMaster" Target="../slideMasters/slideMaster2.xml"/><Relationship Id="rId5" Type="http://schemas.openxmlformats.org/officeDocument/2006/relationships/image" Target="../media/image14.png"/><Relationship Id="rId4" Type="http://schemas.openxmlformats.org/officeDocument/2006/relationships/image" Target="../media/image5.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 Id="rId5" Type="http://schemas.openxmlformats.org/officeDocument/2006/relationships/image" Target="../media/image17.png"/><Relationship Id="rId4" Type="http://schemas.openxmlformats.org/officeDocument/2006/relationships/image" Target="../media/image4.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8.png"/></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5" Type="http://schemas.openxmlformats.org/officeDocument/2006/relationships/image" Target="../media/image4.png"/><Relationship Id="rId4" Type="http://schemas.openxmlformats.org/officeDocument/2006/relationships/image" Target="../media/image3.sv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png"/><Relationship Id="rId1" Type="http://schemas.openxmlformats.org/officeDocument/2006/relationships/slideMaster" Target="../slideMasters/slideMaster3.xml"/><Relationship Id="rId4" Type="http://schemas.openxmlformats.org/officeDocument/2006/relationships/image" Target="../media/image22.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14.png"/><Relationship Id="rId4" Type="http://schemas.openxmlformats.org/officeDocument/2006/relationships/image" Target="../media/image22.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 Id="rId5" Type="http://schemas.openxmlformats.org/officeDocument/2006/relationships/image" Target="../media/image17.png"/><Relationship Id="rId4" Type="http://schemas.openxmlformats.org/officeDocument/2006/relationships/image" Target="../media/image4.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4.xml"/><Relationship Id="rId5" Type="http://schemas.openxmlformats.org/officeDocument/2006/relationships/image" Target="../media/image4.png"/><Relationship Id="rId4" Type="http://schemas.openxmlformats.org/officeDocument/2006/relationships/image" Target="../media/image24.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4.xml"/><Relationship Id="rId5" Type="http://schemas.openxmlformats.org/officeDocument/2006/relationships/image" Target="../media/image4.png"/><Relationship Id="rId4" Type="http://schemas.openxmlformats.org/officeDocument/2006/relationships/image" Target="../media/image17.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4.xml"/><Relationship Id="rId5" Type="http://schemas.openxmlformats.org/officeDocument/2006/relationships/image" Target="../media/image4.png"/><Relationship Id="rId4" Type="http://schemas.openxmlformats.org/officeDocument/2006/relationships/image" Target="../media/image17.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18.png"/></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5.xml"/><Relationship Id="rId5" Type="http://schemas.openxmlformats.org/officeDocument/2006/relationships/image" Target="../media/image4.png"/><Relationship Id="rId4" Type="http://schemas.openxmlformats.org/officeDocument/2006/relationships/image" Target="../media/image24.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5.xml"/><Relationship Id="rId5" Type="http://schemas.openxmlformats.org/officeDocument/2006/relationships/image" Target="../media/image4.png"/><Relationship Id="rId4" Type="http://schemas.openxmlformats.org/officeDocument/2006/relationships/image" Target="../media/image17.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0.png"/><Relationship Id="rId1" Type="http://schemas.openxmlformats.org/officeDocument/2006/relationships/slideMaster" Target="../slideMasters/slideMaster5.xml"/><Relationship Id="rId4" Type="http://schemas.openxmlformats.org/officeDocument/2006/relationships/image" Target="../media/image18.png"/></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2/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2/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2/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Presentation Title + Image - Light">
    <p:bg>
      <p:bgPr>
        <a:solidFill>
          <a:srgbClr val="ECECE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009710-6EB2-4931-A331-58D092BCD222}"/>
              </a:ext>
            </a:extLst>
          </p:cNvPr>
          <p:cNvSpPr>
            <a:spLocks noGrp="1"/>
          </p:cNvSpPr>
          <p:nvPr>
            <p:ph type="ctrTitle" hasCustomPrompt="1"/>
          </p:nvPr>
        </p:nvSpPr>
        <p:spPr>
          <a:xfrm>
            <a:off x="919035" y="2619190"/>
            <a:ext cx="5430285" cy="1452705"/>
          </a:xfrm>
          <a:ln>
            <a:noFill/>
          </a:ln>
        </p:spPr>
        <p:txBody>
          <a:bodyPr wrap="square" tIns="0" anchor="t" anchorCtr="0">
            <a:spAutoFit/>
          </a:bodyPr>
          <a:lstStyle>
            <a:lvl1pPr algn="l">
              <a:lnSpc>
                <a:spcPct val="78000"/>
              </a:lnSpc>
              <a:spcBef>
                <a:spcPts val="0"/>
              </a:spcBef>
              <a:defRPr sz="6000" kern="0" cap="all" spc="-150" baseline="0">
                <a:solidFill>
                  <a:schemeClr val="tx2"/>
                </a:solidFill>
              </a:defRPr>
            </a:lvl1pPr>
          </a:lstStyle>
          <a:p>
            <a:r>
              <a:rPr lang="en-GB" noProof="0"/>
              <a:t>Presentation Title</a:t>
            </a:r>
          </a:p>
        </p:txBody>
      </p:sp>
      <p:sp>
        <p:nvSpPr>
          <p:cNvPr id="3" name="Undertitel 2">
            <a:extLst>
              <a:ext uri="{FF2B5EF4-FFF2-40B4-BE49-F238E27FC236}">
                <a16:creationId xmlns:a16="http://schemas.microsoft.com/office/drawing/2014/main" id="{06FD948C-2AC3-4DD4-857A-469378D98AEE}"/>
              </a:ext>
            </a:extLst>
          </p:cNvPr>
          <p:cNvSpPr>
            <a:spLocks noGrp="1"/>
          </p:cNvSpPr>
          <p:nvPr>
            <p:ph type="subTitle" idx="1"/>
          </p:nvPr>
        </p:nvSpPr>
        <p:spPr>
          <a:xfrm>
            <a:off x="804735" y="1908057"/>
            <a:ext cx="5544585" cy="588774"/>
          </a:xfrm>
          <a:ln w="34925">
            <a:noFill/>
            <a:miter lim="800000"/>
          </a:ln>
        </p:spPr>
        <p:txBody>
          <a:bodyPr wrap="square" lIns="0" tIns="0" rIns="0" bIns="0" anchor="ctr" anchorCtr="0">
            <a:noAutofit/>
          </a:bodyPr>
          <a:lstStyle>
            <a:lvl1pPr marL="144000" indent="0" algn="l">
              <a:lnSpc>
                <a:spcPct val="80000"/>
              </a:lnSpc>
              <a:spcBef>
                <a:spcPts val="0"/>
              </a:spcBef>
              <a:buNone/>
              <a:defRPr sz="2000" cap="all" spc="100" baseline="0">
                <a:solidFill>
                  <a:schemeClr val="accent3"/>
                </a:solidFill>
                <a:latin typeface="Roboto Black" panose="02000000000000000000" pitchFamily="2" charset="0"/>
                <a:ea typeface="Roboto Black" panose="02000000000000000000" pitchFamily="2" charset="0"/>
                <a:cs typeface="Roboto Black" panose="020000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GB" noProof="0"/>
          </a:p>
        </p:txBody>
      </p:sp>
      <p:pic>
        <p:nvPicPr>
          <p:cNvPr id="10" name="Picture 9">
            <a:extLst>
              <a:ext uri="{FF2B5EF4-FFF2-40B4-BE49-F238E27FC236}">
                <a16:creationId xmlns:a16="http://schemas.microsoft.com/office/drawing/2014/main" id="{E19B9783-072D-6042-A908-BF79AB938F81}"/>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545484" y="607320"/>
            <a:ext cx="3264909" cy="5476445"/>
          </a:xfrm>
          <a:prstGeom prst="rect">
            <a:avLst/>
          </a:prstGeom>
        </p:spPr>
      </p:pic>
      <p:pic>
        <p:nvPicPr>
          <p:cNvPr id="6" name="Golden section" hidden="1">
            <a:extLst>
              <a:ext uri="{FF2B5EF4-FFF2-40B4-BE49-F238E27FC236}">
                <a16:creationId xmlns:a16="http://schemas.microsoft.com/office/drawing/2014/main" id="{E1D14AA9-FFAD-77FE-BB4D-5F801F4D6C8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flipH="1">
            <a:off x="566351" y="-9184"/>
            <a:ext cx="11074106" cy="6867183"/>
          </a:xfrm>
          <a:prstGeom prst="rect">
            <a:avLst/>
          </a:prstGeom>
        </p:spPr>
      </p:pic>
      <p:pic>
        <p:nvPicPr>
          <p:cNvPr id="7" name="Golden section" hidden="1">
            <a:extLst>
              <a:ext uri="{FF2B5EF4-FFF2-40B4-BE49-F238E27FC236}">
                <a16:creationId xmlns:a16="http://schemas.microsoft.com/office/drawing/2014/main" id="{8E7A205B-DC1D-ED1D-C203-AFF8D07FB7E2}"/>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flipH="1">
            <a:off x="566351" y="-9184"/>
            <a:ext cx="11074106" cy="6867183"/>
          </a:xfrm>
          <a:prstGeom prst="rect">
            <a:avLst/>
          </a:prstGeom>
        </p:spPr>
      </p:pic>
      <p:pic>
        <p:nvPicPr>
          <p:cNvPr id="9" name="Picture 8">
            <a:extLst>
              <a:ext uri="{FF2B5EF4-FFF2-40B4-BE49-F238E27FC236}">
                <a16:creationId xmlns:a16="http://schemas.microsoft.com/office/drawing/2014/main" id="{38A9AB2B-BE1D-38E6-852B-1022D2DCF017}"/>
              </a:ext>
            </a:extLst>
          </p:cNvPr>
          <p:cNvPicPr>
            <a:picLocks/>
          </p:cNvPicPr>
          <p:nvPr userDrawn="1"/>
        </p:nvPicPr>
        <p:blipFill rotWithShape="1">
          <a:blip r:embed="rId5" cstate="email">
            <a:extLst>
              <a:ext uri="{28A0092B-C50C-407E-A947-70E740481C1C}">
                <a14:useLocalDpi xmlns:a14="http://schemas.microsoft.com/office/drawing/2010/main"/>
              </a:ext>
            </a:extLst>
          </a:blip>
          <a:srcRect/>
          <a:stretch/>
        </p:blipFill>
        <p:spPr>
          <a:xfrm>
            <a:off x="982535" y="0"/>
            <a:ext cx="1612901" cy="711200"/>
          </a:xfrm>
          <a:prstGeom prst="rect">
            <a:avLst/>
          </a:prstGeom>
        </p:spPr>
      </p:pic>
      <p:grpSp>
        <p:nvGrpSpPr>
          <p:cNvPr id="20" name="Group 19" hidden="1">
            <a:extLst>
              <a:ext uri="{FF2B5EF4-FFF2-40B4-BE49-F238E27FC236}">
                <a16:creationId xmlns:a16="http://schemas.microsoft.com/office/drawing/2014/main" id="{4258D74C-FA5E-DFDA-63C8-3D06ECBDD806}"/>
              </a:ext>
            </a:extLst>
          </p:cNvPr>
          <p:cNvGrpSpPr/>
          <p:nvPr userDrawn="1"/>
        </p:nvGrpSpPr>
        <p:grpSpPr>
          <a:xfrm>
            <a:off x="-1043609" y="3154366"/>
            <a:ext cx="14690035" cy="1179095"/>
            <a:chOff x="-1043609" y="3154366"/>
            <a:chExt cx="14690035" cy="1179095"/>
          </a:xfrm>
        </p:grpSpPr>
        <p:cxnSp>
          <p:nvCxnSpPr>
            <p:cNvPr id="11" name="Straight Connector 10">
              <a:extLst>
                <a:ext uri="{FF2B5EF4-FFF2-40B4-BE49-F238E27FC236}">
                  <a16:creationId xmlns:a16="http://schemas.microsoft.com/office/drawing/2014/main" id="{15D42186-447A-7DC6-B136-40B902E6A57B}"/>
                </a:ext>
              </a:extLst>
            </p:cNvPr>
            <p:cNvCxnSpPr>
              <a:cxnSpLocks/>
            </p:cNvCxnSpPr>
            <p:nvPr userDrawn="1"/>
          </p:nvCxnSpPr>
          <p:spPr>
            <a:xfrm>
              <a:off x="-1043609" y="3861747"/>
              <a:ext cx="14690035" cy="0"/>
            </a:xfrm>
            <a:prstGeom prst="line">
              <a:avLst/>
            </a:prstGeom>
            <a:ln>
              <a:solidFill>
                <a:schemeClr val="tx2"/>
              </a:solidFill>
            </a:ln>
          </p:spPr>
          <p:style>
            <a:lnRef idx="1">
              <a:schemeClr val="accent2"/>
            </a:lnRef>
            <a:fillRef idx="0">
              <a:schemeClr val="accent2"/>
            </a:fillRef>
            <a:effectRef idx="0">
              <a:schemeClr val="accent2"/>
            </a:effectRef>
            <a:fontRef idx="minor">
              <a:schemeClr val="tx1"/>
            </a:fontRef>
          </p:style>
        </p:cxnSp>
        <p:cxnSp>
          <p:nvCxnSpPr>
            <p:cNvPr id="12" name="Straight Connector 11">
              <a:extLst>
                <a:ext uri="{FF2B5EF4-FFF2-40B4-BE49-F238E27FC236}">
                  <a16:creationId xmlns:a16="http://schemas.microsoft.com/office/drawing/2014/main" id="{D0CBCAD7-5ED4-F8FA-356C-3B5C8D747842}"/>
                </a:ext>
              </a:extLst>
            </p:cNvPr>
            <p:cNvCxnSpPr/>
            <p:nvPr userDrawn="1"/>
          </p:nvCxnSpPr>
          <p:spPr>
            <a:xfrm>
              <a:off x="-1043609" y="4333461"/>
              <a:ext cx="14690035" cy="0"/>
            </a:xfrm>
            <a:prstGeom prst="line">
              <a:avLst/>
            </a:prstGeom>
            <a:ln>
              <a:solidFill>
                <a:schemeClr val="tx2"/>
              </a:solidFill>
            </a:ln>
          </p:spPr>
          <p:style>
            <a:lnRef idx="1">
              <a:schemeClr val="accent2"/>
            </a:lnRef>
            <a:fillRef idx="0">
              <a:schemeClr val="accent2"/>
            </a:fillRef>
            <a:effectRef idx="0">
              <a:schemeClr val="accent2"/>
            </a:effectRef>
            <a:fontRef idx="minor">
              <a:schemeClr val="tx1"/>
            </a:fontRef>
          </p:style>
        </p:cxnSp>
        <p:cxnSp>
          <p:nvCxnSpPr>
            <p:cNvPr id="13" name="Straight Connector 12">
              <a:extLst>
                <a:ext uri="{FF2B5EF4-FFF2-40B4-BE49-F238E27FC236}">
                  <a16:creationId xmlns:a16="http://schemas.microsoft.com/office/drawing/2014/main" id="{F65DA814-6AD4-454B-7F9A-77DF8EE2F5D3}"/>
                </a:ext>
              </a:extLst>
            </p:cNvPr>
            <p:cNvCxnSpPr/>
            <p:nvPr userDrawn="1"/>
          </p:nvCxnSpPr>
          <p:spPr>
            <a:xfrm>
              <a:off x="-1043609" y="3154366"/>
              <a:ext cx="14690035" cy="0"/>
            </a:xfrm>
            <a:prstGeom prst="line">
              <a:avLst/>
            </a:prstGeom>
            <a:ln>
              <a:solidFill>
                <a:schemeClr val="tx2"/>
              </a:solidFill>
            </a:ln>
          </p:spPr>
          <p:style>
            <a:lnRef idx="1">
              <a:schemeClr val="accent2"/>
            </a:lnRef>
            <a:fillRef idx="0">
              <a:schemeClr val="accent2"/>
            </a:fillRef>
            <a:effectRef idx="0">
              <a:schemeClr val="accent2"/>
            </a:effectRef>
            <a:fontRef idx="minor">
              <a:schemeClr val="tx1"/>
            </a:fontRef>
          </p:style>
        </p:cxnSp>
        <p:cxnSp>
          <p:nvCxnSpPr>
            <p:cNvPr id="14" name="Straight Connector 13">
              <a:extLst>
                <a:ext uri="{FF2B5EF4-FFF2-40B4-BE49-F238E27FC236}">
                  <a16:creationId xmlns:a16="http://schemas.microsoft.com/office/drawing/2014/main" id="{660470C9-099A-084E-A30A-1491AF5661C0}"/>
                </a:ext>
              </a:extLst>
            </p:cNvPr>
            <p:cNvCxnSpPr/>
            <p:nvPr userDrawn="1"/>
          </p:nvCxnSpPr>
          <p:spPr>
            <a:xfrm>
              <a:off x="-1043609" y="3627783"/>
              <a:ext cx="14690035" cy="0"/>
            </a:xfrm>
            <a:prstGeom prst="line">
              <a:avLst/>
            </a:prstGeom>
            <a:ln>
              <a:solidFill>
                <a:schemeClr val="tx2"/>
              </a:solidFill>
            </a:ln>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40122533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Agenda - Light">
    <p:bg>
      <p:bgPr>
        <a:solidFill>
          <a:srgbClr val="ECECED"/>
        </a:solidFill>
        <a:effectLst/>
      </p:bgPr>
    </p:bg>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214B11AB-8749-416D-8468-470F1B5C9291}"/>
              </a:ext>
            </a:extLst>
          </p:cNvPr>
          <p:cNvSpPr/>
          <p:nvPr/>
        </p:nvSpPr>
        <p:spPr>
          <a:xfrm>
            <a:off x="0" y="6453188"/>
            <a:ext cx="12192000" cy="404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el 1">
            <a:extLst>
              <a:ext uri="{FF2B5EF4-FFF2-40B4-BE49-F238E27FC236}">
                <a16:creationId xmlns:a16="http://schemas.microsoft.com/office/drawing/2014/main" id="{C32FDDF6-7353-44A5-8CBA-AF6FAA71A05A}"/>
              </a:ext>
            </a:extLst>
          </p:cNvPr>
          <p:cNvSpPr>
            <a:spLocks noGrp="1"/>
          </p:cNvSpPr>
          <p:nvPr>
            <p:ph type="title" hasCustomPrompt="1"/>
          </p:nvPr>
        </p:nvSpPr>
        <p:spPr>
          <a:xfrm>
            <a:off x="515937" y="685998"/>
            <a:ext cx="10583863" cy="554400"/>
          </a:xfrm>
        </p:spPr>
        <p:txBody>
          <a:bodyPr anchor="t" anchorCtr="0">
            <a:noAutofit/>
          </a:bodyPr>
          <a:lstStyle>
            <a:lvl1pPr>
              <a:defRPr sz="3600">
                <a:solidFill>
                  <a:schemeClr val="tx2"/>
                </a:solidFill>
              </a:defRPr>
            </a:lvl1pPr>
          </a:lstStyle>
          <a:p>
            <a:r>
              <a:rPr lang="en-GB" noProof="0"/>
              <a:t>Add agenda headline</a:t>
            </a:r>
          </a:p>
        </p:txBody>
      </p:sp>
      <p:sp>
        <p:nvSpPr>
          <p:cNvPr id="9" name="Pladsholder til tekst 8">
            <a:extLst>
              <a:ext uri="{FF2B5EF4-FFF2-40B4-BE49-F238E27FC236}">
                <a16:creationId xmlns:a16="http://schemas.microsoft.com/office/drawing/2014/main" id="{9059F79E-73C5-4AE5-967E-1E91C79540CD}"/>
              </a:ext>
            </a:extLst>
          </p:cNvPr>
          <p:cNvSpPr>
            <a:spLocks noGrp="1"/>
          </p:cNvSpPr>
          <p:nvPr>
            <p:ph type="body" sz="quarter" idx="13" hasCustomPrompt="1"/>
          </p:nvPr>
        </p:nvSpPr>
        <p:spPr>
          <a:xfrm>
            <a:off x="529752" y="1746350"/>
            <a:ext cx="576000" cy="576000"/>
          </a:xfrm>
          <a:ln w="34925">
            <a:solidFill>
              <a:schemeClr val="accent3"/>
            </a:solidFill>
            <a:miter lim="800000"/>
          </a:ln>
        </p:spPr>
        <p:txBody>
          <a:bodyPr lIns="72000" tIns="72000" rIns="72000" bIns="72000" anchor="ctr">
            <a:noAutofit/>
          </a:bodyPr>
          <a:lstStyle>
            <a:lvl1pPr marL="0" indent="0" algn="ctr">
              <a:buFontTx/>
              <a:buNone/>
              <a:defRPr sz="2000">
                <a:solidFill>
                  <a:schemeClr val="accent3"/>
                </a:solidFill>
                <a:latin typeface="Roboto Black" panose="02000000000000000000" pitchFamily="2" charset="0"/>
                <a:ea typeface="Roboto Black" panose="02000000000000000000" pitchFamily="2" charset="0"/>
              </a:defRPr>
            </a:lvl1pPr>
          </a:lstStyle>
          <a:p>
            <a:pPr lvl="0"/>
            <a:r>
              <a:rPr lang="en-GB"/>
              <a:t>#</a:t>
            </a:r>
          </a:p>
        </p:txBody>
      </p:sp>
      <p:sp>
        <p:nvSpPr>
          <p:cNvPr id="11" name="Pladsholder til tekst 10">
            <a:extLst>
              <a:ext uri="{FF2B5EF4-FFF2-40B4-BE49-F238E27FC236}">
                <a16:creationId xmlns:a16="http://schemas.microsoft.com/office/drawing/2014/main" id="{18876CB6-7AC4-4DBB-9E9F-5176278B3767}"/>
              </a:ext>
            </a:extLst>
          </p:cNvPr>
          <p:cNvSpPr>
            <a:spLocks noGrp="1"/>
          </p:cNvSpPr>
          <p:nvPr>
            <p:ph type="body" sz="quarter" idx="14" hasCustomPrompt="1"/>
          </p:nvPr>
        </p:nvSpPr>
        <p:spPr>
          <a:xfrm>
            <a:off x="1381500" y="1828283"/>
            <a:ext cx="3885825" cy="439738"/>
          </a:xfrm>
        </p:spPr>
        <p:txBody>
          <a:bodyPr wrap="none">
            <a:noAutofit/>
          </a:bodyPr>
          <a:lstStyle>
            <a:lvl1pPr marL="0" indent="0">
              <a:buFontTx/>
              <a:buNone/>
              <a:defRPr>
                <a:solidFill>
                  <a:schemeClr val="tx1"/>
                </a:solidFill>
              </a:defRPr>
            </a:lvl1pPr>
            <a:lvl2pPr marL="239400" indent="0">
              <a:buFontTx/>
              <a:buNone/>
              <a:defRPr>
                <a:solidFill>
                  <a:schemeClr val="bg1"/>
                </a:solidFill>
              </a:defRPr>
            </a:lvl2pPr>
            <a:lvl3pPr marL="473400" indent="0">
              <a:buFontTx/>
              <a:buNone/>
              <a:defRPr>
                <a:solidFill>
                  <a:schemeClr val="bg1"/>
                </a:solidFill>
              </a:defRPr>
            </a:lvl3pPr>
            <a:lvl4pPr marL="707400" indent="0">
              <a:buFontTx/>
              <a:buNone/>
              <a:defRPr>
                <a:solidFill>
                  <a:schemeClr val="bg1"/>
                </a:solidFill>
              </a:defRPr>
            </a:lvl4pPr>
            <a:lvl5pPr marL="923400" indent="0">
              <a:buFontTx/>
              <a:buNone/>
              <a:defRPr>
                <a:solidFill>
                  <a:schemeClr val="bg1"/>
                </a:solidFill>
              </a:defRPr>
            </a:lvl5pPr>
          </a:lstStyle>
          <a:p>
            <a:pPr lvl="0"/>
            <a:r>
              <a:rPr lang="en-GB" noProof="0"/>
              <a:t>Add text</a:t>
            </a:r>
          </a:p>
        </p:txBody>
      </p:sp>
      <p:sp>
        <p:nvSpPr>
          <p:cNvPr id="12" name="Pladsholder til tekst 8">
            <a:extLst>
              <a:ext uri="{FF2B5EF4-FFF2-40B4-BE49-F238E27FC236}">
                <a16:creationId xmlns:a16="http://schemas.microsoft.com/office/drawing/2014/main" id="{CEEFFFAF-4582-485E-9B37-42AE4F635523}"/>
              </a:ext>
            </a:extLst>
          </p:cNvPr>
          <p:cNvSpPr>
            <a:spLocks noGrp="1"/>
          </p:cNvSpPr>
          <p:nvPr>
            <p:ph type="body" sz="quarter" idx="15" hasCustomPrompt="1"/>
          </p:nvPr>
        </p:nvSpPr>
        <p:spPr>
          <a:xfrm>
            <a:off x="529752" y="2607581"/>
            <a:ext cx="576000" cy="576000"/>
          </a:xfrm>
          <a:ln w="34925">
            <a:solidFill>
              <a:schemeClr val="accent3"/>
            </a:solidFill>
            <a:miter lim="800000"/>
          </a:ln>
        </p:spPr>
        <p:txBody>
          <a:bodyPr lIns="72000" tIns="72000" rIns="72000" bIns="72000" anchor="ctr">
            <a:noAutofit/>
          </a:bodyPr>
          <a:lstStyle>
            <a:lvl1pPr marL="0" indent="0" algn="ctr">
              <a:buFontTx/>
              <a:buNone/>
              <a:defRPr sz="2000">
                <a:solidFill>
                  <a:schemeClr val="accent3"/>
                </a:solidFill>
                <a:latin typeface="Roboto Black" panose="02000000000000000000" pitchFamily="2" charset="0"/>
                <a:ea typeface="Roboto Black" panose="02000000000000000000" pitchFamily="2" charset="0"/>
              </a:defRPr>
            </a:lvl1pPr>
          </a:lstStyle>
          <a:p>
            <a:pPr lvl="0"/>
            <a:r>
              <a:rPr lang="da-DK"/>
              <a:t>#</a:t>
            </a:r>
            <a:endParaRPr lang="en-GB"/>
          </a:p>
        </p:txBody>
      </p:sp>
      <p:sp>
        <p:nvSpPr>
          <p:cNvPr id="13" name="Pladsholder til tekst 10">
            <a:extLst>
              <a:ext uri="{FF2B5EF4-FFF2-40B4-BE49-F238E27FC236}">
                <a16:creationId xmlns:a16="http://schemas.microsoft.com/office/drawing/2014/main" id="{E44E390F-379A-4567-B39F-648D179ED593}"/>
              </a:ext>
            </a:extLst>
          </p:cNvPr>
          <p:cNvSpPr>
            <a:spLocks noGrp="1"/>
          </p:cNvSpPr>
          <p:nvPr>
            <p:ph type="body" sz="quarter" idx="16" hasCustomPrompt="1"/>
          </p:nvPr>
        </p:nvSpPr>
        <p:spPr>
          <a:xfrm>
            <a:off x="1381500" y="2689514"/>
            <a:ext cx="3885825" cy="439738"/>
          </a:xfrm>
        </p:spPr>
        <p:txBody>
          <a:bodyPr wrap="none">
            <a:noAutofit/>
          </a:bodyPr>
          <a:lstStyle>
            <a:lvl1pPr marL="0" indent="0">
              <a:buFontTx/>
              <a:buNone/>
              <a:defRPr>
                <a:solidFill>
                  <a:schemeClr val="tx1"/>
                </a:solidFill>
              </a:defRPr>
            </a:lvl1pPr>
            <a:lvl2pPr marL="239400" indent="0">
              <a:buFontTx/>
              <a:buNone/>
              <a:defRPr>
                <a:solidFill>
                  <a:schemeClr val="bg1"/>
                </a:solidFill>
              </a:defRPr>
            </a:lvl2pPr>
            <a:lvl3pPr marL="473400" indent="0">
              <a:buFontTx/>
              <a:buNone/>
              <a:defRPr>
                <a:solidFill>
                  <a:schemeClr val="bg1"/>
                </a:solidFill>
              </a:defRPr>
            </a:lvl3pPr>
            <a:lvl4pPr marL="707400" indent="0">
              <a:buFontTx/>
              <a:buNone/>
              <a:defRPr>
                <a:solidFill>
                  <a:schemeClr val="bg1"/>
                </a:solidFill>
              </a:defRPr>
            </a:lvl4pPr>
            <a:lvl5pPr marL="923400" indent="0">
              <a:buFontTx/>
              <a:buNone/>
              <a:defRPr>
                <a:solidFill>
                  <a:schemeClr val="bg1"/>
                </a:solidFill>
              </a:defRPr>
            </a:lvl5pPr>
          </a:lstStyle>
          <a:p>
            <a:pPr lvl="0"/>
            <a:r>
              <a:rPr lang="en-GB" noProof="0"/>
              <a:t>Add text</a:t>
            </a:r>
          </a:p>
        </p:txBody>
      </p:sp>
      <p:sp>
        <p:nvSpPr>
          <p:cNvPr id="14" name="Pladsholder til tekst 8">
            <a:extLst>
              <a:ext uri="{FF2B5EF4-FFF2-40B4-BE49-F238E27FC236}">
                <a16:creationId xmlns:a16="http://schemas.microsoft.com/office/drawing/2014/main" id="{C87B3630-829B-4CB4-A701-D93A850754B5}"/>
              </a:ext>
            </a:extLst>
          </p:cNvPr>
          <p:cNvSpPr>
            <a:spLocks noGrp="1"/>
          </p:cNvSpPr>
          <p:nvPr>
            <p:ph type="body" sz="quarter" idx="17" hasCustomPrompt="1"/>
          </p:nvPr>
        </p:nvSpPr>
        <p:spPr>
          <a:xfrm>
            <a:off x="529752" y="3468812"/>
            <a:ext cx="576000" cy="576000"/>
          </a:xfrm>
          <a:ln w="34925">
            <a:solidFill>
              <a:schemeClr val="accent3"/>
            </a:solidFill>
            <a:miter lim="800000"/>
          </a:ln>
        </p:spPr>
        <p:txBody>
          <a:bodyPr lIns="72000" tIns="72000" rIns="72000" bIns="72000" anchor="ctr">
            <a:noAutofit/>
          </a:bodyPr>
          <a:lstStyle>
            <a:lvl1pPr marL="0" indent="0" algn="ctr">
              <a:buFontTx/>
              <a:buNone/>
              <a:defRPr sz="2000">
                <a:solidFill>
                  <a:schemeClr val="accent3"/>
                </a:solidFill>
                <a:latin typeface="Roboto Black" panose="02000000000000000000" pitchFamily="2" charset="0"/>
                <a:ea typeface="Roboto Black" panose="02000000000000000000" pitchFamily="2" charset="0"/>
              </a:defRPr>
            </a:lvl1pPr>
          </a:lstStyle>
          <a:p>
            <a:pPr lvl="0"/>
            <a:r>
              <a:rPr lang="da-DK"/>
              <a:t>#</a:t>
            </a:r>
            <a:endParaRPr lang="en-GB"/>
          </a:p>
        </p:txBody>
      </p:sp>
      <p:sp>
        <p:nvSpPr>
          <p:cNvPr id="15" name="Pladsholder til tekst 10">
            <a:extLst>
              <a:ext uri="{FF2B5EF4-FFF2-40B4-BE49-F238E27FC236}">
                <a16:creationId xmlns:a16="http://schemas.microsoft.com/office/drawing/2014/main" id="{D9B0E734-F44A-4DEC-A77B-4B038B4D6817}"/>
              </a:ext>
            </a:extLst>
          </p:cNvPr>
          <p:cNvSpPr>
            <a:spLocks noGrp="1"/>
          </p:cNvSpPr>
          <p:nvPr>
            <p:ph type="body" sz="quarter" idx="18" hasCustomPrompt="1"/>
          </p:nvPr>
        </p:nvSpPr>
        <p:spPr>
          <a:xfrm>
            <a:off x="1381500" y="3550745"/>
            <a:ext cx="3885825" cy="439738"/>
          </a:xfrm>
        </p:spPr>
        <p:txBody>
          <a:bodyPr wrap="none">
            <a:noAutofit/>
          </a:bodyPr>
          <a:lstStyle>
            <a:lvl1pPr marL="0" indent="0">
              <a:buFontTx/>
              <a:buNone/>
              <a:defRPr>
                <a:solidFill>
                  <a:schemeClr val="tx1"/>
                </a:solidFill>
              </a:defRPr>
            </a:lvl1pPr>
            <a:lvl2pPr marL="239400" indent="0">
              <a:buFontTx/>
              <a:buNone/>
              <a:defRPr>
                <a:solidFill>
                  <a:schemeClr val="bg1"/>
                </a:solidFill>
              </a:defRPr>
            </a:lvl2pPr>
            <a:lvl3pPr marL="473400" indent="0">
              <a:buFontTx/>
              <a:buNone/>
              <a:defRPr>
                <a:solidFill>
                  <a:schemeClr val="bg1"/>
                </a:solidFill>
              </a:defRPr>
            </a:lvl3pPr>
            <a:lvl4pPr marL="707400" indent="0">
              <a:buFontTx/>
              <a:buNone/>
              <a:defRPr>
                <a:solidFill>
                  <a:schemeClr val="bg1"/>
                </a:solidFill>
              </a:defRPr>
            </a:lvl4pPr>
            <a:lvl5pPr marL="923400" indent="0">
              <a:buFontTx/>
              <a:buNone/>
              <a:defRPr>
                <a:solidFill>
                  <a:schemeClr val="bg1"/>
                </a:solidFill>
              </a:defRPr>
            </a:lvl5pPr>
          </a:lstStyle>
          <a:p>
            <a:pPr lvl="0"/>
            <a:r>
              <a:rPr lang="en-GB" noProof="0"/>
              <a:t>Add text</a:t>
            </a:r>
          </a:p>
        </p:txBody>
      </p:sp>
      <p:sp>
        <p:nvSpPr>
          <p:cNvPr id="16" name="Pladsholder til tekst 8">
            <a:extLst>
              <a:ext uri="{FF2B5EF4-FFF2-40B4-BE49-F238E27FC236}">
                <a16:creationId xmlns:a16="http://schemas.microsoft.com/office/drawing/2014/main" id="{CBF0C377-235B-499E-8AD1-21A069A59AD5}"/>
              </a:ext>
            </a:extLst>
          </p:cNvPr>
          <p:cNvSpPr>
            <a:spLocks noGrp="1"/>
          </p:cNvSpPr>
          <p:nvPr>
            <p:ph type="body" sz="quarter" idx="19" hasCustomPrompt="1"/>
          </p:nvPr>
        </p:nvSpPr>
        <p:spPr>
          <a:xfrm>
            <a:off x="529752" y="4325839"/>
            <a:ext cx="576000" cy="576000"/>
          </a:xfrm>
          <a:ln w="34925">
            <a:solidFill>
              <a:schemeClr val="accent3"/>
            </a:solidFill>
            <a:miter lim="800000"/>
          </a:ln>
        </p:spPr>
        <p:txBody>
          <a:bodyPr lIns="72000" tIns="72000" rIns="72000" bIns="72000" anchor="ctr">
            <a:noAutofit/>
          </a:bodyPr>
          <a:lstStyle>
            <a:lvl1pPr marL="0" indent="0" algn="ctr">
              <a:buFontTx/>
              <a:buNone/>
              <a:defRPr sz="2000">
                <a:solidFill>
                  <a:schemeClr val="accent3"/>
                </a:solidFill>
                <a:latin typeface="Roboto Black" panose="02000000000000000000" pitchFamily="2" charset="0"/>
                <a:ea typeface="Roboto Black" panose="02000000000000000000" pitchFamily="2" charset="0"/>
              </a:defRPr>
            </a:lvl1pPr>
          </a:lstStyle>
          <a:p>
            <a:pPr lvl="0"/>
            <a:r>
              <a:rPr lang="da-DK"/>
              <a:t>#</a:t>
            </a:r>
            <a:endParaRPr lang="en-GB"/>
          </a:p>
        </p:txBody>
      </p:sp>
      <p:sp>
        <p:nvSpPr>
          <p:cNvPr id="17" name="Pladsholder til tekst 10">
            <a:extLst>
              <a:ext uri="{FF2B5EF4-FFF2-40B4-BE49-F238E27FC236}">
                <a16:creationId xmlns:a16="http://schemas.microsoft.com/office/drawing/2014/main" id="{BDFFD334-C23C-46AE-A8B8-CE8DC4B3F384}"/>
              </a:ext>
            </a:extLst>
          </p:cNvPr>
          <p:cNvSpPr>
            <a:spLocks noGrp="1"/>
          </p:cNvSpPr>
          <p:nvPr>
            <p:ph type="body" sz="quarter" idx="20" hasCustomPrompt="1"/>
          </p:nvPr>
        </p:nvSpPr>
        <p:spPr>
          <a:xfrm>
            <a:off x="1381500" y="4407772"/>
            <a:ext cx="3885825" cy="439738"/>
          </a:xfrm>
        </p:spPr>
        <p:txBody>
          <a:bodyPr wrap="none">
            <a:noAutofit/>
          </a:bodyPr>
          <a:lstStyle>
            <a:lvl1pPr marL="0" indent="0">
              <a:buFontTx/>
              <a:buNone/>
              <a:defRPr>
                <a:solidFill>
                  <a:schemeClr val="tx1"/>
                </a:solidFill>
              </a:defRPr>
            </a:lvl1pPr>
            <a:lvl2pPr marL="239400" indent="0">
              <a:buFontTx/>
              <a:buNone/>
              <a:defRPr>
                <a:solidFill>
                  <a:schemeClr val="bg1"/>
                </a:solidFill>
              </a:defRPr>
            </a:lvl2pPr>
            <a:lvl3pPr marL="473400" indent="0">
              <a:buFontTx/>
              <a:buNone/>
              <a:defRPr>
                <a:solidFill>
                  <a:schemeClr val="bg1"/>
                </a:solidFill>
              </a:defRPr>
            </a:lvl3pPr>
            <a:lvl4pPr marL="707400" indent="0">
              <a:buFontTx/>
              <a:buNone/>
              <a:defRPr>
                <a:solidFill>
                  <a:schemeClr val="bg1"/>
                </a:solidFill>
              </a:defRPr>
            </a:lvl4pPr>
            <a:lvl5pPr marL="923400" indent="0">
              <a:buFontTx/>
              <a:buNone/>
              <a:defRPr>
                <a:solidFill>
                  <a:schemeClr val="bg1"/>
                </a:solidFill>
              </a:defRPr>
            </a:lvl5pPr>
          </a:lstStyle>
          <a:p>
            <a:pPr lvl="0"/>
            <a:r>
              <a:rPr lang="en-GB" noProof="0"/>
              <a:t>Add text</a:t>
            </a:r>
          </a:p>
        </p:txBody>
      </p:sp>
      <p:sp>
        <p:nvSpPr>
          <p:cNvPr id="18" name="Pladsholder til tekst 8">
            <a:extLst>
              <a:ext uri="{FF2B5EF4-FFF2-40B4-BE49-F238E27FC236}">
                <a16:creationId xmlns:a16="http://schemas.microsoft.com/office/drawing/2014/main" id="{54E5BC0C-F80A-4AAF-81E4-DB6EE59BE0F1}"/>
              </a:ext>
            </a:extLst>
          </p:cNvPr>
          <p:cNvSpPr>
            <a:spLocks noGrp="1"/>
          </p:cNvSpPr>
          <p:nvPr>
            <p:ph type="body" sz="quarter" idx="21" hasCustomPrompt="1"/>
          </p:nvPr>
        </p:nvSpPr>
        <p:spPr>
          <a:xfrm>
            <a:off x="6254905" y="1746350"/>
            <a:ext cx="576000" cy="576000"/>
          </a:xfrm>
          <a:ln w="34925">
            <a:solidFill>
              <a:schemeClr val="accent3"/>
            </a:solidFill>
            <a:miter lim="800000"/>
          </a:ln>
        </p:spPr>
        <p:txBody>
          <a:bodyPr lIns="72000" tIns="72000" rIns="72000" bIns="72000" anchor="ctr">
            <a:noAutofit/>
          </a:bodyPr>
          <a:lstStyle>
            <a:lvl1pPr marL="0" indent="0" algn="ctr">
              <a:buFontTx/>
              <a:buNone/>
              <a:defRPr sz="2000">
                <a:solidFill>
                  <a:schemeClr val="accent3"/>
                </a:solidFill>
                <a:latin typeface="Roboto Black" panose="02000000000000000000" pitchFamily="2" charset="0"/>
                <a:ea typeface="Roboto Black" panose="02000000000000000000" pitchFamily="2" charset="0"/>
              </a:defRPr>
            </a:lvl1pPr>
          </a:lstStyle>
          <a:p>
            <a:pPr lvl="0"/>
            <a:r>
              <a:rPr lang="en-GB"/>
              <a:t>#</a:t>
            </a:r>
          </a:p>
        </p:txBody>
      </p:sp>
      <p:sp>
        <p:nvSpPr>
          <p:cNvPr id="19" name="Pladsholder til tekst 10">
            <a:extLst>
              <a:ext uri="{FF2B5EF4-FFF2-40B4-BE49-F238E27FC236}">
                <a16:creationId xmlns:a16="http://schemas.microsoft.com/office/drawing/2014/main" id="{14842888-E77C-4A6A-B7E1-A79089B883BE}"/>
              </a:ext>
            </a:extLst>
          </p:cNvPr>
          <p:cNvSpPr>
            <a:spLocks noGrp="1"/>
          </p:cNvSpPr>
          <p:nvPr>
            <p:ph type="body" sz="quarter" idx="22" hasCustomPrompt="1"/>
          </p:nvPr>
        </p:nvSpPr>
        <p:spPr>
          <a:xfrm>
            <a:off x="7108252" y="1828575"/>
            <a:ext cx="3887787" cy="439738"/>
          </a:xfrm>
        </p:spPr>
        <p:txBody>
          <a:bodyPr wrap="none">
            <a:noAutofit/>
          </a:bodyPr>
          <a:lstStyle>
            <a:lvl1pPr marL="0" indent="0">
              <a:buFontTx/>
              <a:buNone/>
              <a:defRPr>
                <a:solidFill>
                  <a:schemeClr val="tx1"/>
                </a:solidFill>
              </a:defRPr>
            </a:lvl1pPr>
            <a:lvl2pPr marL="239400" indent="0">
              <a:buFontTx/>
              <a:buNone/>
              <a:defRPr>
                <a:solidFill>
                  <a:schemeClr val="bg1"/>
                </a:solidFill>
              </a:defRPr>
            </a:lvl2pPr>
            <a:lvl3pPr marL="473400" indent="0">
              <a:buFontTx/>
              <a:buNone/>
              <a:defRPr>
                <a:solidFill>
                  <a:schemeClr val="bg1"/>
                </a:solidFill>
              </a:defRPr>
            </a:lvl3pPr>
            <a:lvl4pPr marL="707400" indent="0">
              <a:buFontTx/>
              <a:buNone/>
              <a:defRPr>
                <a:solidFill>
                  <a:schemeClr val="bg1"/>
                </a:solidFill>
              </a:defRPr>
            </a:lvl4pPr>
            <a:lvl5pPr marL="923400" indent="0">
              <a:buFontTx/>
              <a:buNone/>
              <a:defRPr>
                <a:solidFill>
                  <a:schemeClr val="bg1"/>
                </a:solidFill>
              </a:defRPr>
            </a:lvl5pPr>
          </a:lstStyle>
          <a:p>
            <a:pPr lvl="0"/>
            <a:r>
              <a:rPr lang="en-GB" noProof="0"/>
              <a:t>Add text</a:t>
            </a:r>
          </a:p>
        </p:txBody>
      </p:sp>
      <p:sp>
        <p:nvSpPr>
          <p:cNvPr id="20" name="Pladsholder til tekst 8">
            <a:extLst>
              <a:ext uri="{FF2B5EF4-FFF2-40B4-BE49-F238E27FC236}">
                <a16:creationId xmlns:a16="http://schemas.microsoft.com/office/drawing/2014/main" id="{99B4AEF2-8B93-4F92-9464-EE48F105FD18}"/>
              </a:ext>
            </a:extLst>
          </p:cNvPr>
          <p:cNvSpPr>
            <a:spLocks noGrp="1"/>
          </p:cNvSpPr>
          <p:nvPr>
            <p:ph type="body" sz="quarter" idx="23" hasCustomPrompt="1"/>
          </p:nvPr>
        </p:nvSpPr>
        <p:spPr>
          <a:xfrm>
            <a:off x="6254905" y="2607581"/>
            <a:ext cx="576000" cy="576000"/>
          </a:xfrm>
          <a:ln w="34925">
            <a:solidFill>
              <a:schemeClr val="accent3"/>
            </a:solidFill>
            <a:miter lim="800000"/>
          </a:ln>
        </p:spPr>
        <p:txBody>
          <a:bodyPr lIns="72000" tIns="72000" rIns="72000" bIns="72000" anchor="ctr">
            <a:noAutofit/>
          </a:bodyPr>
          <a:lstStyle>
            <a:lvl1pPr marL="0" indent="0" algn="ctr">
              <a:buFontTx/>
              <a:buNone/>
              <a:defRPr sz="2000">
                <a:solidFill>
                  <a:schemeClr val="accent3"/>
                </a:solidFill>
                <a:latin typeface="Roboto Black" panose="02000000000000000000" pitchFamily="2" charset="0"/>
                <a:ea typeface="Roboto Black" panose="02000000000000000000" pitchFamily="2" charset="0"/>
              </a:defRPr>
            </a:lvl1pPr>
          </a:lstStyle>
          <a:p>
            <a:pPr lvl="0"/>
            <a:r>
              <a:rPr lang="da-DK"/>
              <a:t>#</a:t>
            </a:r>
            <a:endParaRPr lang="en-GB"/>
          </a:p>
        </p:txBody>
      </p:sp>
      <p:sp>
        <p:nvSpPr>
          <p:cNvPr id="21" name="Pladsholder til tekst 10">
            <a:extLst>
              <a:ext uri="{FF2B5EF4-FFF2-40B4-BE49-F238E27FC236}">
                <a16:creationId xmlns:a16="http://schemas.microsoft.com/office/drawing/2014/main" id="{565218D0-355E-4701-AE28-B134D69BC40F}"/>
              </a:ext>
            </a:extLst>
          </p:cNvPr>
          <p:cNvSpPr>
            <a:spLocks noGrp="1"/>
          </p:cNvSpPr>
          <p:nvPr>
            <p:ph type="body" sz="quarter" idx="24" hasCustomPrompt="1"/>
          </p:nvPr>
        </p:nvSpPr>
        <p:spPr>
          <a:xfrm>
            <a:off x="7106652" y="2689806"/>
            <a:ext cx="3887787" cy="439738"/>
          </a:xfrm>
        </p:spPr>
        <p:txBody>
          <a:bodyPr wrap="none">
            <a:noAutofit/>
          </a:bodyPr>
          <a:lstStyle>
            <a:lvl1pPr marL="0" indent="0">
              <a:buFontTx/>
              <a:buNone/>
              <a:defRPr>
                <a:solidFill>
                  <a:schemeClr val="tx1"/>
                </a:solidFill>
              </a:defRPr>
            </a:lvl1pPr>
            <a:lvl2pPr marL="239400" indent="0">
              <a:buFontTx/>
              <a:buNone/>
              <a:defRPr>
                <a:solidFill>
                  <a:schemeClr val="bg1"/>
                </a:solidFill>
              </a:defRPr>
            </a:lvl2pPr>
            <a:lvl3pPr marL="473400" indent="0">
              <a:buFontTx/>
              <a:buNone/>
              <a:defRPr>
                <a:solidFill>
                  <a:schemeClr val="bg1"/>
                </a:solidFill>
              </a:defRPr>
            </a:lvl3pPr>
            <a:lvl4pPr marL="707400" indent="0">
              <a:buFontTx/>
              <a:buNone/>
              <a:defRPr>
                <a:solidFill>
                  <a:schemeClr val="bg1"/>
                </a:solidFill>
              </a:defRPr>
            </a:lvl4pPr>
            <a:lvl5pPr marL="923400" indent="0">
              <a:buFontTx/>
              <a:buNone/>
              <a:defRPr>
                <a:solidFill>
                  <a:schemeClr val="bg1"/>
                </a:solidFill>
              </a:defRPr>
            </a:lvl5pPr>
          </a:lstStyle>
          <a:p>
            <a:pPr lvl="0"/>
            <a:r>
              <a:rPr lang="en-GB" noProof="0"/>
              <a:t>Add text</a:t>
            </a:r>
          </a:p>
        </p:txBody>
      </p:sp>
      <p:sp>
        <p:nvSpPr>
          <p:cNvPr id="22" name="Pladsholder til tekst 8">
            <a:extLst>
              <a:ext uri="{FF2B5EF4-FFF2-40B4-BE49-F238E27FC236}">
                <a16:creationId xmlns:a16="http://schemas.microsoft.com/office/drawing/2014/main" id="{E7171DE5-22C9-4D43-9BA5-609881F079FD}"/>
              </a:ext>
            </a:extLst>
          </p:cNvPr>
          <p:cNvSpPr>
            <a:spLocks noGrp="1"/>
          </p:cNvSpPr>
          <p:nvPr>
            <p:ph type="body" sz="quarter" idx="25" hasCustomPrompt="1"/>
          </p:nvPr>
        </p:nvSpPr>
        <p:spPr>
          <a:xfrm>
            <a:off x="6254905" y="3468812"/>
            <a:ext cx="576000" cy="576000"/>
          </a:xfrm>
          <a:ln w="34925">
            <a:solidFill>
              <a:schemeClr val="accent3"/>
            </a:solidFill>
            <a:miter lim="800000"/>
          </a:ln>
        </p:spPr>
        <p:txBody>
          <a:bodyPr lIns="72000" tIns="72000" rIns="72000" bIns="72000" anchor="ctr">
            <a:noAutofit/>
          </a:bodyPr>
          <a:lstStyle>
            <a:lvl1pPr marL="0" indent="0" algn="ctr">
              <a:buFontTx/>
              <a:buNone/>
              <a:defRPr sz="2000">
                <a:solidFill>
                  <a:schemeClr val="accent3"/>
                </a:solidFill>
                <a:latin typeface="Roboto Black" panose="02000000000000000000" pitchFamily="2" charset="0"/>
                <a:ea typeface="Roboto Black" panose="02000000000000000000" pitchFamily="2" charset="0"/>
              </a:defRPr>
            </a:lvl1pPr>
          </a:lstStyle>
          <a:p>
            <a:pPr lvl="0"/>
            <a:r>
              <a:rPr lang="da-DK"/>
              <a:t>#</a:t>
            </a:r>
            <a:endParaRPr lang="en-GB"/>
          </a:p>
        </p:txBody>
      </p:sp>
      <p:sp>
        <p:nvSpPr>
          <p:cNvPr id="23" name="Pladsholder til tekst 10">
            <a:extLst>
              <a:ext uri="{FF2B5EF4-FFF2-40B4-BE49-F238E27FC236}">
                <a16:creationId xmlns:a16="http://schemas.microsoft.com/office/drawing/2014/main" id="{7728CEE1-2E46-4314-AB04-F4EF054FF0B1}"/>
              </a:ext>
            </a:extLst>
          </p:cNvPr>
          <p:cNvSpPr>
            <a:spLocks noGrp="1"/>
          </p:cNvSpPr>
          <p:nvPr>
            <p:ph type="body" sz="quarter" idx="26" hasCustomPrompt="1"/>
          </p:nvPr>
        </p:nvSpPr>
        <p:spPr>
          <a:xfrm>
            <a:off x="7106652" y="3551037"/>
            <a:ext cx="3887787" cy="439738"/>
          </a:xfrm>
        </p:spPr>
        <p:txBody>
          <a:bodyPr wrap="none">
            <a:noAutofit/>
          </a:bodyPr>
          <a:lstStyle>
            <a:lvl1pPr marL="0" indent="0">
              <a:buFontTx/>
              <a:buNone/>
              <a:defRPr>
                <a:solidFill>
                  <a:schemeClr val="tx1"/>
                </a:solidFill>
              </a:defRPr>
            </a:lvl1pPr>
            <a:lvl2pPr marL="239400" indent="0">
              <a:buFontTx/>
              <a:buNone/>
              <a:defRPr>
                <a:solidFill>
                  <a:schemeClr val="bg1"/>
                </a:solidFill>
              </a:defRPr>
            </a:lvl2pPr>
            <a:lvl3pPr marL="473400" indent="0">
              <a:buFontTx/>
              <a:buNone/>
              <a:defRPr>
                <a:solidFill>
                  <a:schemeClr val="bg1"/>
                </a:solidFill>
              </a:defRPr>
            </a:lvl3pPr>
            <a:lvl4pPr marL="707400" indent="0">
              <a:buFontTx/>
              <a:buNone/>
              <a:defRPr>
                <a:solidFill>
                  <a:schemeClr val="bg1"/>
                </a:solidFill>
              </a:defRPr>
            </a:lvl4pPr>
            <a:lvl5pPr marL="923400" indent="0">
              <a:buFontTx/>
              <a:buNone/>
              <a:defRPr>
                <a:solidFill>
                  <a:schemeClr val="bg1"/>
                </a:solidFill>
              </a:defRPr>
            </a:lvl5pPr>
          </a:lstStyle>
          <a:p>
            <a:pPr lvl="0"/>
            <a:r>
              <a:rPr lang="en-GB" noProof="0"/>
              <a:t>Add text</a:t>
            </a:r>
          </a:p>
        </p:txBody>
      </p:sp>
      <p:sp>
        <p:nvSpPr>
          <p:cNvPr id="24" name="Pladsholder til tekst 8">
            <a:extLst>
              <a:ext uri="{FF2B5EF4-FFF2-40B4-BE49-F238E27FC236}">
                <a16:creationId xmlns:a16="http://schemas.microsoft.com/office/drawing/2014/main" id="{FD4E614A-D240-448F-8D61-A91D12534D2E}"/>
              </a:ext>
            </a:extLst>
          </p:cNvPr>
          <p:cNvSpPr>
            <a:spLocks noGrp="1"/>
          </p:cNvSpPr>
          <p:nvPr>
            <p:ph type="body" sz="quarter" idx="27" hasCustomPrompt="1"/>
          </p:nvPr>
        </p:nvSpPr>
        <p:spPr>
          <a:xfrm>
            <a:off x="6254905" y="4325839"/>
            <a:ext cx="576000" cy="576000"/>
          </a:xfrm>
          <a:ln w="34925">
            <a:solidFill>
              <a:schemeClr val="accent3"/>
            </a:solidFill>
            <a:miter lim="800000"/>
          </a:ln>
        </p:spPr>
        <p:txBody>
          <a:bodyPr lIns="72000" tIns="72000" rIns="72000" bIns="72000" anchor="ctr">
            <a:noAutofit/>
          </a:bodyPr>
          <a:lstStyle>
            <a:lvl1pPr marL="0" indent="0" algn="ctr">
              <a:buFontTx/>
              <a:buNone/>
              <a:defRPr sz="2000">
                <a:solidFill>
                  <a:schemeClr val="accent3"/>
                </a:solidFill>
                <a:latin typeface="Roboto Black" panose="02000000000000000000" pitchFamily="2" charset="0"/>
                <a:ea typeface="Roboto Black" panose="02000000000000000000" pitchFamily="2" charset="0"/>
              </a:defRPr>
            </a:lvl1pPr>
          </a:lstStyle>
          <a:p>
            <a:pPr lvl="0"/>
            <a:r>
              <a:rPr lang="da-DK"/>
              <a:t>#</a:t>
            </a:r>
            <a:endParaRPr lang="en-GB"/>
          </a:p>
        </p:txBody>
      </p:sp>
      <p:sp>
        <p:nvSpPr>
          <p:cNvPr id="25" name="Pladsholder til tekst 10">
            <a:extLst>
              <a:ext uri="{FF2B5EF4-FFF2-40B4-BE49-F238E27FC236}">
                <a16:creationId xmlns:a16="http://schemas.microsoft.com/office/drawing/2014/main" id="{9EA8F55E-E347-437B-9915-DB54B8EEA1D2}"/>
              </a:ext>
            </a:extLst>
          </p:cNvPr>
          <p:cNvSpPr>
            <a:spLocks noGrp="1"/>
          </p:cNvSpPr>
          <p:nvPr>
            <p:ph type="body" sz="quarter" idx="28" hasCustomPrompt="1"/>
          </p:nvPr>
        </p:nvSpPr>
        <p:spPr>
          <a:xfrm>
            <a:off x="7106652" y="4408064"/>
            <a:ext cx="3887787" cy="439738"/>
          </a:xfrm>
        </p:spPr>
        <p:txBody>
          <a:bodyPr wrap="none">
            <a:noAutofit/>
          </a:bodyPr>
          <a:lstStyle>
            <a:lvl1pPr marL="0" indent="0">
              <a:buFontTx/>
              <a:buNone/>
              <a:defRPr>
                <a:solidFill>
                  <a:schemeClr val="tx1"/>
                </a:solidFill>
              </a:defRPr>
            </a:lvl1pPr>
            <a:lvl2pPr marL="239400" indent="0">
              <a:buFontTx/>
              <a:buNone/>
              <a:defRPr>
                <a:solidFill>
                  <a:schemeClr val="bg1"/>
                </a:solidFill>
              </a:defRPr>
            </a:lvl2pPr>
            <a:lvl3pPr marL="473400" indent="0">
              <a:buFontTx/>
              <a:buNone/>
              <a:defRPr>
                <a:solidFill>
                  <a:schemeClr val="bg1"/>
                </a:solidFill>
              </a:defRPr>
            </a:lvl3pPr>
            <a:lvl4pPr marL="707400" indent="0">
              <a:buFontTx/>
              <a:buNone/>
              <a:defRPr>
                <a:solidFill>
                  <a:schemeClr val="bg1"/>
                </a:solidFill>
              </a:defRPr>
            </a:lvl4pPr>
            <a:lvl5pPr marL="923400" indent="0">
              <a:buFontTx/>
              <a:buNone/>
              <a:defRPr>
                <a:solidFill>
                  <a:schemeClr val="bg1"/>
                </a:solidFill>
              </a:defRPr>
            </a:lvl5pPr>
          </a:lstStyle>
          <a:p>
            <a:pPr lvl="0"/>
            <a:r>
              <a:rPr lang="en-GB" noProof="0"/>
              <a:t>Add text</a:t>
            </a:r>
          </a:p>
        </p:txBody>
      </p:sp>
      <p:pic>
        <p:nvPicPr>
          <p:cNvPr id="8" name="Picture 7" descr="Logo, icon&#10;&#10;Description automatically generated">
            <a:extLst>
              <a:ext uri="{FF2B5EF4-FFF2-40B4-BE49-F238E27FC236}">
                <a16:creationId xmlns:a16="http://schemas.microsoft.com/office/drawing/2014/main" id="{4613144A-2ECE-13F1-F313-650598D3F28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887958" y="6560348"/>
            <a:ext cx="863707" cy="195758"/>
          </a:xfrm>
          <a:prstGeom prst="rect">
            <a:avLst/>
          </a:prstGeom>
        </p:spPr>
      </p:pic>
      <p:sp>
        <p:nvSpPr>
          <p:cNvPr id="4" name="Pladsholder til tekst 8">
            <a:extLst>
              <a:ext uri="{FF2B5EF4-FFF2-40B4-BE49-F238E27FC236}">
                <a16:creationId xmlns:a16="http://schemas.microsoft.com/office/drawing/2014/main" id="{8166D8FD-DF3A-3D80-07A2-98758EAC5C10}"/>
              </a:ext>
            </a:extLst>
          </p:cNvPr>
          <p:cNvSpPr>
            <a:spLocks noGrp="1"/>
          </p:cNvSpPr>
          <p:nvPr>
            <p:ph type="body" sz="quarter" idx="29" hasCustomPrompt="1"/>
          </p:nvPr>
        </p:nvSpPr>
        <p:spPr>
          <a:xfrm>
            <a:off x="529752" y="5182866"/>
            <a:ext cx="576000" cy="576000"/>
          </a:xfrm>
          <a:ln w="34925">
            <a:solidFill>
              <a:schemeClr val="accent3"/>
            </a:solidFill>
            <a:miter lim="800000"/>
          </a:ln>
        </p:spPr>
        <p:txBody>
          <a:bodyPr lIns="72000" tIns="72000" rIns="72000" bIns="72000" anchor="ctr">
            <a:noAutofit/>
          </a:bodyPr>
          <a:lstStyle>
            <a:lvl1pPr marL="0" indent="0" algn="ctr">
              <a:buFontTx/>
              <a:buNone/>
              <a:defRPr sz="2000">
                <a:solidFill>
                  <a:schemeClr val="accent3"/>
                </a:solidFill>
                <a:latin typeface="Roboto Black" panose="02000000000000000000" pitchFamily="2" charset="0"/>
                <a:ea typeface="Roboto Black" panose="02000000000000000000" pitchFamily="2" charset="0"/>
              </a:defRPr>
            </a:lvl1pPr>
          </a:lstStyle>
          <a:p>
            <a:pPr lvl="0"/>
            <a:r>
              <a:rPr lang="da-DK"/>
              <a:t>#</a:t>
            </a:r>
            <a:endParaRPr lang="en-GB"/>
          </a:p>
        </p:txBody>
      </p:sp>
      <p:sp>
        <p:nvSpPr>
          <p:cNvPr id="7" name="Pladsholder til tekst 10">
            <a:extLst>
              <a:ext uri="{FF2B5EF4-FFF2-40B4-BE49-F238E27FC236}">
                <a16:creationId xmlns:a16="http://schemas.microsoft.com/office/drawing/2014/main" id="{48A0181E-EDD8-0CE8-B8C0-D265E0ED522A}"/>
              </a:ext>
            </a:extLst>
          </p:cNvPr>
          <p:cNvSpPr>
            <a:spLocks noGrp="1"/>
          </p:cNvSpPr>
          <p:nvPr>
            <p:ph type="body" sz="quarter" idx="30" hasCustomPrompt="1"/>
          </p:nvPr>
        </p:nvSpPr>
        <p:spPr>
          <a:xfrm>
            <a:off x="1381500" y="5264799"/>
            <a:ext cx="3885825" cy="439738"/>
          </a:xfrm>
        </p:spPr>
        <p:txBody>
          <a:bodyPr wrap="none">
            <a:noAutofit/>
          </a:bodyPr>
          <a:lstStyle>
            <a:lvl1pPr marL="0" indent="0">
              <a:buFontTx/>
              <a:buNone/>
              <a:defRPr>
                <a:solidFill>
                  <a:schemeClr val="tx1"/>
                </a:solidFill>
              </a:defRPr>
            </a:lvl1pPr>
            <a:lvl2pPr marL="239400" indent="0">
              <a:buFontTx/>
              <a:buNone/>
              <a:defRPr>
                <a:solidFill>
                  <a:schemeClr val="bg1"/>
                </a:solidFill>
              </a:defRPr>
            </a:lvl2pPr>
            <a:lvl3pPr marL="473400" indent="0">
              <a:buFontTx/>
              <a:buNone/>
              <a:defRPr>
                <a:solidFill>
                  <a:schemeClr val="bg1"/>
                </a:solidFill>
              </a:defRPr>
            </a:lvl3pPr>
            <a:lvl4pPr marL="707400" indent="0">
              <a:buFontTx/>
              <a:buNone/>
              <a:defRPr>
                <a:solidFill>
                  <a:schemeClr val="bg1"/>
                </a:solidFill>
              </a:defRPr>
            </a:lvl4pPr>
            <a:lvl5pPr marL="923400" indent="0">
              <a:buFontTx/>
              <a:buNone/>
              <a:defRPr>
                <a:solidFill>
                  <a:schemeClr val="bg1"/>
                </a:solidFill>
              </a:defRPr>
            </a:lvl5pPr>
          </a:lstStyle>
          <a:p>
            <a:pPr lvl="0"/>
            <a:r>
              <a:rPr lang="en-GB" noProof="0"/>
              <a:t>Add text</a:t>
            </a:r>
          </a:p>
        </p:txBody>
      </p:sp>
      <p:sp>
        <p:nvSpPr>
          <p:cNvPr id="10" name="Pladsholder til tekst 8">
            <a:extLst>
              <a:ext uri="{FF2B5EF4-FFF2-40B4-BE49-F238E27FC236}">
                <a16:creationId xmlns:a16="http://schemas.microsoft.com/office/drawing/2014/main" id="{81024D2F-B722-7B7C-0F3F-BAB009DA086E}"/>
              </a:ext>
            </a:extLst>
          </p:cNvPr>
          <p:cNvSpPr>
            <a:spLocks noGrp="1"/>
          </p:cNvSpPr>
          <p:nvPr>
            <p:ph type="body" sz="quarter" idx="31" hasCustomPrompt="1"/>
          </p:nvPr>
        </p:nvSpPr>
        <p:spPr>
          <a:xfrm>
            <a:off x="6254905" y="5128537"/>
            <a:ext cx="576000" cy="576000"/>
          </a:xfrm>
          <a:ln w="34925">
            <a:solidFill>
              <a:schemeClr val="accent3"/>
            </a:solidFill>
            <a:miter lim="800000"/>
          </a:ln>
        </p:spPr>
        <p:txBody>
          <a:bodyPr lIns="72000" tIns="72000" rIns="72000" bIns="72000" anchor="ctr">
            <a:noAutofit/>
          </a:bodyPr>
          <a:lstStyle>
            <a:lvl1pPr marL="0" indent="0" algn="ctr">
              <a:buFontTx/>
              <a:buNone/>
              <a:defRPr sz="2000">
                <a:solidFill>
                  <a:schemeClr val="accent3"/>
                </a:solidFill>
                <a:latin typeface="Roboto Black" panose="02000000000000000000" pitchFamily="2" charset="0"/>
                <a:ea typeface="Roboto Black" panose="02000000000000000000" pitchFamily="2" charset="0"/>
              </a:defRPr>
            </a:lvl1pPr>
          </a:lstStyle>
          <a:p>
            <a:pPr lvl="0"/>
            <a:r>
              <a:rPr lang="en-GB"/>
              <a:t>#</a:t>
            </a:r>
          </a:p>
        </p:txBody>
      </p:sp>
      <p:sp>
        <p:nvSpPr>
          <p:cNvPr id="26" name="Pladsholder til tekst 10">
            <a:extLst>
              <a:ext uri="{FF2B5EF4-FFF2-40B4-BE49-F238E27FC236}">
                <a16:creationId xmlns:a16="http://schemas.microsoft.com/office/drawing/2014/main" id="{CB34F366-06B1-E5C4-E449-450C80FADBA0}"/>
              </a:ext>
            </a:extLst>
          </p:cNvPr>
          <p:cNvSpPr>
            <a:spLocks noGrp="1"/>
          </p:cNvSpPr>
          <p:nvPr>
            <p:ph type="body" sz="quarter" idx="32" hasCustomPrompt="1"/>
          </p:nvPr>
        </p:nvSpPr>
        <p:spPr>
          <a:xfrm>
            <a:off x="7108252" y="5210762"/>
            <a:ext cx="3887787" cy="439738"/>
          </a:xfrm>
        </p:spPr>
        <p:txBody>
          <a:bodyPr wrap="none">
            <a:noAutofit/>
          </a:bodyPr>
          <a:lstStyle>
            <a:lvl1pPr marL="0" indent="0">
              <a:buFontTx/>
              <a:buNone/>
              <a:defRPr>
                <a:solidFill>
                  <a:schemeClr val="tx1"/>
                </a:solidFill>
              </a:defRPr>
            </a:lvl1pPr>
            <a:lvl2pPr marL="239400" indent="0">
              <a:buFontTx/>
              <a:buNone/>
              <a:defRPr>
                <a:solidFill>
                  <a:schemeClr val="bg1"/>
                </a:solidFill>
              </a:defRPr>
            </a:lvl2pPr>
            <a:lvl3pPr marL="473400" indent="0">
              <a:buFontTx/>
              <a:buNone/>
              <a:defRPr>
                <a:solidFill>
                  <a:schemeClr val="bg1"/>
                </a:solidFill>
              </a:defRPr>
            </a:lvl3pPr>
            <a:lvl4pPr marL="707400" indent="0">
              <a:buFontTx/>
              <a:buNone/>
              <a:defRPr>
                <a:solidFill>
                  <a:schemeClr val="bg1"/>
                </a:solidFill>
              </a:defRPr>
            </a:lvl4pPr>
            <a:lvl5pPr marL="923400" indent="0">
              <a:buFontTx/>
              <a:buNone/>
              <a:defRPr>
                <a:solidFill>
                  <a:schemeClr val="bg1"/>
                </a:solidFill>
              </a:defRPr>
            </a:lvl5pPr>
          </a:lstStyle>
          <a:p>
            <a:pPr lvl="0"/>
            <a:r>
              <a:rPr lang="en-GB" noProof="0"/>
              <a:t>Add text</a:t>
            </a:r>
          </a:p>
        </p:txBody>
      </p:sp>
    </p:spTree>
    <p:extLst>
      <p:ext uri="{BB962C8B-B14F-4D97-AF65-F5344CB8AC3E}">
        <p14:creationId xmlns:p14="http://schemas.microsoft.com/office/powerpoint/2010/main" val="16456361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 Subhead - Light">
    <p:bg>
      <p:bgPr>
        <a:solidFill>
          <a:srgbClr val="ECECED"/>
        </a:solidFill>
        <a:effectLst/>
      </p:bgPr>
    </p:bg>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2C9C8A44-FDC0-475D-BC2B-A15569175EA1}"/>
              </a:ext>
            </a:extLst>
          </p:cNvPr>
          <p:cNvSpPr/>
          <p:nvPr/>
        </p:nvSpPr>
        <p:spPr>
          <a:xfrm>
            <a:off x="0" y="6453188"/>
            <a:ext cx="12192000" cy="404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el 1">
            <a:extLst>
              <a:ext uri="{FF2B5EF4-FFF2-40B4-BE49-F238E27FC236}">
                <a16:creationId xmlns:a16="http://schemas.microsoft.com/office/drawing/2014/main" id="{B810521B-284B-4FCD-B0CF-87DE041A7121}"/>
              </a:ext>
            </a:extLst>
          </p:cNvPr>
          <p:cNvSpPr>
            <a:spLocks noGrp="1"/>
          </p:cNvSpPr>
          <p:nvPr>
            <p:ph type="title" hasCustomPrompt="1"/>
          </p:nvPr>
        </p:nvSpPr>
        <p:spPr>
          <a:xfrm>
            <a:off x="514800" y="333375"/>
            <a:ext cx="11161263" cy="554400"/>
          </a:xfrm>
        </p:spPr>
        <p:txBody>
          <a:bodyPr/>
          <a:lstStyle>
            <a:lvl1pPr>
              <a:defRPr/>
            </a:lvl1pPr>
          </a:lstStyle>
          <a:p>
            <a:r>
              <a:rPr lang="en-GB" noProof="0"/>
              <a:t>Add heading</a:t>
            </a:r>
          </a:p>
        </p:txBody>
      </p:sp>
      <p:pic>
        <p:nvPicPr>
          <p:cNvPr id="8" name="Picture 7" descr="Logo, icon&#10;&#10;Description automatically generated">
            <a:extLst>
              <a:ext uri="{FF2B5EF4-FFF2-40B4-BE49-F238E27FC236}">
                <a16:creationId xmlns:a16="http://schemas.microsoft.com/office/drawing/2014/main" id="{C846069B-D02F-0BCC-3219-36F534460F5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887958" y="6560348"/>
            <a:ext cx="863707" cy="195758"/>
          </a:xfrm>
          <a:prstGeom prst="rect">
            <a:avLst/>
          </a:prstGeom>
        </p:spPr>
      </p:pic>
      <p:sp>
        <p:nvSpPr>
          <p:cNvPr id="4" name="Text Placeholder 3">
            <a:extLst>
              <a:ext uri="{FF2B5EF4-FFF2-40B4-BE49-F238E27FC236}">
                <a16:creationId xmlns:a16="http://schemas.microsoft.com/office/drawing/2014/main" id="{94888FD7-02E3-5F5B-D00B-110B1973DD89}"/>
              </a:ext>
            </a:extLst>
          </p:cNvPr>
          <p:cNvSpPr>
            <a:spLocks noGrp="1"/>
          </p:cNvSpPr>
          <p:nvPr>
            <p:ph type="body" sz="quarter" idx="13"/>
          </p:nvPr>
        </p:nvSpPr>
        <p:spPr>
          <a:xfrm>
            <a:off x="515938" y="900000"/>
            <a:ext cx="11160125" cy="368412"/>
          </a:xfrm>
        </p:spPr>
        <p:txBody>
          <a:bodyPr tIns="0" bIns="0"/>
          <a:lstStyle>
            <a:lvl1pPr marL="0" indent="0">
              <a:buFontTx/>
              <a:buNone/>
              <a:defRPr b="1">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42401988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4_Image">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63331E60-CEBD-7274-FAB8-70966FADF500}"/>
              </a:ext>
            </a:extLst>
          </p:cNvPr>
          <p:cNvSpPr>
            <a:spLocks noGrp="1"/>
          </p:cNvSpPr>
          <p:nvPr>
            <p:ph type="pic" sz="quarter" idx="10"/>
          </p:nvPr>
        </p:nvSpPr>
        <p:spPr>
          <a:xfrm>
            <a:off x="0" y="0"/>
            <a:ext cx="11323974" cy="6858000"/>
          </a:xfrm>
          <a:custGeom>
            <a:avLst/>
            <a:gdLst>
              <a:gd name="connsiteX0" fmla="*/ 0 w 11454603"/>
              <a:gd name="connsiteY0" fmla="*/ 0 h 6858000"/>
              <a:gd name="connsiteX1" fmla="*/ 6937828 w 11454603"/>
              <a:gd name="connsiteY1" fmla="*/ 0 h 6858000"/>
              <a:gd name="connsiteX2" fmla="*/ 8026081 w 11454603"/>
              <a:gd name="connsiteY2" fmla="*/ 0 h 6858000"/>
              <a:gd name="connsiteX3" fmla="*/ 11454276 w 11454603"/>
              <a:gd name="connsiteY3" fmla="*/ 0 h 6858000"/>
              <a:gd name="connsiteX4" fmla="*/ 11454276 w 11454603"/>
              <a:gd name="connsiteY4" fmla="*/ 4867452 h 6858000"/>
              <a:gd name="connsiteX5" fmla="*/ 8025753 w 11454603"/>
              <a:gd name="connsiteY5" fmla="*/ 6855617 h 6858000"/>
              <a:gd name="connsiteX6" fmla="*/ 11454603 w 11454603"/>
              <a:gd name="connsiteY6" fmla="*/ 6855246 h 6858000"/>
              <a:gd name="connsiteX7" fmla="*/ 11454603 w 11454603"/>
              <a:gd name="connsiteY7" fmla="*/ 6855617 h 6858000"/>
              <a:gd name="connsiteX8" fmla="*/ 11454603 w 11454603"/>
              <a:gd name="connsiteY8" fmla="*/ 6858000 h 6858000"/>
              <a:gd name="connsiteX9" fmla="*/ 6937828 w 11454603"/>
              <a:gd name="connsiteY9" fmla="*/ 6858000 h 6858000"/>
              <a:gd name="connsiteX10" fmla="*/ 6937828 w 11454603"/>
              <a:gd name="connsiteY10" fmla="*/ 6855348 h 6858000"/>
              <a:gd name="connsiteX11" fmla="*/ 0 w 11454603"/>
              <a:gd name="connsiteY11" fmla="*/ 68549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454603" h="6858000">
                <a:moveTo>
                  <a:pt x="0" y="0"/>
                </a:moveTo>
                <a:lnTo>
                  <a:pt x="6937828" y="0"/>
                </a:lnTo>
                <a:lnTo>
                  <a:pt x="8026081" y="0"/>
                </a:lnTo>
                <a:lnTo>
                  <a:pt x="11454276" y="0"/>
                </a:lnTo>
                <a:lnTo>
                  <a:pt x="11454276" y="4867452"/>
                </a:lnTo>
                <a:lnTo>
                  <a:pt x="8025753" y="6855617"/>
                </a:lnTo>
                <a:lnTo>
                  <a:pt x="11454603" y="6855246"/>
                </a:lnTo>
                <a:lnTo>
                  <a:pt x="11454603" y="6855617"/>
                </a:lnTo>
                <a:lnTo>
                  <a:pt x="11454603" y="6858000"/>
                </a:lnTo>
                <a:lnTo>
                  <a:pt x="6937828" y="6858000"/>
                </a:lnTo>
                <a:lnTo>
                  <a:pt x="6937828" y="6855348"/>
                </a:lnTo>
                <a:lnTo>
                  <a:pt x="0" y="6854935"/>
                </a:lnTo>
                <a:close/>
              </a:path>
            </a:pathLst>
          </a:custGeom>
        </p:spPr>
        <p:txBody>
          <a:bodyPr wrap="square">
            <a:noAutofit/>
          </a:bodyPr>
          <a:lstStyle/>
          <a:p>
            <a:r>
              <a:rPr lang="en-US"/>
              <a:t>Click icon to add picture</a:t>
            </a:r>
            <a:endParaRPr lang="en-GB"/>
          </a:p>
        </p:txBody>
      </p:sp>
    </p:spTree>
    <p:extLst>
      <p:ext uri="{BB962C8B-B14F-4D97-AF65-F5344CB8AC3E}">
        <p14:creationId xmlns:p14="http://schemas.microsoft.com/office/powerpoint/2010/main" val="3931504488"/>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resentation Title + Image - Light 2">
    <p:bg>
      <p:bgPr>
        <a:solidFill>
          <a:srgbClr val="ECECE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009710-6EB2-4931-A331-58D092BCD222}"/>
              </a:ext>
            </a:extLst>
          </p:cNvPr>
          <p:cNvSpPr>
            <a:spLocks noGrp="1"/>
          </p:cNvSpPr>
          <p:nvPr>
            <p:ph type="ctrTitle" hasCustomPrompt="1"/>
          </p:nvPr>
        </p:nvSpPr>
        <p:spPr>
          <a:xfrm>
            <a:off x="919035" y="2619190"/>
            <a:ext cx="5430285" cy="1452705"/>
          </a:xfrm>
        </p:spPr>
        <p:txBody>
          <a:bodyPr wrap="square" tIns="0" anchor="t" anchorCtr="0">
            <a:spAutoFit/>
          </a:bodyPr>
          <a:lstStyle>
            <a:lvl1pPr algn="l">
              <a:lnSpc>
                <a:spcPct val="78000"/>
              </a:lnSpc>
              <a:spcBef>
                <a:spcPts val="0"/>
              </a:spcBef>
              <a:defRPr sz="6000" kern="0" cap="all" spc="-150" baseline="0">
                <a:solidFill>
                  <a:schemeClr val="tx2"/>
                </a:solidFill>
              </a:defRPr>
            </a:lvl1pPr>
          </a:lstStyle>
          <a:p>
            <a:r>
              <a:rPr lang="en-GB" noProof="0"/>
              <a:t>Presentation Title</a:t>
            </a:r>
          </a:p>
        </p:txBody>
      </p:sp>
      <p:sp>
        <p:nvSpPr>
          <p:cNvPr id="3" name="Undertitel 2">
            <a:extLst>
              <a:ext uri="{FF2B5EF4-FFF2-40B4-BE49-F238E27FC236}">
                <a16:creationId xmlns:a16="http://schemas.microsoft.com/office/drawing/2014/main" id="{06FD948C-2AC3-4DD4-857A-469378D98AEE}"/>
              </a:ext>
            </a:extLst>
          </p:cNvPr>
          <p:cNvSpPr>
            <a:spLocks noGrp="1"/>
          </p:cNvSpPr>
          <p:nvPr>
            <p:ph type="subTitle" idx="1"/>
          </p:nvPr>
        </p:nvSpPr>
        <p:spPr>
          <a:xfrm>
            <a:off x="804735" y="1908057"/>
            <a:ext cx="5544585" cy="588774"/>
          </a:xfrm>
          <a:ln w="34925">
            <a:noFill/>
            <a:miter lim="800000"/>
          </a:ln>
        </p:spPr>
        <p:txBody>
          <a:bodyPr wrap="square" lIns="0" tIns="0" rIns="0" bIns="0" anchor="ctr" anchorCtr="0">
            <a:noAutofit/>
          </a:bodyPr>
          <a:lstStyle>
            <a:lvl1pPr marL="144000" indent="0" algn="l">
              <a:lnSpc>
                <a:spcPct val="80000"/>
              </a:lnSpc>
              <a:spcBef>
                <a:spcPts val="0"/>
              </a:spcBef>
              <a:buNone/>
              <a:defRPr sz="2000" cap="all" spc="100" baseline="0">
                <a:solidFill>
                  <a:schemeClr val="accent3"/>
                </a:solidFill>
                <a:latin typeface="Roboto Black" panose="02000000000000000000" pitchFamily="2" charset="0"/>
                <a:ea typeface="Roboto Black" panose="02000000000000000000" pitchFamily="2" charset="0"/>
                <a:cs typeface="Roboto Black" panose="020000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GB" noProof="0"/>
          </a:p>
        </p:txBody>
      </p:sp>
      <p:pic>
        <p:nvPicPr>
          <p:cNvPr id="7" name="Golden section" hidden="1">
            <a:extLst>
              <a:ext uri="{FF2B5EF4-FFF2-40B4-BE49-F238E27FC236}">
                <a16:creationId xmlns:a16="http://schemas.microsoft.com/office/drawing/2014/main" id="{3971EFB2-3D90-170A-B0B8-4694DECA94D4}"/>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flipH="1">
            <a:off x="566351" y="-9184"/>
            <a:ext cx="11074106" cy="6867183"/>
          </a:xfrm>
          <a:prstGeom prst="rect">
            <a:avLst/>
          </a:prstGeom>
        </p:spPr>
      </p:pic>
      <p:pic>
        <p:nvPicPr>
          <p:cNvPr id="9" name="Picture 8">
            <a:extLst>
              <a:ext uri="{FF2B5EF4-FFF2-40B4-BE49-F238E27FC236}">
                <a16:creationId xmlns:a16="http://schemas.microsoft.com/office/drawing/2014/main" id="{2EB03BB7-0054-38FF-D0CA-68F6C23DA6EF}"/>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7521273" y="607320"/>
            <a:ext cx="3289121" cy="5469626"/>
          </a:xfrm>
          <a:prstGeom prst="rect">
            <a:avLst/>
          </a:prstGeom>
        </p:spPr>
      </p:pic>
      <p:pic>
        <p:nvPicPr>
          <p:cNvPr id="10" name="Picture 9">
            <a:extLst>
              <a:ext uri="{FF2B5EF4-FFF2-40B4-BE49-F238E27FC236}">
                <a16:creationId xmlns:a16="http://schemas.microsoft.com/office/drawing/2014/main" id="{E22022CC-E3C4-1CF2-4742-1076A16DAF36}"/>
              </a:ext>
            </a:extLst>
          </p:cNvPr>
          <p:cNvPicPr>
            <a:picLocks/>
          </p:cNvPicPr>
          <p:nvPr userDrawn="1"/>
        </p:nvPicPr>
        <p:blipFill rotWithShape="1">
          <a:blip r:embed="rId5" cstate="email">
            <a:extLst>
              <a:ext uri="{28A0092B-C50C-407E-A947-70E740481C1C}">
                <a14:useLocalDpi xmlns:a14="http://schemas.microsoft.com/office/drawing/2010/main"/>
              </a:ext>
            </a:extLst>
          </a:blip>
          <a:srcRect/>
          <a:stretch/>
        </p:blipFill>
        <p:spPr>
          <a:xfrm>
            <a:off x="982535" y="0"/>
            <a:ext cx="1612901" cy="711200"/>
          </a:xfrm>
          <a:prstGeom prst="rect">
            <a:avLst/>
          </a:prstGeom>
        </p:spPr>
      </p:pic>
    </p:spTree>
    <p:extLst>
      <p:ext uri="{BB962C8B-B14F-4D97-AF65-F5344CB8AC3E}">
        <p14:creationId xmlns:p14="http://schemas.microsoft.com/office/powerpoint/2010/main" val="35435263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 - Subhead - Light">
    <p:bg>
      <p:bgPr>
        <a:solidFill>
          <a:srgbClr val="ECECED"/>
        </a:solidFill>
        <a:effectLst/>
      </p:bgPr>
    </p:bg>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68237672-EA13-4736-A70B-E52AB4AD066C}"/>
              </a:ext>
            </a:extLst>
          </p:cNvPr>
          <p:cNvSpPr/>
          <p:nvPr/>
        </p:nvSpPr>
        <p:spPr>
          <a:xfrm>
            <a:off x="0" y="6453188"/>
            <a:ext cx="12192000" cy="404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el 1">
            <a:extLst>
              <a:ext uri="{FF2B5EF4-FFF2-40B4-BE49-F238E27FC236}">
                <a16:creationId xmlns:a16="http://schemas.microsoft.com/office/drawing/2014/main" id="{7CB936AD-B99A-4CBD-8357-6A393A1540DF}"/>
              </a:ext>
            </a:extLst>
          </p:cNvPr>
          <p:cNvSpPr>
            <a:spLocks noGrp="1"/>
          </p:cNvSpPr>
          <p:nvPr>
            <p:ph type="title" hasCustomPrompt="1"/>
          </p:nvPr>
        </p:nvSpPr>
        <p:spPr>
          <a:xfrm>
            <a:off x="514800" y="333375"/>
            <a:ext cx="11161263" cy="554400"/>
          </a:xfrm>
        </p:spPr>
        <p:txBody>
          <a:bodyPr>
            <a:noAutofit/>
          </a:bodyPr>
          <a:lstStyle>
            <a:lvl1pPr>
              <a:defRPr sz="3600" b="1"/>
            </a:lvl1pPr>
          </a:lstStyle>
          <a:p>
            <a:r>
              <a:rPr lang="en-GB" noProof="0"/>
              <a:t>Add heading</a:t>
            </a:r>
          </a:p>
        </p:txBody>
      </p:sp>
      <p:sp>
        <p:nvSpPr>
          <p:cNvPr id="3" name="Pladsholder til indhold 2">
            <a:extLst>
              <a:ext uri="{FF2B5EF4-FFF2-40B4-BE49-F238E27FC236}">
                <a16:creationId xmlns:a16="http://schemas.microsoft.com/office/drawing/2014/main" id="{1236430A-BA34-4FAC-83B6-11BC4B15979F}"/>
              </a:ext>
            </a:extLst>
          </p:cNvPr>
          <p:cNvSpPr>
            <a:spLocks noGrp="1"/>
          </p:cNvSpPr>
          <p:nvPr>
            <p:ph idx="1" hasCustomPrompt="1"/>
          </p:nvPr>
        </p:nvSpPr>
        <p:spPr>
          <a:xfrm>
            <a:off x="514799" y="1376362"/>
            <a:ext cx="7344915" cy="4968876"/>
          </a:xfrm>
        </p:spPr>
        <p:txBody>
          <a:bodyPr/>
          <a:lstStyle>
            <a:lvl1pPr>
              <a:defRPr/>
            </a:lvl1pPr>
            <a:lvl2pPr>
              <a:defRPr/>
            </a:lvl2pPr>
            <a:lvl3pPr>
              <a:defRPr/>
            </a:lvl3pPr>
            <a:lvl4pPr>
              <a:defRPr/>
            </a:lvl4pPr>
            <a:lvl5pPr>
              <a:defRPr/>
            </a:lvl5pPr>
          </a:lstStyle>
          <a:p>
            <a:pPr lvl="0"/>
            <a:r>
              <a:rPr lang="en-GB" noProof="0"/>
              <a:t>Add content. Deactivate lists and bullets if not needed.</a:t>
            </a:r>
          </a:p>
          <a:p>
            <a:pPr lvl="1"/>
            <a:r>
              <a:rPr lang="en-GB" noProof="0"/>
              <a:t>Second level content</a:t>
            </a:r>
          </a:p>
          <a:p>
            <a:pPr lvl="2"/>
            <a:r>
              <a:rPr lang="en-GB" noProof="0"/>
              <a:t>Third level content</a:t>
            </a:r>
          </a:p>
          <a:p>
            <a:pPr lvl="3"/>
            <a:r>
              <a:rPr lang="en-GB" noProof="0"/>
              <a:t>Fourth level content</a:t>
            </a:r>
          </a:p>
          <a:p>
            <a:pPr lvl="4"/>
            <a:r>
              <a:rPr lang="en-GB" noProof="0"/>
              <a:t>Fifth level content</a:t>
            </a:r>
          </a:p>
        </p:txBody>
      </p:sp>
      <p:sp>
        <p:nvSpPr>
          <p:cNvPr id="10" name="Pladsholder til tekst 9">
            <a:extLst>
              <a:ext uri="{FF2B5EF4-FFF2-40B4-BE49-F238E27FC236}">
                <a16:creationId xmlns:a16="http://schemas.microsoft.com/office/drawing/2014/main" id="{9AFA0120-57A0-4D2B-8C07-01264457CB70}"/>
              </a:ext>
            </a:extLst>
          </p:cNvPr>
          <p:cNvSpPr>
            <a:spLocks noGrp="1"/>
          </p:cNvSpPr>
          <p:nvPr>
            <p:ph type="body" sz="quarter" idx="13" hasCustomPrompt="1"/>
          </p:nvPr>
        </p:nvSpPr>
        <p:spPr>
          <a:xfrm>
            <a:off x="515938" y="900000"/>
            <a:ext cx="11160125" cy="368412"/>
          </a:xfrm>
        </p:spPr>
        <p:txBody>
          <a:bodyPr wrap="none" tIns="0" bIns="0" anchor="t" anchorCtr="0">
            <a:noAutofit/>
          </a:bodyPr>
          <a:lstStyle>
            <a:lvl1pPr marL="0" indent="0">
              <a:buFontTx/>
              <a:buNone/>
              <a:defRPr sz="1800" b="1">
                <a:solidFill>
                  <a:schemeClr val="tx2"/>
                </a:solidFill>
                <a:latin typeface="Roboto" panose="02000000000000000000" pitchFamily="2" charset="0"/>
                <a:ea typeface="Roboto" panose="02000000000000000000" pitchFamily="2" charset="0"/>
                <a:cs typeface="Roboto Black" panose="02000000000000000000" pitchFamily="2" charset="0"/>
              </a:defRPr>
            </a:lvl1pPr>
            <a:lvl2pPr marL="457200" indent="0">
              <a:buFontTx/>
              <a:buNone/>
              <a:defRPr>
                <a:solidFill>
                  <a:schemeClr val="tx2"/>
                </a:solidFill>
              </a:defRPr>
            </a:lvl2pPr>
            <a:lvl3pPr marL="914400" indent="0">
              <a:buFontTx/>
              <a:buNone/>
              <a:defRPr>
                <a:solidFill>
                  <a:schemeClr val="tx2"/>
                </a:solidFill>
              </a:defRPr>
            </a:lvl3pPr>
            <a:lvl4pPr marL="1371600" indent="0">
              <a:buFontTx/>
              <a:buNone/>
              <a:defRPr>
                <a:solidFill>
                  <a:schemeClr val="tx2"/>
                </a:solidFill>
              </a:defRPr>
            </a:lvl4pPr>
            <a:lvl5pPr marL="1828800" indent="0">
              <a:buFontTx/>
              <a:buNone/>
              <a:defRPr>
                <a:solidFill>
                  <a:schemeClr val="tx2"/>
                </a:solidFill>
              </a:defRPr>
            </a:lvl5pPr>
          </a:lstStyle>
          <a:p>
            <a:pPr lvl="0"/>
            <a:r>
              <a:rPr lang="en-GB" noProof="0"/>
              <a:t>Add subheading</a:t>
            </a:r>
          </a:p>
        </p:txBody>
      </p:sp>
      <p:pic>
        <p:nvPicPr>
          <p:cNvPr id="9" name="Picture 8" descr="Logo, icon&#10;&#10;Description automatically generated">
            <a:extLst>
              <a:ext uri="{FF2B5EF4-FFF2-40B4-BE49-F238E27FC236}">
                <a16:creationId xmlns:a16="http://schemas.microsoft.com/office/drawing/2014/main" id="{D2FEFAEF-F121-307E-819D-CB014ECD4AD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887958" y="6560348"/>
            <a:ext cx="863707" cy="195758"/>
          </a:xfrm>
          <a:prstGeom prst="rect">
            <a:avLst/>
          </a:prstGeom>
        </p:spPr>
      </p:pic>
    </p:spTree>
    <p:extLst>
      <p:ext uri="{BB962C8B-B14F-4D97-AF65-F5344CB8AC3E}">
        <p14:creationId xmlns:p14="http://schemas.microsoft.com/office/powerpoint/2010/main" val="375499463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Predefined Imag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009710-6EB2-4931-A331-58D092BCD222}"/>
              </a:ext>
            </a:extLst>
          </p:cNvPr>
          <p:cNvSpPr>
            <a:spLocks noGrp="1"/>
          </p:cNvSpPr>
          <p:nvPr>
            <p:ph type="ctrTitle" hasCustomPrompt="1"/>
          </p:nvPr>
        </p:nvSpPr>
        <p:spPr>
          <a:xfrm>
            <a:off x="6245778" y="2358000"/>
            <a:ext cx="5430285" cy="1452705"/>
          </a:xfrm>
        </p:spPr>
        <p:txBody>
          <a:bodyPr wrap="square" tIns="0" anchor="t" anchorCtr="0">
            <a:spAutoFit/>
          </a:bodyPr>
          <a:lstStyle>
            <a:lvl1pPr algn="l">
              <a:lnSpc>
                <a:spcPct val="78000"/>
              </a:lnSpc>
              <a:spcBef>
                <a:spcPts val="0"/>
              </a:spcBef>
              <a:defRPr sz="6000" kern="0" cap="all" spc="-150" baseline="0">
                <a:solidFill>
                  <a:schemeClr val="bg1"/>
                </a:solidFill>
              </a:defRPr>
            </a:lvl1pPr>
          </a:lstStyle>
          <a:p>
            <a:r>
              <a:rPr lang="en-GB" noProof="0"/>
              <a:t>Presentation Title</a:t>
            </a:r>
          </a:p>
        </p:txBody>
      </p:sp>
      <p:sp>
        <p:nvSpPr>
          <p:cNvPr id="3" name="Undertitel 2">
            <a:extLst>
              <a:ext uri="{FF2B5EF4-FFF2-40B4-BE49-F238E27FC236}">
                <a16:creationId xmlns:a16="http://schemas.microsoft.com/office/drawing/2014/main" id="{06FD948C-2AC3-4DD4-857A-469378D98AEE}"/>
              </a:ext>
            </a:extLst>
          </p:cNvPr>
          <p:cNvSpPr>
            <a:spLocks noGrp="1"/>
          </p:cNvSpPr>
          <p:nvPr>
            <p:ph type="subTitle" idx="1" hasCustomPrompt="1"/>
          </p:nvPr>
        </p:nvSpPr>
        <p:spPr>
          <a:xfrm>
            <a:off x="6245779" y="1382400"/>
            <a:ext cx="2028614" cy="588774"/>
          </a:xfrm>
          <a:ln w="34925">
            <a:solidFill>
              <a:schemeClr val="accent3"/>
            </a:solidFill>
            <a:miter lim="800000"/>
          </a:ln>
        </p:spPr>
        <p:txBody>
          <a:bodyPr wrap="none" tIns="180000" rIns="144000" bIns="144000" anchor="ctr" anchorCtr="0">
            <a:spAutoFit/>
          </a:bodyPr>
          <a:lstStyle>
            <a:lvl1pPr marL="144000" indent="0" algn="l">
              <a:lnSpc>
                <a:spcPct val="100000"/>
              </a:lnSpc>
              <a:spcBef>
                <a:spcPts val="800"/>
              </a:spcBef>
              <a:buNone/>
              <a:defRPr sz="1700" cap="all" spc="100" baseline="0">
                <a:solidFill>
                  <a:schemeClr val="accent3"/>
                </a:solidFill>
                <a:latin typeface="Roboto Black" panose="02000000000000000000" pitchFamily="2" charset="0"/>
                <a:ea typeface="Roboto Black" panose="02000000000000000000" pitchFamily="2" charset="0"/>
                <a:cs typeface="Roboto Black" panose="020000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INTRODUCTION</a:t>
            </a:r>
          </a:p>
        </p:txBody>
      </p:sp>
      <p:sp>
        <p:nvSpPr>
          <p:cNvPr id="4" name="Pladsholder til dato 3">
            <a:extLst>
              <a:ext uri="{FF2B5EF4-FFF2-40B4-BE49-F238E27FC236}">
                <a16:creationId xmlns:a16="http://schemas.microsoft.com/office/drawing/2014/main" id="{7D9EAF0F-837A-4145-B137-3BC9B36AC75A}"/>
              </a:ext>
            </a:extLst>
          </p:cNvPr>
          <p:cNvSpPr>
            <a:spLocks noGrp="1"/>
          </p:cNvSpPr>
          <p:nvPr>
            <p:ph type="dt" sz="half" idx="10"/>
          </p:nvPr>
        </p:nvSpPr>
        <p:spPr>
          <a:xfrm>
            <a:off x="6245778" y="4083231"/>
            <a:ext cx="1023581" cy="365125"/>
          </a:xfrm>
        </p:spPr>
        <p:txBody>
          <a:bodyPr/>
          <a:lstStyle>
            <a:lvl1pPr>
              <a:defRPr sz="900">
                <a:solidFill>
                  <a:schemeClr val="bg1"/>
                </a:solidFill>
              </a:defRPr>
            </a:lvl1pPr>
          </a:lstStyle>
          <a:p>
            <a:fld id="{AB00AEE7-7C26-4910-B06C-89011A932927}" type="datetime4">
              <a:rPr lang="en-GB" smtClean="0"/>
              <a:t>12 February 2024</a:t>
            </a:fld>
            <a:endParaRPr lang="en-GB"/>
          </a:p>
        </p:txBody>
      </p:sp>
      <p:sp>
        <p:nvSpPr>
          <p:cNvPr id="8" name="object 3">
            <a:extLst>
              <a:ext uri="{FF2B5EF4-FFF2-40B4-BE49-F238E27FC236}">
                <a16:creationId xmlns:a16="http://schemas.microsoft.com/office/drawing/2014/main" id="{8A008F66-4AD4-CD4B-8AD3-5B12BD10BD5E}"/>
              </a:ext>
            </a:extLst>
          </p:cNvPr>
          <p:cNvSpPr/>
          <p:nvPr userDrawn="1"/>
        </p:nvSpPr>
        <p:spPr>
          <a:xfrm>
            <a:off x="515938" y="0"/>
            <a:ext cx="2779200" cy="1332348"/>
          </a:xfrm>
          <a:custGeom>
            <a:avLst/>
            <a:gdLst/>
            <a:ahLst/>
            <a:cxnLst/>
            <a:rect l="l" t="t" r="r" b="b"/>
            <a:pathLst>
              <a:path w="3042285" h="1368425">
                <a:moveTo>
                  <a:pt x="0" y="1367993"/>
                </a:moveTo>
                <a:lnTo>
                  <a:pt x="3041992" y="1367993"/>
                </a:lnTo>
                <a:lnTo>
                  <a:pt x="3041992" y="0"/>
                </a:lnTo>
                <a:lnTo>
                  <a:pt x="0" y="0"/>
                </a:lnTo>
                <a:lnTo>
                  <a:pt x="0" y="1367993"/>
                </a:lnTo>
                <a:close/>
              </a:path>
            </a:pathLst>
          </a:custGeom>
          <a:solidFill>
            <a:srgbClr val="FFFFFF"/>
          </a:solidFill>
        </p:spPr>
        <p:txBody>
          <a:bodyPr wrap="square" lIns="0" tIns="0" rIns="0" bIns="0" rtlCol="0"/>
          <a:lstStyle/>
          <a:p>
            <a:endParaRPr b="1">
              <a:latin typeface="Roboto Condensed" panose="02000000000000000000" pitchFamily="2" charset="0"/>
            </a:endParaRPr>
          </a:p>
        </p:txBody>
      </p:sp>
      <p:pic>
        <p:nvPicPr>
          <p:cNvPr id="11" name="Picture 10" descr="Logo, icon&#10;&#10;Description automatically generated">
            <a:extLst>
              <a:ext uri="{FF2B5EF4-FFF2-40B4-BE49-F238E27FC236}">
                <a16:creationId xmlns:a16="http://schemas.microsoft.com/office/drawing/2014/main" id="{37F75515-6673-5FDA-97D7-899F3B7878A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24466" y="443815"/>
            <a:ext cx="1962144" cy="444718"/>
          </a:xfrm>
          <a:prstGeom prst="rect">
            <a:avLst/>
          </a:prstGeom>
        </p:spPr>
      </p:pic>
    </p:spTree>
    <p:extLst>
      <p:ext uri="{BB962C8B-B14F-4D97-AF65-F5344CB8AC3E}">
        <p14:creationId xmlns:p14="http://schemas.microsoft.com/office/powerpoint/2010/main" val="2867657834"/>
      </p:ext>
    </p:extLst>
  </p:cSld>
  <p:clrMapOvr>
    <a:masterClrMapping/>
  </p:clrMapOvr>
  <p:extLst>
    <p:ext uri="{DCECCB84-F9BA-43D5-87BE-67443E8EF086}">
      <p15:sldGuideLst xmlns:p15="http://schemas.microsoft.com/office/powerpoint/2012/main">
        <p15:guide id="1" orient="horz" pos="2160" userDrawn="1">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 + Image - Light">
    <p:bg>
      <p:bgPr>
        <a:solidFill>
          <a:srgbClr val="ECECED"/>
        </a:solidFill>
        <a:effectLst/>
      </p:bgPr>
    </p:bg>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F6425D13-9A1B-4760-9173-66541B3DE401}"/>
              </a:ext>
            </a:extLst>
          </p:cNvPr>
          <p:cNvSpPr/>
          <p:nvPr userDrawn="1"/>
        </p:nvSpPr>
        <p:spPr>
          <a:xfrm>
            <a:off x="0" y="6453188"/>
            <a:ext cx="12192000" cy="404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el 1">
            <a:extLst>
              <a:ext uri="{FF2B5EF4-FFF2-40B4-BE49-F238E27FC236}">
                <a16:creationId xmlns:a16="http://schemas.microsoft.com/office/drawing/2014/main" id="{20DD5FC8-A4F2-4F9F-A6C1-F40DB3F38D2D}"/>
              </a:ext>
            </a:extLst>
          </p:cNvPr>
          <p:cNvSpPr>
            <a:spLocks noGrp="1"/>
          </p:cNvSpPr>
          <p:nvPr>
            <p:ph type="title" hasCustomPrompt="1"/>
          </p:nvPr>
        </p:nvSpPr>
        <p:spPr>
          <a:xfrm>
            <a:off x="514800" y="334800"/>
            <a:ext cx="5436738" cy="554400"/>
          </a:xfrm>
        </p:spPr>
        <p:txBody>
          <a:bodyPr anchor="t" anchorCtr="0">
            <a:noAutofit/>
          </a:bodyPr>
          <a:lstStyle>
            <a:lvl1pPr>
              <a:defRPr sz="3600"/>
            </a:lvl1pPr>
          </a:lstStyle>
          <a:p>
            <a:r>
              <a:rPr lang="en-GB" noProof="0"/>
              <a:t>Add heading</a:t>
            </a:r>
          </a:p>
        </p:txBody>
      </p:sp>
      <p:sp>
        <p:nvSpPr>
          <p:cNvPr id="3" name="Pladsholder til billede 2">
            <a:extLst>
              <a:ext uri="{FF2B5EF4-FFF2-40B4-BE49-F238E27FC236}">
                <a16:creationId xmlns:a16="http://schemas.microsoft.com/office/drawing/2014/main" id="{5BDAB1EB-D25D-4C31-8262-45394195B7D8}"/>
              </a:ext>
            </a:extLst>
          </p:cNvPr>
          <p:cNvSpPr>
            <a:spLocks noGrp="1"/>
          </p:cNvSpPr>
          <p:nvPr>
            <p:ph type="pic" idx="1" hasCustomPrompt="1"/>
          </p:nvPr>
        </p:nvSpPr>
        <p:spPr>
          <a:xfrm>
            <a:off x="6240464" y="0"/>
            <a:ext cx="5951536" cy="6453188"/>
          </a:xfrm>
        </p:spPr>
        <p:txBody>
          <a:bodyPr tIns="792000" anchor="ctr" anchorCtr="1">
            <a:normAutofit/>
          </a:bodyPr>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to insert image</a:t>
            </a:r>
          </a:p>
        </p:txBody>
      </p:sp>
      <p:sp>
        <p:nvSpPr>
          <p:cNvPr id="4" name="Pladsholder til tekst 3">
            <a:extLst>
              <a:ext uri="{FF2B5EF4-FFF2-40B4-BE49-F238E27FC236}">
                <a16:creationId xmlns:a16="http://schemas.microsoft.com/office/drawing/2014/main" id="{835DAC81-9607-4A0D-87D2-0691ECE02B42}"/>
              </a:ext>
            </a:extLst>
          </p:cNvPr>
          <p:cNvSpPr>
            <a:spLocks noGrp="1"/>
          </p:cNvSpPr>
          <p:nvPr>
            <p:ph type="body" sz="half" idx="2" hasCustomPrompt="1"/>
          </p:nvPr>
        </p:nvSpPr>
        <p:spPr>
          <a:xfrm>
            <a:off x="514800" y="1376362"/>
            <a:ext cx="5436738" cy="4968876"/>
          </a:xfrm>
        </p:spPr>
        <p:txBody>
          <a:bodyP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noProof="0"/>
              <a:t>Add content</a:t>
            </a:r>
          </a:p>
        </p:txBody>
      </p:sp>
      <p:sp>
        <p:nvSpPr>
          <p:cNvPr id="5" name="Pladsholder til dato 4">
            <a:extLst>
              <a:ext uri="{FF2B5EF4-FFF2-40B4-BE49-F238E27FC236}">
                <a16:creationId xmlns:a16="http://schemas.microsoft.com/office/drawing/2014/main" id="{C1063DE5-C438-425D-9D21-D8E9A373DAF8}"/>
              </a:ext>
            </a:extLst>
          </p:cNvPr>
          <p:cNvSpPr>
            <a:spLocks noGrp="1"/>
          </p:cNvSpPr>
          <p:nvPr>
            <p:ph type="dt" sz="half" idx="10"/>
          </p:nvPr>
        </p:nvSpPr>
        <p:spPr/>
        <p:txBody>
          <a:bodyPr/>
          <a:lstStyle/>
          <a:p>
            <a:fld id="{65EFFBCB-3A2E-46AB-9574-82A9AA71B8D7}" type="datetime4">
              <a:rPr lang="en-GB" smtClean="0"/>
              <a:t>12 February 2024</a:t>
            </a:fld>
            <a:endParaRPr lang="en-GB"/>
          </a:p>
        </p:txBody>
      </p:sp>
      <p:sp>
        <p:nvSpPr>
          <p:cNvPr id="7" name="Pladsholder til slidenummer 6">
            <a:extLst>
              <a:ext uri="{FF2B5EF4-FFF2-40B4-BE49-F238E27FC236}">
                <a16:creationId xmlns:a16="http://schemas.microsoft.com/office/drawing/2014/main" id="{70440D71-0929-4526-89FF-11702F1837BA}"/>
              </a:ext>
            </a:extLst>
          </p:cNvPr>
          <p:cNvSpPr>
            <a:spLocks noGrp="1"/>
          </p:cNvSpPr>
          <p:nvPr>
            <p:ph type="sldNum" sz="quarter" idx="12"/>
          </p:nvPr>
        </p:nvSpPr>
        <p:spPr/>
        <p:txBody>
          <a:bodyPr/>
          <a:lstStyle/>
          <a:p>
            <a:fld id="{EA97C5ED-C1DE-4316-8FCE-7E084E7B171C}" type="slidenum">
              <a:rPr lang="en-GB" smtClean="0"/>
              <a:t>‹#›</a:t>
            </a:fld>
            <a:endParaRPr lang="en-GB"/>
          </a:p>
        </p:txBody>
      </p:sp>
      <p:sp>
        <p:nvSpPr>
          <p:cNvPr id="12" name="Pladsholder til tekst 9">
            <a:extLst>
              <a:ext uri="{FF2B5EF4-FFF2-40B4-BE49-F238E27FC236}">
                <a16:creationId xmlns:a16="http://schemas.microsoft.com/office/drawing/2014/main" id="{2DF67386-C449-4773-98FA-E90C87B008C1}"/>
              </a:ext>
            </a:extLst>
          </p:cNvPr>
          <p:cNvSpPr>
            <a:spLocks noGrp="1"/>
          </p:cNvSpPr>
          <p:nvPr>
            <p:ph type="body" sz="quarter" idx="13" hasCustomPrompt="1"/>
          </p:nvPr>
        </p:nvSpPr>
        <p:spPr>
          <a:xfrm>
            <a:off x="514800" y="900000"/>
            <a:ext cx="5436738" cy="223374"/>
          </a:xfrm>
        </p:spPr>
        <p:txBody>
          <a:bodyPr wrap="none" tIns="0" bIns="0" anchor="b">
            <a:noAutofit/>
          </a:bodyPr>
          <a:lstStyle>
            <a:lvl1pPr marL="0" indent="0">
              <a:buFontTx/>
              <a:buNone/>
              <a:defRPr sz="1400" b="1">
                <a:solidFill>
                  <a:schemeClr val="tx2"/>
                </a:solidFill>
                <a:latin typeface="Roboto" panose="02000000000000000000" pitchFamily="2" charset="0"/>
                <a:ea typeface="Roboto" panose="02000000000000000000" pitchFamily="2" charset="0"/>
                <a:cs typeface="Roboto Black" panose="02000000000000000000" pitchFamily="2" charset="0"/>
              </a:defRPr>
            </a:lvl1pPr>
            <a:lvl2pPr marL="457200" indent="0">
              <a:buFontTx/>
              <a:buNone/>
              <a:defRPr>
                <a:solidFill>
                  <a:schemeClr val="tx2"/>
                </a:solidFill>
              </a:defRPr>
            </a:lvl2pPr>
            <a:lvl3pPr marL="914400" indent="0">
              <a:buFontTx/>
              <a:buNone/>
              <a:defRPr>
                <a:solidFill>
                  <a:schemeClr val="tx2"/>
                </a:solidFill>
              </a:defRPr>
            </a:lvl3pPr>
            <a:lvl4pPr marL="1371600" indent="0">
              <a:buFontTx/>
              <a:buNone/>
              <a:defRPr>
                <a:solidFill>
                  <a:schemeClr val="tx2"/>
                </a:solidFill>
              </a:defRPr>
            </a:lvl4pPr>
            <a:lvl5pPr marL="1828800" indent="0">
              <a:buFontTx/>
              <a:buNone/>
              <a:defRPr>
                <a:solidFill>
                  <a:schemeClr val="tx2"/>
                </a:solidFill>
              </a:defRPr>
            </a:lvl5pPr>
          </a:lstStyle>
          <a:p>
            <a:pPr lvl="0"/>
            <a:r>
              <a:rPr lang="en-GB" noProof="0"/>
              <a:t>Add subheading</a:t>
            </a:r>
          </a:p>
        </p:txBody>
      </p:sp>
      <p:pic>
        <p:nvPicPr>
          <p:cNvPr id="10" name="Picture 9" descr="Logo, icon&#10;&#10;Description automatically generated">
            <a:extLst>
              <a:ext uri="{FF2B5EF4-FFF2-40B4-BE49-F238E27FC236}">
                <a16:creationId xmlns:a16="http://schemas.microsoft.com/office/drawing/2014/main" id="{2D6C80CE-1A05-09E7-A60F-EB8257CB234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87958" y="6560348"/>
            <a:ext cx="863707" cy="195758"/>
          </a:xfrm>
          <a:prstGeom prst="rect">
            <a:avLst/>
          </a:prstGeom>
        </p:spPr>
      </p:pic>
    </p:spTree>
    <p:extLst>
      <p:ext uri="{BB962C8B-B14F-4D97-AF65-F5344CB8AC3E}">
        <p14:creationId xmlns:p14="http://schemas.microsoft.com/office/powerpoint/2010/main" val="2658992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2/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7325" y="256554"/>
            <a:ext cx="11594456" cy="731737"/>
          </a:xfrm>
          <a:prstGeom prst="rect">
            <a:avLst/>
          </a:prstGeom>
        </p:spPr>
        <p:txBody>
          <a:bodyPr/>
          <a:lstStyle>
            <a:lvl1pPr>
              <a:defRPr/>
            </a:lvl1pPr>
          </a:lstStyle>
          <a:p>
            <a:r>
              <a:rPr lang="en-US"/>
              <a:t>Title</a:t>
            </a:r>
            <a:endParaRPr lang="en-GB"/>
          </a:p>
        </p:txBody>
      </p:sp>
      <p:sp>
        <p:nvSpPr>
          <p:cNvPr id="4" name="Text Placeholder 3"/>
          <p:cNvSpPr>
            <a:spLocks noGrp="1"/>
          </p:cNvSpPr>
          <p:nvPr>
            <p:ph type="body" sz="quarter" idx="10"/>
          </p:nvPr>
        </p:nvSpPr>
        <p:spPr>
          <a:xfrm>
            <a:off x="233334" y="1240286"/>
            <a:ext cx="11561503" cy="5299060"/>
          </a:xfrm>
          <a:prstGeom prst="rect">
            <a:avLst/>
          </a:prstGeom>
        </p:spPr>
        <p:txBody>
          <a:bodyPr/>
          <a:lstStyle>
            <a:lvl1pPr>
              <a:defRPr sz="3200" b="1"/>
            </a:lvl1pPr>
            <a:lvl2pPr marL="634984" indent="-317492">
              <a:buFont typeface="Courier New" panose="02070309020205020404" pitchFamily="49" charset="0"/>
              <a:buChar char="o"/>
              <a:defRPr/>
            </a:lvl2pPr>
            <a:lvl3pPr marL="952476" indent="-317492">
              <a:buFont typeface="Courier New" panose="02070309020205020404" pitchFamily="49" charset="0"/>
              <a:buChar char="o"/>
              <a:defRPr/>
            </a:lvl3pPr>
            <a:lvl4pPr marL="1269968" indent="-317492">
              <a:buFont typeface="Courier New" panose="02070309020205020404" pitchFamily="49" charset="0"/>
              <a:buChar char="o"/>
              <a:defRPr/>
            </a:lvl4pPr>
            <a:lvl5pPr marL="1587460" indent="-317492">
              <a:buFont typeface="Courier New" panose="02070309020205020404" pitchFamily="49" charset="0"/>
              <a:buChar char="o"/>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04920941"/>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Logo - Light">
    <p:bg>
      <p:bgPr>
        <a:solidFill>
          <a:srgbClr val="ECECED"/>
        </a:solidFill>
        <a:effectLst/>
      </p:bgPr>
    </p:bg>
    <p:spTree>
      <p:nvGrpSpPr>
        <p:cNvPr id="1" name=""/>
        <p:cNvGrpSpPr/>
        <p:nvPr/>
      </p:nvGrpSpPr>
      <p:grpSpPr>
        <a:xfrm>
          <a:off x="0" y="0"/>
          <a:ext cx="0" cy="0"/>
          <a:chOff x="0" y="0"/>
          <a:chExt cx="0" cy="0"/>
        </a:xfrm>
      </p:grpSpPr>
      <p:pic>
        <p:nvPicPr>
          <p:cNvPr id="3" name="Picture 2" descr="A group of people standing in a room&#10;&#10;Description automatically generated">
            <a:extLst>
              <a:ext uri="{FF2B5EF4-FFF2-40B4-BE49-F238E27FC236}">
                <a16:creationId xmlns:a16="http://schemas.microsoft.com/office/drawing/2014/main" id="{B16A2D59-A331-721E-290E-5CF2CC02AA44}"/>
              </a:ext>
            </a:extLst>
          </p:cNvPr>
          <p:cNvPicPr>
            <a:picLocks/>
          </p:cNvPicPr>
          <p:nvPr/>
        </p:nvPicPr>
        <p:blipFill>
          <a:blip r:embed="rId2" cstate="email">
            <a:extLst>
              <a:ext uri="{28A0092B-C50C-407E-A947-70E740481C1C}">
                <a14:useLocalDpi xmlns:a14="http://schemas.microsoft.com/office/drawing/2010/main"/>
              </a:ext>
            </a:extLst>
          </a:blip>
          <a:srcRect/>
          <a:stretch>
            <a:fillRect/>
          </a:stretch>
        </p:blipFill>
        <p:spPr>
          <a:xfrm>
            <a:off x="-1" y="0"/>
            <a:ext cx="12190729" cy="6858000"/>
          </a:xfrm>
          <a:prstGeom prst="rect">
            <a:avLst/>
          </a:prstGeom>
        </p:spPr>
      </p:pic>
      <p:pic>
        <p:nvPicPr>
          <p:cNvPr id="4" name="Picture 3">
            <a:extLst>
              <a:ext uri="{FF2B5EF4-FFF2-40B4-BE49-F238E27FC236}">
                <a16:creationId xmlns:a16="http://schemas.microsoft.com/office/drawing/2014/main" id="{45754088-EB3B-DF70-FC14-3CA35557C2D0}"/>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7203291" y="1501140"/>
            <a:ext cx="2298677" cy="3855720"/>
          </a:xfrm>
          <a:prstGeom prst="rect">
            <a:avLst/>
          </a:prstGeom>
        </p:spPr>
      </p:pic>
    </p:spTree>
    <p:extLst>
      <p:ext uri="{BB962C8B-B14F-4D97-AF65-F5344CB8AC3E}">
        <p14:creationId xmlns:p14="http://schemas.microsoft.com/office/powerpoint/2010/main" val="34330198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Presentation Title + Image - Light">
    <p:bg>
      <p:bgPr>
        <a:solidFill>
          <a:srgbClr val="ECECE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009710-6EB2-4931-A331-58D092BCD222}"/>
              </a:ext>
            </a:extLst>
          </p:cNvPr>
          <p:cNvSpPr>
            <a:spLocks noGrp="1"/>
          </p:cNvSpPr>
          <p:nvPr>
            <p:ph type="ctrTitle" hasCustomPrompt="1"/>
          </p:nvPr>
        </p:nvSpPr>
        <p:spPr>
          <a:xfrm>
            <a:off x="919035" y="2619190"/>
            <a:ext cx="5430285" cy="1452705"/>
          </a:xfrm>
          <a:ln>
            <a:noFill/>
          </a:ln>
        </p:spPr>
        <p:txBody>
          <a:bodyPr wrap="square" tIns="0" anchor="t" anchorCtr="0">
            <a:spAutoFit/>
          </a:bodyPr>
          <a:lstStyle>
            <a:lvl1pPr algn="l">
              <a:lnSpc>
                <a:spcPct val="78000"/>
              </a:lnSpc>
              <a:spcBef>
                <a:spcPts val="0"/>
              </a:spcBef>
              <a:defRPr sz="6000" kern="0" cap="all" spc="-150" baseline="0">
                <a:solidFill>
                  <a:schemeClr val="tx2"/>
                </a:solidFill>
              </a:defRPr>
            </a:lvl1pPr>
          </a:lstStyle>
          <a:p>
            <a:r>
              <a:rPr lang="en-GB" noProof="0"/>
              <a:t>Presentation Title</a:t>
            </a:r>
          </a:p>
        </p:txBody>
      </p:sp>
      <p:sp>
        <p:nvSpPr>
          <p:cNvPr id="3" name="Undertitel 2">
            <a:extLst>
              <a:ext uri="{FF2B5EF4-FFF2-40B4-BE49-F238E27FC236}">
                <a16:creationId xmlns:a16="http://schemas.microsoft.com/office/drawing/2014/main" id="{06FD948C-2AC3-4DD4-857A-469378D98AEE}"/>
              </a:ext>
            </a:extLst>
          </p:cNvPr>
          <p:cNvSpPr>
            <a:spLocks noGrp="1"/>
          </p:cNvSpPr>
          <p:nvPr>
            <p:ph type="subTitle" idx="1"/>
          </p:nvPr>
        </p:nvSpPr>
        <p:spPr>
          <a:xfrm>
            <a:off x="804735" y="1908057"/>
            <a:ext cx="5544585" cy="588774"/>
          </a:xfrm>
          <a:ln w="34925">
            <a:noFill/>
            <a:miter lim="800000"/>
          </a:ln>
        </p:spPr>
        <p:txBody>
          <a:bodyPr wrap="square" lIns="0" tIns="0" rIns="0" bIns="0" anchor="ctr" anchorCtr="0">
            <a:noAutofit/>
          </a:bodyPr>
          <a:lstStyle>
            <a:lvl1pPr marL="144000" indent="0" algn="l">
              <a:lnSpc>
                <a:spcPct val="80000"/>
              </a:lnSpc>
              <a:spcBef>
                <a:spcPts val="0"/>
              </a:spcBef>
              <a:buNone/>
              <a:defRPr sz="2000" cap="all" spc="100" baseline="0">
                <a:solidFill>
                  <a:schemeClr val="accent3"/>
                </a:solidFill>
                <a:latin typeface="Roboto Black" panose="02000000000000000000" pitchFamily="2" charset="0"/>
                <a:ea typeface="Roboto Black" panose="02000000000000000000" pitchFamily="2" charset="0"/>
                <a:cs typeface="Roboto Black" panose="020000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GB" noProof="0"/>
          </a:p>
        </p:txBody>
      </p:sp>
      <p:pic>
        <p:nvPicPr>
          <p:cNvPr id="10" name="Picture 9">
            <a:extLst>
              <a:ext uri="{FF2B5EF4-FFF2-40B4-BE49-F238E27FC236}">
                <a16:creationId xmlns:a16="http://schemas.microsoft.com/office/drawing/2014/main" id="{E19B9783-072D-6042-A908-BF79AB938F81}"/>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545484" y="607320"/>
            <a:ext cx="3264909" cy="5476445"/>
          </a:xfrm>
          <a:prstGeom prst="rect">
            <a:avLst/>
          </a:prstGeom>
        </p:spPr>
      </p:pic>
      <p:pic>
        <p:nvPicPr>
          <p:cNvPr id="6" name="Golden section" hidden="1">
            <a:extLst>
              <a:ext uri="{FF2B5EF4-FFF2-40B4-BE49-F238E27FC236}">
                <a16:creationId xmlns:a16="http://schemas.microsoft.com/office/drawing/2014/main" id="{E1D14AA9-FFAD-77FE-BB4D-5F801F4D6C8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flipH="1">
            <a:off x="566351" y="-9184"/>
            <a:ext cx="11074106" cy="6867183"/>
          </a:xfrm>
          <a:prstGeom prst="rect">
            <a:avLst/>
          </a:prstGeom>
        </p:spPr>
      </p:pic>
      <p:pic>
        <p:nvPicPr>
          <p:cNvPr id="7" name="Golden section" hidden="1">
            <a:extLst>
              <a:ext uri="{FF2B5EF4-FFF2-40B4-BE49-F238E27FC236}">
                <a16:creationId xmlns:a16="http://schemas.microsoft.com/office/drawing/2014/main" id="{8E7A205B-DC1D-ED1D-C203-AFF8D07FB7E2}"/>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flipH="1">
            <a:off x="566351" y="-9184"/>
            <a:ext cx="11074106" cy="6867183"/>
          </a:xfrm>
          <a:prstGeom prst="rect">
            <a:avLst/>
          </a:prstGeom>
        </p:spPr>
      </p:pic>
      <p:pic>
        <p:nvPicPr>
          <p:cNvPr id="9" name="Picture 8">
            <a:extLst>
              <a:ext uri="{FF2B5EF4-FFF2-40B4-BE49-F238E27FC236}">
                <a16:creationId xmlns:a16="http://schemas.microsoft.com/office/drawing/2014/main" id="{38A9AB2B-BE1D-38E6-852B-1022D2DCF017}"/>
              </a:ext>
            </a:extLst>
          </p:cNvPr>
          <p:cNvPicPr>
            <a:picLocks/>
          </p:cNvPicPr>
          <p:nvPr userDrawn="1"/>
        </p:nvPicPr>
        <p:blipFill rotWithShape="1">
          <a:blip r:embed="rId5" cstate="email">
            <a:extLst>
              <a:ext uri="{28A0092B-C50C-407E-A947-70E740481C1C}">
                <a14:useLocalDpi xmlns:a14="http://schemas.microsoft.com/office/drawing/2010/main"/>
              </a:ext>
            </a:extLst>
          </a:blip>
          <a:srcRect/>
          <a:stretch/>
        </p:blipFill>
        <p:spPr>
          <a:xfrm>
            <a:off x="982535" y="0"/>
            <a:ext cx="1612901" cy="711200"/>
          </a:xfrm>
          <a:prstGeom prst="rect">
            <a:avLst/>
          </a:prstGeom>
        </p:spPr>
      </p:pic>
      <p:grpSp>
        <p:nvGrpSpPr>
          <p:cNvPr id="20" name="Group 19" hidden="1">
            <a:extLst>
              <a:ext uri="{FF2B5EF4-FFF2-40B4-BE49-F238E27FC236}">
                <a16:creationId xmlns:a16="http://schemas.microsoft.com/office/drawing/2014/main" id="{4258D74C-FA5E-DFDA-63C8-3D06ECBDD806}"/>
              </a:ext>
            </a:extLst>
          </p:cNvPr>
          <p:cNvGrpSpPr/>
          <p:nvPr userDrawn="1"/>
        </p:nvGrpSpPr>
        <p:grpSpPr>
          <a:xfrm>
            <a:off x="-1043609" y="3154366"/>
            <a:ext cx="14690035" cy="1179095"/>
            <a:chOff x="-1043609" y="3154366"/>
            <a:chExt cx="14690035" cy="1179095"/>
          </a:xfrm>
        </p:grpSpPr>
        <p:cxnSp>
          <p:nvCxnSpPr>
            <p:cNvPr id="11" name="Straight Connector 10">
              <a:extLst>
                <a:ext uri="{FF2B5EF4-FFF2-40B4-BE49-F238E27FC236}">
                  <a16:creationId xmlns:a16="http://schemas.microsoft.com/office/drawing/2014/main" id="{15D42186-447A-7DC6-B136-40B902E6A57B}"/>
                </a:ext>
              </a:extLst>
            </p:cNvPr>
            <p:cNvCxnSpPr>
              <a:cxnSpLocks/>
            </p:cNvCxnSpPr>
            <p:nvPr userDrawn="1"/>
          </p:nvCxnSpPr>
          <p:spPr>
            <a:xfrm>
              <a:off x="-1043609" y="3861747"/>
              <a:ext cx="14690035" cy="0"/>
            </a:xfrm>
            <a:prstGeom prst="line">
              <a:avLst/>
            </a:prstGeom>
            <a:ln>
              <a:solidFill>
                <a:schemeClr val="tx2"/>
              </a:solidFill>
            </a:ln>
          </p:spPr>
          <p:style>
            <a:lnRef idx="1">
              <a:schemeClr val="accent2"/>
            </a:lnRef>
            <a:fillRef idx="0">
              <a:schemeClr val="accent2"/>
            </a:fillRef>
            <a:effectRef idx="0">
              <a:schemeClr val="accent2"/>
            </a:effectRef>
            <a:fontRef idx="minor">
              <a:schemeClr val="tx1"/>
            </a:fontRef>
          </p:style>
        </p:cxnSp>
        <p:cxnSp>
          <p:nvCxnSpPr>
            <p:cNvPr id="12" name="Straight Connector 11">
              <a:extLst>
                <a:ext uri="{FF2B5EF4-FFF2-40B4-BE49-F238E27FC236}">
                  <a16:creationId xmlns:a16="http://schemas.microsoft.com/office/drawing/2014/main" id="{D0CBCAD7-5ED4-F8FA-356C-3B5C8D747842}"/>
                </a:ext>
              </a:extLst>
            </p:cNvPr>
            <p:cNvCxnSpPr/>
            <p:nvPr userDrawn="1"/>
          </p:nvCxnSpPr>
          <p:spPr>
            <a:xfrm>
              <a:off x="-1043609" y="4333461"/>
              <a:ext cx="14690035" cy="0"/>
            </a:xfrm>
            <a:prstGeom prst="line">
              <a:avLst/>
            </a:prstGeom>
            <a:ln>
              <a:solidFill>
                <a:schemeClr val="tx2"/>
              </a:solidFill>
            </a:ln>
          </p:spPr>
          <p:style>
            <a:lnRef idx="1">
              <a:schemeClr val="accent2"/>
            </a:lnRef>
            <a:fillRef idx="0">
              <a:schemeClr val="accent2"/>
            </a:fillRef>
            <a:effectRef idx="0">
              <a:schemeClr val="accent2"/>
            </a:effectRef>
            <a:fontRef idx="minor">
              <a:schemeClr val="tx1"/>
            </a:fontRef>
          </p:style>
        </p:cxnSp>
        <p:cxnSp>
          <p:nvCxnSpPr>
            <p:cNvPr id="13" name="Straight Connector 12">
              <a:extLst>
                <a:ext uri="{FF2B5EF4-FFF2-40B4-BE49-F238E27FC236}">
                  <a16:creationId xmlns:a16="http://schemas.microsoft.com/office/drawing/2014/main" id="{F65DA814-6AD4-454B-7F9A-77DF8EE2F5D3}"/>
                </a:ext>
              </a:extLst>
            </p:cNvPr>
            <p:cNvCxnSpPr/>
            <p:nvPr userDrawn="1"/>
          </p:nvCxnSpPr>
          <p:spPr>
            <a:xfrm>
              <a:off x="-1043609" y="3154366"/>
              <a:ext cx="14690035" cy="0"/>
            </a:xfrm>
            <a:prstGeom prst="line">
              <a:avLst/>
            </a:prstGeom>
            <a:ln>
              <a:solidFill>
                <a:schemeClr val="tx2"/>
              </a:solidFill>
            </a:ln>
          </p:spPr>
          <p:style>
            <a:lnRef idx="1">
              <a:schemeClr val="accent2"/>
            </a:lnRef>
            <a:fillRef idx="0">
              <a:schemeClr val="accent2"/>
            </a:fillRef>
            <a:effectRef idx="0">
              <a:schemeClr val="accent2"/>
            </a:effectRef>
            <a:fontRef idx="minor">
              <a:schemeClr val="tx1"/>
            </a:fontRef>
          </p:style>
        </p:cxnSp>
        <p:cxnSp>
          <p:nvCxnSpPr>
            <p:cNvPr id="14" name="Straight Connector 13">
              <a:extLst>
                <a:ext uri="{FF2B5EF4-FFF2-40B4-BE49-F238E27FC236}">
                  <a16:creationId xmlns:a16="http://schemas.microsoft.com/office/drawing/2014/main" id="{660470C9-099A-084E-A30A-1491AF5661C0}"/>
                </a:ext>
              </a:extLst>
            </p:cNvPr>
            <p:cNvCxnSpPr/>
            <p:nvPr userDrawn="1"/>
          </p:nvCxnSpPr>
          <p:spPr>
            <a:xfrm>
              <a:off x="-1043609" y="3627783"/>
              <a:ext cx="14690035" cy="0"/>
            </a:xfrm>
            <a:prstGeom prst="line">
              <a:avLst/>
            </a:prstGeom>
            <a:ln>
              <a:solidFill>
                <a:schemeClr val="tx2"/>
              </a:solidFill>
            </a:ln>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16153789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Presentation Title + Image - Light 2">
    <p:bg>
      <p:bgPr>
        <a:solidFill>
          <a:srgbClr val="ECECE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009710-6EB2-4931-A331-58D092BCD222}"/>
              </a:ext>
            </a:extLst>
          </p:cNvPr>
          <p:cNvSpPr>
            <a:spLocks noGrp="1"/>
          </p:cNvSpPr>
          <p:nvPr>
            <p:ph type="ctrTitle" hasCustomPrompt="1"/>
          </p:nvPr>
        </p:nvSpPr>
        <p:spPr>
          <a:xfrm>
            <a:off x="919035" y="2619190"/>
            <a:ext cx="5430285" cy="1452705"/>
          </a:xfrm>
        </p:spPr>
        <p:txBody>
          <a:bodyPr wrap="square" tIns="0" anchor="t" anchorCtr="0">
            <a:spAutoFit/>
          </a:bodyPr>
          <a:lstStyle>
            <a:lvl1pPr algn="l">
              <a:lnSpc>
                <a:spcPct val="78000"/>
              </a:lnSpc>
              <a:spcBef>
                <a:spcPts val="0"/>
              </a:spcBef>
              <a:defRPr sz="6000" kern="0" cap="all" spc="-150" baseline="0">
                <a:solidFill>
                  <a:schemeClr val="tx2"/>
                </a:solidFill>
              </a:defRPr>
            </a:lvl1pPr>
          </a:lstStyle>
          <a:p>
            <a:r>
              <a:rPr lang="en-GB" noProof="0"/>
              <a:t>Presentation Title</a:t>
            </a:r>
          </a:p>
        </p:txBody>
      </p:sp>
      <p:sp>
        <p:nvSpPr>
          <p:cNvPr id="3" name="Undertitel 2">
            <a:extLst>
              <a:ext uri="{FF2B5EF4-FFF2-40B4-BE49-F238E27FC236}">
                <a16:creationId xmlns:a16="http://schemas.microsoft.com/office/drawing/2014/main" id="{06FD948C-2AC3-4DD4-857A-469378D98AEE}"/>
              </a:ext>
            </a:extLst>
          </p:cNvPr>
          <p:cNvSpPr>
            <a:spLocks noGrp="1"/>
          </p:cNvSpPr>
          <p:nvPr>
            <p:ph type="subTitle" idx="1"/>
          </p:nvPr>
        </p:nvSpPr>
        <p:spPr>
          <a:xfrm>
            <a:off x="804735" y="1908057"/>
            <a:ext cx="5544585" cy="588774"/>
          </a:xfrm>
          <a:ln w="34925">
            <a:noFill/>
            <a:miter lim="800000"/>
          </a:ln>
        </p:spPr>
        <p:txBody>
          <a:bodyPr wrap="square" lIns="0" tIns="0" rIns="0" bIns="0" anchor="ctr" anchorCtr="0">
            <a:noAutofit/>
          </a:bodyPr>
          <a:lstStyle>
            <a:lvl1pPr marL="144000" indent="0" algn="l">
              <a:lnSpc>
                <a:spcPct val="80000"/>
              </a:lnSpc>
              <a:spcBef>
                <a:spcPts val="0"/>
              </a:spcBef>
              <a:buNone/>
              <a:defRPr sz="2000" cap="all" spc="100" baseline="0">
                <a:solidFill>
                  <a:schemeClr val="accent3"/>
                </a:solidFill>
                <a:latin typeface="Roboto Black" panose="02000000000000000000" pitchFamily="2" charset="0"/>
                <a:ea typeface="Roboto Black" panose="02000000000000000000" pitchFamily="2" charset="0"/>
                <a:cs typeface="Roboto Black" panose="020000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GB" noProof="0"/>
          </a:p>
        </p:txBody>
      </p:sp>
      <p:pic>
        <p:nvPicPr>
          <p:cNvPr id="7" name="Golden section" hidden="1">
            <a:extLst>
              <a:ext uri="{FF2B5EF4-FFF2-40B4-BE49-F238E27FC236}">
                <a16:creationId xmlns:a16="http://schemas.microsoft.com/office/drawing/2014/main" id="{3971EFB2-3D90-170A-B0B8-4694DECA94D4}"/>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flipH="1">
            <a:off x="566351" y="-9184"/>
            <a:ext cx="11074106" cy="6867183"/>
          </a:xfrm>
          <a:prstGeom prst="rect">
            <a:avLst/>
          </a:prstGeom>
        </p:spPr>
      </p:pic>
      <p:pic>
        <p:nvPicPr>
          <p:cNvPr id="9" name="Picture 8">
            <a:extLst>
              <a:ext uri="{FF2B5EF4-FFF2-40B4-BE49-F238E27FC236}">
                <a16:creationId xmlns:a16="http://schemas.microsoft.com/office/drawing/2014/main" id="{2EB03BB7-0054-38FF-D0CA-68F6C23DA6EF}"/>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7521273" y="607320"/>
            <a:ext cx="3289121" cy="5469626"/>
          </a:xfrm>
          <a:prstGeom prst="rect">
            <a:avLst/>
          </a:prstGeom>
        </p:spPr>
      </p:pic>
      <p:pic>
        <p:nvPicPr>
          <p:cNvPr id="10" name="Picture 9">
            <a:extLst>
              <a:ext uri="{FF2B5EF4-FFF2-40B4-BE49-F238E27FC236}">
                <a16:creationId xmlns:a16="http://schemas.microsoft.com/office/drawing/2014/main" id="{E22022CC-E3C4-1CF2-4742-1076A16DAF36}"/>
              </a:ext>
            </a:extLst>
          </p:cNvPr>
          <p:cNvPicPr>
            <a:picLocks/>
          </p:cNvPicPr>
          <p:nvPr userDrawn="1"/>
        </p:nvPicPr>
        <p:blipFill rotWithShape="1">
          <a:blip r:embed="rId5" cstate="email">
            <a:extLst>
              <a:ext uri="{28A0092B-C50C-407E-A947-70E740481C1C}">
                <a14:useLocalDpi xmlns:a14="http://schemas.microsoft.com/office/drawing/2010/main"/>
              </a:ext>
            </a:extLst>
          </a:blip>
          <a:srcRect/>
          <a:stretch/>
        </p:blipFill>
        <p:spPr>
          <a:xfrm>
            <a:off x="982535" y="0"/>
            <a:ext cx="1612901" cy="711200"/>
          </a:xfrm>
          <a:prstGeom prst="rect">
            <a:avLst/>
          </a:prstGeom>
        </p:spPr>
      </p:pic>
    </p:spTree>
    <p:extLst>
      <p:ext uri="{BB962C8B-B14F-4D97-AF65-F5344CB8AC3E}">
        <p14:creationId xmlns:p14="http://schemas.microsoft.com/office/powerpoint/2010/main" val="22014762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Agenda - Light">
    <p:bg>
      <p:bgPr>
        <a:solidFill>
          <a:srgbClr val="ECECED"/>
        </a:solidFill>
        <a:effectLst/>
      </p:bgPr>
    </p:bg>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214B11AB-8749-416D-8468-470F1B5C9291}"/>
              </a:ext>
            </a:extLst>
          </p:cNvPr>
          <p:cNvSpPr/>
          <p:nvPr/>
        </p:nvSpPr>
        <p:spPr>
          <a:xfrm>
            <a:off x="0" y="6453188"/>
            <a:ext cx="12192000" cy="404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el 1">
            <a:extLst>
              <a:ext uri="{FF2B5EF4-FFF2-40B4-BE49-F238E27FC236}">
                <a16:creationId xmlns:a16="http://schemas.microsoft.com/office/drawing/2014/main" id="{C32FDDF6-7353-44A5-8CBA-AF6FAA71A05A}"/>
              </a:ext>
            </a:extLst>
          </p:cNvPr>
          <p:cNvSpPr>
            <a:spLocks noGrp="1"/>
          </p:cNvSpPr>
          <p:nvPr>
            <p:ph type="title" hasCustomPrompt="1"/>
          </p:nvPr>
        </p:nvSpPr>
        <p:spPr>
          <a:xfrm>
            <a:off x="515937" y="685998"/>
            <a:ext cx="10583863" cy="554400"/>
          </a:xfrm>
        </p:spPr>
        <p:txBody>
          <a:bodyPr anchor="t" anchorCtr="0">
            <a:noAutofit/>
          </a:bodyPr>
          <a:lstStyle>
            <a:lvl1pPr>
              <a:defRPr sz="3600">
                <a:solidFill>
                  <a:schemeClr val="tx2"/>
                </a:solidFill>
              </a:defRPr>
            </a:lvl1pPr>
          </a:lstStyle>
          <a:p>
            <a:r>
              <a:rPr lang="en-GB" noProof="0"/>
              <a:t>Add agenda headline</a:t>
            </a:r>
          </a:p>
        </p:txBody>
      </p:sp>
      <p:sp>
        <p:nvSpPr>
          <p:cNvPr id="9" name="Pladsholder til tekst 8">
            <a:extLst>
              <a:ext uri="{FF2B5EF4-FFF2-40B4-BE49-F238E27FC236}">
                <a16:creationId xmlns:a16="http://schemas.microsoft.com/office/drawing/2014/main" id="{9059F79E-73C5-4AE5-967E-1E91C79540CD}"/>
              </a:ext>
            </a:extLst>
          </p:cNvPr>
          <p:cNvSpPr>
            <a:spLocks noGrp="1"/>
          </p:cNvSpPr>
          <p:nvPr>
            <p:ph type="body" sz="quarter" idx="13" hasCustomPrompt="1"/>
          </p:nvPr>
        </p:nvSpPr>
        <p:spPr>
          <a:xfrm>
            <a:off x="529752" y="1746350"/>
            <a:ext cx="576000" cy="576000"/>
          </a:xfrm>
          <a:ln w="34925">
            <a:solidFill>
              <a:schemeClr val="accent3"/>
            </a:solidFill>
            <a:miter lim="800000"/>
          </a:ln>
        </p:spPr>
        <p:txBody>
          <a:bodyPr lIns="72000" tIns="72000" rIns="72000" bIns="72000" anchor="ctr">
            <a:noAutofit/>
          </a:bodyPr>
          <a:lstStyle>
            <a:lvl1pPr marL="0" indent="0" algn="ctr">
              <a:buFontTx/>
              <a:buNone/>
              <a:defRPr sz="2000">
                <a:solidFill>
                  <a:schemeClr val="accent3"/>
                </a:solidFill>
                <a:latin typeface="Roboto Black" panose="02000000000000000000" pitchFamily="2" charset="0"/>
                <a:ea typeface="Roboto Black" panose="02000000000000000000" pitchFamily="2" charset="0"/>
              </a:defRPr>
            </a:lvl1pPr>
          </a:lstStyle>
          <a:p>
            <a:pPr lvl="0"/>
            <a:r>
              <a:rPr lang="en-GB"/>
              <a:t>#</a:t>
            </a:r>
          </a:p>
        </p:txBody>
      </p:sp>
      <p:sp>
        <p:nvSpPr>
          <p:cNvPr id="11" name="Pladsholder til tekst 10">
            <a:extLst>
              <a:ext uri="{FF2B5EF4-FFF2-40B4-BE49-F238E27FC236}">
                <a16:creationId xmlns:a16="http://schemas.microsoft.com/office/drawing/2014/main" id="{18876CB6-7AC4-4DBB-9E9F-5176278B3767}"/>
              </a:ext>
            </a:extLst>
          </p:cNvPr>
          <p:cNvSpPr>
            <a:spLocks noGrp="1"/>
          </p:cNvSpPr>
          <p:nvPr>
            <p:ph type="body" sz="quarter" idx="14" hasCustomPrompt="1"/>
          </p:nvPr>
        </p:nvSpPr>
        <p:spPr>
          <a:xfrm>
            <a:off x="1381500" y="1828283"/>
            <a:ext cx="3885825" cy="439738"/>
          </a:xfrm>
        </p:spPr>
        <p:txBody>
          <a:bodyPr wrap="none">
            <a:noAutofit/>
          </a:bodyPr>
          <a:lstStyle>
            <a:lvl1pPr marL="0" indent="0">
              <a:buFontTx/>
              <a:buNone/>
              <a:defRPr>
                <a:solidFill>
                  <a:schemeClr val="tx1"/>
                </a:solidFill>
              </a:defRPr>
            </a:lvl1pPr>
            <a:lvl2pPr marL="239400" indent="0">
              <a:buFontTx/>
              <a:buNone/>
              <a:defRPr>
                <a:solidFill>
                  <a:schemeClr val="bg1"/>
                </a:solidFill>
              </a:defRPr>
            </a:lvl2pPr>
            <a:lvl3pPr marL="473400" indent="0">
              <a:buFontTx/>
              <a:buNone/>
              <a:defRPr>
                <a:solidFill>
                  <a:schemeClr val="bg1"/>
                </a:solidFill>
              </a:defRPr>
            </a:lvl3pPr>
            <a:lvl4pPr marL="707400" indent="0">
              <a:buFontTx/>
              <a:buNone/>
              <a:defRPr>
                <a:solidFill>
                  <a:schemeClr val="bg1"/>
                </a:solidFill>
              </a:defRPr>
            </a:lvl4pPr>
            <a:lvl5pPr marL="923400" indent="0">
              <a:buFontTx/>
              <a:buNone/>
              <a:defRPr>
                <a:solidFill>
                  <a:schemeClr val="bg1"/>
                </a:solidFill>
              </a:defRPr>
            </a:lvl5pPr>
          </a:lstStyle>
          <a:p>
            <a:pPr lvl="0"/>
            <a:r>
              <a:rPr lang="en-GB" noProof="0"/>
              <a:t>Add text</a:t>
            </a:r>
          </a:p>
        </p:txBody>
      </p:sp>
      <p:sp>
        <p:nvSpPr>
          <p:cNvPr id="12" name="Pladsholder til tekst 8">
            <a:extLst>
              <a:ext uri="{FF2B5EF4-FFF2-40B4-BE49-F238E27FC236}">
                <a16:creationId xmlns:a16="http://schemas.microsoft.com/office/drawing/2014/main" id="{CEEFFFAF-4582-485E-9B37-42AE4F635523}"/>
              </a:ext>
            </a:extLst>
          </p:cNvPr>
          <p:cNvSpPr>
            <a:spLocks noGrp="1"/>
          </p:cNvSpPr>
          <p:nvPr>
            <p:ph type="body" sz="quarter" idx="15" hasCustomPrompt="1"/>
          </p:nvPr>
        </p:nvSpPr>
        <p:spPr>
          <a:xfrm>
            <a:off x="529752" y="2607581"/>
            <a:ext cx="576000" cy="576000"/>
          </a:xfrm>
          <a:ln w="34925">
            <a:solidFill>
              <a:schemeClr val="accent3"/>
            </a:solidFill>
            <a:miter lim="800000"/>
          </a:ln>
        </p:spPr>
        <p:txBody>
          <a:bodyPr lIns="72000" tIns="72000" rIns="72000" bIns="72000" anchor="ctr">
            <a:noAutofit/>
          </a:bodyPr>
          <a:lstStyle>
            <a:lvl1pPr marL="0" indent="0" algn="ctr">
              <a:buFontTx/>
              <a:buNone/>
              <a:defRPr sz="2000">
                <a:solidFill>
                  <a:schemeClr val="accent3"/>
                </a:solidFill>
                <a:latin typeface="Roboto Black" panose="02000000000000000000" pitchFamily="2" charset="0"/>
                <a:ea typeface="Roboto Black" panose="02000000000000000000" pitchFamily="2" charset="0"/>
              </a:defRPr>
            </a:lvl1pPr>
          </a:lstStyle>
          <a:p>
            <a:pPr lvl="0"/>
            <a:r>
              <a:rPr lang="da-DK"/>
              <a:t>#</a:t>
            </a:r>
            <a:endParaRPr lang="en-GB"/>
          </a:p>
        </p:txBody>
      </p:sp>
      <p:sp>
        <p:nvSpPr>
          <p:cNvPr id="13" name="Pladsholder til tekst 10">
            <a:extLst>
              <a:ext uri="{FF2B5EF4-FFF2-40B4-BE49-F238E27FC236}">
                <a16:creationId xmlns:a16="http://schemas.microsoft.com/office/drawing/2014/main" id="{E44E390F-379A-4567-B39F-648D179ED593}"/>
              </a:ext>
            </a:extLst>
          </p:cNvPr>
          <p:cNvSpPr>
            <a:spLocks noGrp="1"/>
          </p:cNvSpPr>
          <p:nvPr>
            <p:ph type="body" sz="quarter" idx="16" hasCustomPrompt="1"/>
          </p:nvPr>
        </p:nvSpPr>
        <p:spPr>
          <a:xfrm>
            <a:off x="1381500" y="2689514"/>
            <a:ext cx="3885825" cy="439738"/>
          </a:xfrm>
        </p:spPr>
        <p:txBody>
          <a:bodyPr wrap="none">
            <a:noAutofit/>
          </a:bodyPr>
          <a:lstStyle>
            <a:lvl1pPr marL="0" indent="0">
              <a:buFontTx/>
              <a:buNone/>
              <a:defRPr>
                <a:solidFill>
                  <a:schemeClr val="tx1"/>
                </a:solidFill>
              </a:defRPr>
            </a:lvl1pPr>
            <a:lvl2pPr marL="239400" indent="0">
              <a:buFontTx/>
              <a:buNone/>
              <a:defRPr>
                <a:solidFill>
                  <a:schemeClr val="bg1"/>
                </a:solidFill>
              </a:defRPr>
            </a:lvl2pPr>
            <a:lvl3pPr marL="473400" indent="0">
              <a:buFontTx/>
              <a:buNone/>
              <a:defRPr>
                <a:solidFill>
                  <a:schemeClr val="bg1"/>
                </a:solidFill>
              </a:defRPr>
            </a:lvl3pPr>
            <a:lvl4pPr marL="707400" indent="0">
              <a:buFontTx/>
              <a:buNone/>
              <a:defRPr>
                <a:solidFill>
                  <a:schemeClr val="bg1"/>
                </a:solidFill>
              </a:defRPr>
            </a:lvl4pPr>
            <a:lvl5pPr marL="923400" indent="0">
              <a:buFontTx/>
              <a:buNone/>
              <a:defRPr>
                <a:solidFill>
                  <a:schemeClr val="bg1"/>
                </a:solidFill>
              </a:defRPr>
            </a:lvl5pPr>
          </a:lstStyle>
          <a:p>
            <a:pPr lvl="0"/>
            <a:r>
              <a:rPr lang="en-GB" noProof="0"/>
              <a:t>Add text</a:t>
            </a:r>
          </a:p>
        </p:txBody>
      </p:sp>
      <p:sp>
        <p:nvSpPr>
          <p:cNvPr id="14" name="Pladsholder til tekst 8">
            <a:extLst>
              <a:ext uri="{FF2B5EF4-FFF2-40B4-BE49-F238E27FC236}">
                <a16:creationId xmlns:a16="http://schemas.microsoft.com/office/drawing/2014/main" id="{C87B3630-829B-4CB4-A701-D93A850754B5}"/>
              </a:ext>
            </a:extLst>
          </p:cNvPr>
          <p:cNvSpPr>
            <a:spLocks noGrp="1"/>
          </p:cNvSpPr>
          <p:nvPr>
            <p:ph type="body" sz="quarter" idx="17" hasCustomPrompt="1"/>
          </p:nvPr>
        </p:nvSpPr>
        <p:spPr>
          <a:xfrm>
            <a:off x="529752" y="3468812"/>
            <a:ext cx="576000" cy="576000"/>
          </a:xfrm>
          <a:ln w="34925">
            <a:solidFill>
              <a:schemeClr val="accent3"/>
            </a:solidFill>
            <a:miter lim="800000"/>
          </a:ln>
        </p:spPr>
        <p:txBody>
          <a:bodyPr lIns="72000" tIns="72000" rIns="72000" bIns="72000" anchor="ctr">
            <a:noAutofit/>
          </a:bodyPr>
          <a:lstStyle>
            <a:lvl1pPr marL="0" indent="0" algn="ctr">
              <a:buFontTx/>
              <a:buNone/>
              <a:defRPr sz="2000">
                <a:solidFill>
                  <a:schemeClr val="accent3"/>
                </a:solidFill>
                <a:latin typeface="Roboto Black" panose="02000000000000000000" pitchFamily="2" charset="0"/>
                <a:ea typeface="Roboto Black" panose="02000000000000000000" pitchFamily="2" charset="0"/>
              </a:defRPr>
            </a:lvl1pPr>
          </a:lstStyle>
          <a:p>
            <a:pPr lvl="0"/>
            <a:r>
              <a:rPr lang="da-DK"/>
              <a:t>#</a:t>
            </a:r>
            <a:endParaRPr lang="en-GB"/>
          </a:p>
        </p:txBody>
      </p:sp>
      <p:sp>
        <p:nvSpPr>
          <p:cNvPr id="15" name="Pladsholder til tekst 10">
            <a:extLst>
              <a:ext uri="{FF2B5EF4-FFF2-40B4-BE49-F238E27FC236}">
                <a16:creationId xmlns:a16="http://schemas.microsoft.com/office/drawing/2014/main" id="{D9B0E734-F44A-4DEC-A77B-4B038B4D6817}"/>
              </a:ext>
            </a:extLst>
          </p:cNvPr>
          <p:cNvSpPr>
            <a:spLocks noGrp="1"/>
          </p:cNvSpPr>
          <p:nvPr>
            <p:ph type="body" sz="quarter" idx="18" hasCustomPrompt="1"/>
          </p:nvPr>
        </p:nvSpPr>
        <p:spPr>
          <a:xfrm>
            <a:off x="1381500" y="3550745"/>
            <a:ext cx="3885825" cy="439738"/>
          </a:xfrm>
        </p:spPr>
        <p:txBody>
          <a:bodyPr wrap="none">
            <a:noAutofit/>
          </a:bodyPr>
          <a:lstStyle>
            <a:lvl1pPr marL="0" indent="0">
              <a:buFontTx/>
              <a:buNone/>
              <a:defRPr>
                <a:solidFill>
                  <a:schemeClr val="tx1"/>
                </a:solidFill>
              </a:defRPr>
            </a:lvl1pPr>
            <a:lvl2pPr marL="239400" indent="0">
              <a:buFontTx/>
              <a:buNone/>
              <a:defRPr>
                <a:solidFill>
                  <a:schemeClr val="bg1"/>
                </a:solidFill>
              </a:defRPr>
            </a:lvl2pPr>
            <a:lvl3pPr marL="473400" indent="0">
              <a:buFontTx/>
              <a:buNone/>
              <a:defRPr>
                <a:solidFill>
                  <a:schemeClr val="bg1"/>
                </a:solidFill>
              </a:defRPr>
            </a:lvl3pPr>
            <a:lvl4pPr marL="707400" indent="0">
              <a:buFontTx/>
              <a:buNone/>
              <a:defRPr>
                <a:solidFill>
                  <a:schemeClr val="bg1"/>
                </a:solidFill>
              </a:defRPr>
            </a:lvl4pPr>
            <a:lvl5pPr marL="923400" indent="0">
              <a:buFontTx/>
              <a:buNone/>
              <a:defRPr>
                <a:solidFill>
                  <a:schemeClr val="bg1"/>
                </a:solidFill>
              </a:defRPr>
            </a:lvl5pPr>
          </a:lstStyle>
          <a:p>
            <a:pPr lvl="0"/>
            <a:r>
              <a:rPr lang="en-GB" noProof="0"/>
              <a:t>Add text</a:t>
            </a:r>
          </a:p>
        </p:txBody>
      </p:sp>
      <p:sp>
        <p:nvSpPr>
          <p:cNvPr id="16" name="Pladsholder til tekst 8">
            <a:extLst>
              <a:ext uri="{FF2B5EF4-FFF2-40B4-BE49-F238E27FC236}">
                <a16:creationId xmlns:a16="http://schemas.microsoft.com/office/drawing/2014/main" id="{CBF0C377-235B-499E-8AD1-21A069A59AD5}"/>
              </a:ext>
            </a:extLst>
          </p:cNvPr>
          <p:cNvSpPr>
            <a:spLocks noGrp="1"/>
          </p:cNvSpPr>
          <p:nvPr>
            <p:ph type="body" sz="quarter" idx="19" hasCustomPrompt="1"/>
          </p:nvPr>
        </p:nvSpPr>
        <p:spPr>
          <a:xfrm>
            <a:off x="529752" y="4325839"/>
            <a:ext cx="576000" cy="576000"/>
          </a:xfrm>
          <a:ln w="34925">
            <a:solidFill>
              <a:schemeClr val="accent3"/>
            </a:solidFill>
            <a:miter lim="800000"/>
          </a:ln>
        </p:spPr>
        <p:txBody>
          <a:bodyPr lIns="72000" tIns="72000" rIns="72000" bIns="72000" anchor="ctr">
            <a:noAutofit/>
          </a:bodyPr>
          <a:lstStyle>
            <a:lvl1pPr marL="0" indent="0" algn="ctr">
              <a:buFontTx/>
              <a:buNone/>
              <a:defRPr sz="2000">
                <a:solidFill>
                  <a:schemeClr val="accent3"/>
                </a:solidFill>
                <a:latin typeface="Roboto Black" panose="02000000000000000000" pitchFamily="2" charset="0"/>
                <a:ea typeface="Roboto Black" panose="02000000000000000000" pitchFamily="2" charset="0"/>
              </a:defRPr>
            </a:lvl1pPr>
          </a:lstStyle>
          <a:p>
            <a:pPr lvl="0"/>
            <a:r>
              <a:rPr lang="da-DK"/>
              <a:t>#</a:t>
            </a:r>
            <a:endParaRPr lang="en-GB"/>
          </a:p>
        </p:txBody>
      </p:sp>
      <p:sp>
        <p:nvSpPr>
          <p:cNvPr id="17" name="Pladsholder til tekst 10">
            <a:extLst>
              <a:ext uri="{FF2B5EF4-FFF2-40B4-BE49-F238E27FC236}">
                <a16:creationId xmlns:a16="http://schemas.microsoft.com/office/drawing/2014/main" id="{BDFFD334-C23C-46AE-A8B8-CE8DC4B3F384}"/>
              </a:ext>
            </a:extLst>
          </p:cNvPr>
          <p:cNvSpPr>
            <a:spLocks noGrp="1"/>
          </p:cNvSpPr>
          <p:nvPr>
            <p:ph type="body" sz="quarter" idx="20" hasCustomPrompt="1"/>
          </p:nvPr>
        </p:nvSpPr>
        <p:spPr>
          <a:xfrm>
            <a:off x="1381500" y="4407772"/>
            <a:ext cx="3885825" cy="439738"/>
          </a:xfrm>
        </p:spPr>
        <p:txBody>
          <a:bodyPr wrap="none">
            <a:noAutofit/>
          </a:bodyPr>
          <a:lstStyle>
            <a:lvl1pPr marL="0" indent="0">
              <a:buFontTx/>
              <a:buNone/>
              <a:defRPr>
                <a:solidFill>
                  <a:schemeClr val="tx1"/>
                </a:solidFill>
              </a:defRPr>
            </a:lvl1pPr>
            <a:lvl2pPr marL="239400" indent="0">
              <a:buFontTx/>
              <a:buNone/>
              <a:defRPr>
                <a:solidFill>
                  <a:schemeClr val="bg1"/>
                </a:solidFill>
              </a:defRPr>
            </a:lvl2pPr>
            <a:lvl3pPr marL="473400" indent="0">
              <a:buFontTx/>
              <a:buNone/>
              <a:defRPr>
                <a:solidFill>
                  <a:schemeClr val="bg1"/>
                </a:solidFill>
              </a:defRPr>
            </a:lvl3pPr>
            <a:lvl4pPr marL="707400" indent="0">
              <a:buFontTx/>
              <a:buNone/>
              <a:defRPr>
                <a:solidFill>
                  <a:schemeClr val="bg1"/>
                </a:solidFill>
              </a:defRPr>
            </a:lvl4pPr>
            <a:lvl5pPr marL="923400" indent="0">
              <a:buFontTx/>
              <a:buNone/>
              <a:defRPr>
                <a:solidFill>
                  <a:schemeClr val="bg1"/>
                </a:solidFill>
              </a:defRPr>
            </a:lvl5pPr>
          </a:lstStyle>
          <a:p>
            <a:pPr lvl="0"/>
            <a:r>
              <a:rPr lang="en-GB" noProof="0"/>
              <a:t>Add text</a:t>
            </a:r>
          </a:p>
        </p:txBody>
      </p:sp>
      <p:sp>
        <p:nvSpPr>
          <p:cNvPr id="18" name="Pladsholder til tekst 8">
            <a:extLst>
              <a:ext uri="{FF2B5EF4-FFF2-40B4-BE49-F238E27FC236}">
                <a16:creationId xmlns:a16="http://schemas.microsoft.com/office/drawing/2014/main" id="{54E5BC0C-F80A-4AAF-81E4-DB6EE59BE0F1}"/>
              </a:ext>
            </a:extLst>
          </p:cNvPr>
          <p:cNvSpPr>
            <a:spLocks noGrp="1"/>
          </p:cNvSpPr>
          <p:nvPr>
            <p:ph type="body" sz="quarter" idx="21" hasCustomPrompt="1"/>
          </p:nvPr>
        </p:nvSpPr>
        <p:spPr>
          <a:xfrm>
            <a:off x="6254905" y="1746350"/>
            <a:ext cx="576000" cy="576000"/>
          </a:xfrm>
          <a:ln w="34925">
            <a:solidFill>
              <a:schemeClr val="accent3"/>
            </a:solidFill>
            <a:miter lim="800000"/>
          </a:ln>
        </p:spPr>
        <p:txBody>
          <a:bodyPr lIns="72000" tIns="72000" rIns="72000" bIns="72000" anchor="ctr">
            <a:noAutofit/>
          </a:bodyPr>
          <a:lstStyle>
            <a:lvl1pPr marL="0" indent="0" algn="ctr">
              <a:buFontTx/>
              <a:buNone/>
              <a:defRPr sz="2000">
                <a:solidFill>
                  <a:schemeClr val="accent3"/>
                </a:solidFill>
                <a:latin typeface="Roboto Black" panose="02000000000000000000" pitchFamily="2" charset="0"/>
                <a:ea typeface="Roboto Black" panose="02000000000000000000" pitchFamily="2" charset="0"/>
              </a:defRPr>
            </a:lvl1pPr>
          </a:lstStyle>
          <a:p>
            <a:pPr lvl="0"/>
            <a:r>
              <a:rPr lang="en-GB"/>
              <a:t>#</a:t>
            </a:r>
          </a:p>
        </p:txBody>
      </p:sp>
      <p:sp>
        <p:nvSpPr>
          <p:cNvPr id="19" name="Pladsholder til tekst 10">
            <a:extLst>
              <a:ext uri="{FF2B5EF4-FFF2-40B4-BE49-F238E27FC236}">
                <a16:creationId xmlns:a16="http://schemas.microsoft.com/office/drawing/2014/main" id="{14842888-E77C-4A6A-B7E1-A79089B883BE}"/>
              </a:ext>
            </a:extLst>
          </p:cNvPr>
          <p:cNvSpPr>
            <a:spLocks noGrp="1"/>
          </p:cNvSpPr>
          <p:nvPr>
            <p:ph type="body" sz="quarter" idx="22" hasCustomPrompt="1"/>
          </p:nvPr>
        </p:nvSpPr>
        <p:spPr>
          <a:xfrm>
            <a:off x="7108252" y="1828575"/>
            <a:ext cx="3887787" cy="439738"/>
          </a:xfrm>
        </p:spPr>
        <p:txBody>
          <a:bodyPr wrap="none">
            <a:noAutofit/>
          </a:bodyPr>
          <a:lstStyle>
            <a:lvl1pPr marL="0" indent="0">
              <a:buFontTx/>
              <a:buNone/>
              <a:defRPr>
                <a:solidFill>
                  <a:schemeClr val="tx1"/>
                </a:solidFill>
              </a:defRPr>
            </a:lvl1pPr>
            <a:lvl2pPr marL="239400" indent="0">
              <a:buFontTx/>
              <a:buNone/>
              <a:defRPr>
                <a:solidFill>
                  <a:schemeClr val="bg1"/>
                </a:solidFill>
              </a:defRPr>
            </a:lvl2pPr>
            <a:lvl3pPr marL="473400" indent="0">
              <a:buFontTx/>
              <a:buNone/>
              <a:defRPr>
                <a:solidFill>
                  <a:schemeClr val="bg1"/>
                </a:solidFill>
              </a:defRPr>
            </a:lvl3pPr>
            <a:lvl4pPr marL="707400" indent="0">
              <a:buFontTx/>
              <a:buNone/>
              <a:defRPr>
                <a:solidFill>
                  <a:schemeClr val="bg1"/>
                </a:solidFill>
              </a:defRPr>
            </a:lvl4pPr>
            <a:lvl5pPr marL="923400" indent="0">
              <a:buFontTx/>
              <a:buNone/>
              <a:defRPr>
                <a:solidFill>
                  <a:schemeClr val="bg1"/>
                </a:solidFill>
              </a:defRPr>
            </a:lvl5pPr>
          </a:lstStyle>
          <a:p>
            <a:pPr lvl="0"/>
            <a:r>
              <a:rPr lang="en-GB" noProof="0"/>
              <a:t>Add text</a:t>
            </a:r>
          </a:p>
        </p:txBody>
      </p:sp>
      <p:sp>
        <p:nvSpPr>
          <p:cNvPr id="20" name="Pladsholder til tekst 8">
            <a:extLst>
              <a:ext uri="{FF2B5EF4-FFF2-40B4-BE49-F238E27FC236}">
                <a16:creationId xmlns:a16="http://schemas.microsoft.com/office/drawing/2014/main" id="{99B4AEF2-8B93-4F92-9464-EE48F105FD18}"/>
              </a:ext>
            </a:extLst>
          </p:cNvPr>
          <p:cNvSpPr>
            <a:spLocks noGrp="1"/>
          </p:cNvSpPr>
          <p:nvPr>
            <p:ph type="body" sz="quarter" idx="23" hasCustomPrompt="1"/>
          </p:nvPr>
        </p:nvSpPr>
        <p:spPr>
          <a:xfrm>
            <a:off x="6254905" y="2607581"/>
            <a:ext cx="576000" cy="576000"/>
          </a:xfrm>
          <a:ln w="34925">
            <a:solidFill>
              <a:schemeClr val="accent3"/>
            </a:solidFill>
            <a:miter lim="800000"/>
          </a:ln>
        </p:spPr>
        <p:txBody>
          <a:bodyPr lIns="72000" tIns="72000" rIns="72000" bIns="72000" anchor="ctr">
            <a:noAutofit/>
          </a:bodyPr>
          <a:lstStyle>
            <a:lvl1pPr marL="0" indent="0" algn="ctr">
              <a:buFontTx/>
              <a:buNone/>
              <a:defRPr sz="2000">
                <a:solidFill>
                  <a:schemeClr val="accent3"/>
                </a:solidFill>
                <a:latin typeface="Roboto Black" panose="02000000000000000000" pitchFamily="2" charset="0"/>
                <a:ea typeface="Roboto Black" panose="02000000000000000000" pitchFamily="2" charset="0"/>
              </a:defRPr>
            </a:lvl1pPr>
          </a:lstStyle>
          <a:p>
            <a:pPr lvl="0"/>
            <a:r>
              <a:rPr lang="da-DK"/>
              <a:t>#</a:t>
            </a:r>
            <a:endParaRPr lang="en-GB"/>
          </a:p>
        </p:txBody>
      </p:sp>
      <p:sp>
        <p:nvSpPr>
          <p:cNvPr id="21" name="Pladsholder til tekst 10">
            <a:extLst>
              <a:ext uri="{FF2B5EF4-FFF2-40B4-BE49-F238E27FC236}">
                <a16:creationId xmlns:a16="http://schemas.microsoft.com/office/drawing/2014/main" id="{565218D0-355E-4701-AE28-B134D69BC40F}"/>
              </a:ext>
            </a:extLst>
          </p:cNvPr>
          <p:cNvSpPr>
            <a:spLocks noGrp="1"/>
          </p:cNvSpPr>
          <p:nvPr>
            <p:ph type="body" sz="quarter" idx="24" hasCustomPrompt="1"/>
          </p:nvPr>
        </p:nvSpPr>
        <p:spPr>
          <a:xfrm>
            <a:off x="7106652" y="2689806"/>
            <a:ext cx="3887787" cy="439738"/>
          </a:xfrm>
        </p:spPr>
        <p:txBody>
          <a:bodyPr wrap="none">
            <a:noAutofit/>
          </a:bodyPr>
          <a:lstStyle>
            <a:lvl1pPr marL="0" indent="0">
              <a:buFontTx/>
              <a:buNone/>
              <a:defRPr>
                <a:solidFill>
                  <a:schemeClr val="tx1"/>
                </a:solidFill>
              </a:defRPr>
            </a:lvl1pPr>
            <a:lvl2pPr marL="239400" indent="0">
              <a:buFontTx/>
              <a:buNone/>
              <a:defRPr>
                <a:solidFill>
                  <a:schemeClr val="bg1"/>
                </a:solidFill>
              </a:defRPr>
            </a:lvl2pPr>
            <a:lvl3pPr marL="473400" indent="0">
              <a:buFontTx/>
              <a:buNone/>
              <a:defRPr>
                <a:solidFill>
                  <a:schemeClr val="bg1"/>
                </a:solidFill>
              </a:defRPr>
            </a:lvl3pPr>
            <a:lvl4pPr marL="707400" indent="0">
              <a:buFontTx/>
              <a:buNone/>
              <a:defRPr>
                <a:solidFill>
                  <a:schemeClr val="bg1"/>
                </a:solidFill>
              </a:defRPr>
            </a:lvl4pPr>
            <a:lvl5pPr marL="923400" indent="0">
              <a:buFontTx/>
              <a:buNone/>
              <a:defRPr>
                <a:solidFill>
                  <a:schemeClr val="bg1"/>
                </a:solidFill>
              </a:defRPr>
            </a:lvl5pPr>
          </a:lstStyle>
          <a:p>
            <a:pPr lvl="0"/>
            <a:r>
              <a:rPr lang="en-GB" noProof="0"/>
              <a:t>Add text</a:t>
            </a:r>
          </a:p>
        </p:txBody>
      </p:sp>
      <p:sp>
        <p:nvSpPr>
          <p:cNvPr id="22" name="Pladsholder til tekst 8">
            <a:extLst>
              <a:ext uri="{FF2B5EF4-FFF2-40B4-BE49-F238E27FC236}">
                <a16:creationId xmlns:a16="http://schemas.microsoft.com/office/drawing/2014/main" id="{E7171DE5-22C9-4D43-9BA5-609881F079FD}"/>
              </a:ext>
            </a:extLst>
          </p:cNvPr>
          <p:cNvSpPr>
            <a:spLocks noGrp="1"/>
          </p:cNvSpPr>
          <p:nvPr>
            <p:ph type="body" sz="quarter" idx="25" hasCustomPrompt="1"/>
          </p:nvPr>
        </p:nvSpPr>
        <p:spPr>
          <a:xfrm>
            <a:off x="6254905" y="3468812"/>
            <a:ext cx="576000" cy="576000"/>
          </a:xfrm>
          <a:ln w="34925">
            <a:solidFill>
              <a:schemeClr val="accent3"/>
            </a:solidFill>
            <a:miter lim="800000"/>
          </a:ln>
        </p:spPr>
        <p:txBody>
          <a:bodyPr lIns="72000" tIns="72000" rIns="72000" bIns="72000" anchor="ctr">
            <a:noAutofit/>
          </a:bodyPr>
          <a:lstStyle>
            <a:lvl1pPr marL="0" indent="0" algn="ctr">
              <a:buFontTx/>
              <a:buNone/>
              <a:defRPr sz="2000">
                <a:solidFill>
                  <a:schemeClr val="accent3"/>
                </a:solidFill>
                <a:latin typeface="Roboto Black" panose="02000000000000000000" pitchFamily="2" charset="0"/>
                <a:ea typeface="Roboto Black" panose="02000000000000000000" pitchFamily="2" charset="0"/>
              </a:defRPr>
            </a:lvl1pPr>
          </a:lstStyle>
          <a:p>
            <a:pPr lvl="0"/>
            <a:r>
              <a:rPr lang="da-DK"/>
              <a:t>#</a:t>
            </a:r>
            <a:endParaRPr lang="en-GB"/>
          </a:p>
        </p:txBody>
      </p:sp>
      <p:sp>
        <p:nvSpPr>
          <p:cNvPr id="23" name="Pladsholder til tekst 10">
            <a:extLst>
              <a:ext uri="{FF2B5EF4-FFF2-40B4-BE49-F238E27FC236}">
                <a16:creationId xmlns:a16="http://schemas.microsoft.com/office/drawing/2014/main" id="{7728CEE1-2E46-4314-AB04-F4EF054FF0B1}"/>
              </a:ext>
            </a:extLst>
          </p:cNvPr>
          <p:cNvSpPr>
            <a:spLocks noGrp="1"/>
          </p:cNvSpPr>
          <p:nvPr>
            <p:ph type="body" sz="quarter" idx="26" hasCustomPrompt="1"/>
          </p:nvPr>
        </p:nvSpPr>
        <p:spPr>
          <a:xfrm>
            <a:off x="7106652" y="3551037"/>
            <a:ext cx="3887787" cy="439738"/>
          </a:xfrm>
        </p:spPr>
        <p:txBody>
          <a:bodyPr wrap="none">
            <a:noAutofit/>
          </a:bodyPr>
          <a:lstStyle>
            <a:lvl1pPr marL="0" indent="0">
              <a:buFontTx/>
              <a:buNone/>
              <a:defRPr>
                <a:solidFill>
                  <a:schemeClr val="tx1"/>
                </a:solidFill>
              </a:defRPr>
            </a:lvl1pPr>
            <a:lvl2pPr marL="239400" indent="0">
              <a:buFontTx/>
              <a:buNone/>
              <a:defRPr>
                <a:solidFill>
                  <a:schemeClr val="bg1"/>
                </a:solidFill>
              </a:defRPr>
            </a:lvl2pPr>
            <a:lvl3pPr marL="473400" indent="0">
              <a:buFontTx/>
              <a:buNone/>
              <a:defRPr>
                <a:solidFill>
                  <a:schemeClr val="bg1"/>
                </a:solidFill>
              </a:defRPr>
            </a:lvl3pPr>
            <a:lvl4pPr marL="707400" indent="0">
              <a:buFontTx/>
              <a:buNone/>
              <a:defRPr>
                <a:solidFill>
                  <a:schemeClr val="bg1"/>
                </a:solidFill>
              </a:defRPr>
            </a:lvl4pPr>
            <a:lvl5pPr marL="923400" indent="0">
              <a:buFontTx/>
              <a:buNone/>
              <a:defRPr>
                <a:solidFill>
                  <a:schemeClr val="bg1"/>
                </a:solidFill>
              </a:defRPr>
            </a:lvl5pPr>
          </a:lstStyle>
          <a:p>
            <a:pPr lvl="0"/>
            <a:r>
              <a:rPr lang="en-GB" noProof="0"/>
              <a:t>Add text</a:t>
            </a:r>
          </a:p>
        </p:txBody>
      </p:sp>
      <p:sp>
        <p:nvSpPr>
          <p:cNvPr id="24" name="Pladsholder til tekst 8">
            <a:extLst>
              <a:ext uri="{FF2B5EF4-FFF2-40B4-BE49-F238E27FC236}">
                <a16:creationId xmlns:a16="http://schemas.microsoft.com/office/drawing/2014/main" id="{FD4E614A-D240-448F-8D61-A91D12534D2E}"/>
              </a:ext>
            </a:extLst>
          </p:cNvPr>
          <p:cNvSpPr>
            <a:spLocks noGrp="1"/>
          </p:cNvSpPr>
          <p:nvPr>
            <p:ph type="body" sz="quarter" idx="27" hasCustomPrompt="1"/>
          </p:nvPr>
        </p:nvSpPr>
        <p:spPr>
          <a:xfrm>
            <a:off x="6254905" y="4325839"/>
            <a:ext cx="576000" cy="576000"/>
          </a:xfrm>
          <a:ln w="34925">
            <a:solidFill>
              <a:schemeClr val="accent3"/>
            </a:solidFill>
            <a:miter lim="800000"/>
          </a:ln>
        </p:spPr>
        <p:txBody>
          <a:bodyPr lIns="72000" tIns="72000" rIns="72000" bIns="72000" anchor="ctr">
            <a:noAutofit/>
          </a:bodyPr>
          <a:lstStyle>
            <a:lvl1pPr marL="0" indent="0" algn="ctr">
              <a:buFontTx/>
              <a:buNone/>
              <a:defRPr sz="2000">
                <a:solidFill>
                  <a:schemeClr val="accent3"/>
                </a:solidFill>
                <a:latin typeface="Roboto Black" panose="02000000000000000000" pitchFamily="2" charset="0"/>
                <a:ea typeface="Roboto Black" panose="02000000000000000000" pitchFamily="2" charset="0"/>
              </a:defRPr>
            </a:lvl1pPr>
          </a:lstStyle>
          <a:p>
            <a:pPr lvl="0"/>
            <a:r>
              <a:rPr lang="da-DK"/>
              <a:t>#</a:t>
            </a:r>
            <a:endParaRPr lang="en-GB"/>
          </a:p>
        </p:txBody>
      </p:sp>
      <p:sp>
        <p:nvSpPr>
          <p:cNvPr id="25" name="Pladsholder til tekst 10">
            <a:extLst>
              <a:ext uri="{FF2B5EF4-FFF2-40B4-BE49-F238E27FC236}">
                <a16:creationId xmlns:a16="http://schemas.microsoft.com/office/drawing/2014/main" id="{9EA8F55E-E347-437B-9915-DB54B8EEA1D2}"/>
              </a:ext>
            </a:extLst>
          </p:cNvPr>
          <p:cNvSpPr>
            <a:spLocks noGrp="1"/>
          </p:cNvSpPr>
          <p:nvPr>
            <p:ph type="body" sz="quarter" idx="28" hasCustomPrompt="1"/>
          </p:nvPr>
        </p:nvSpPr>
        <p:spPr>
          <a:xfrm>
            <a:off x="7106652" y="4408064"/>
            <a:ext cx="3887787" cy="439738"/>
          </a:xfrm>
        </p:spPr>
        <p:txBody>
          <a:bodyPr wrap="none">
            <a:noAutofit/>
          </a:bodyPr>
          <a:lstStyle>
            <a:lvl1pPr marL="0" indent="0">
              <a:buFontTx/>
              <a:buNone/>
              <a:defRPr>
                <a:solidFill>
                  <a:schemeClr val="tx1"/>
                </a:solidFill>
              </a:defRPr>
            </a:lvl1pPr>
            <a:lvl2pPr marL="239400" indent="0">
              <a:buFontTx/>
              <a:buNone/>
              <a:defRPr>
                <a:solidFill>
                  <a:schemeClr val="bg1"/>
                </a:solidFill>
              </a:defRPr>
            </a:lvl2pPr>
            <a:lvl3pPr marL="473400" indent="0">
              <a:buFontTx/>
              <a:buNone/>
              <a:defRPr>
                <a:solidFill>
                  <a:schemeClr val="bg1"/>
                </a:solidFill>
              </a:defRPr>
            </a:lvl3pPr>
            <a:lvl4pPr marL="707400" indent="0">
              <a:buFontTx/>
              <a:buNone/>
              <a:defRPr>
                <a:solidFill>
                  <a:schemeClr val="bg1"/>
                </a:solidFill>
              </a:defRPr>
            </a:lvl4pPr>
            <a:lvl5pPr marL="923400" indent="0">
              <a:buFontTx/>
              <a:buNone/>
              <a:defRPr>
                <a:solidFill>
                  <a:schemeClr val="bg1"/>
                </a:solidFill>
              </a:defRPr>
            </a:lvl5pPr>
          </a:lstStyle>
          <a:p>
            <a:pPr lvl="0"/>
            <a:r>
              <a:rPr lang="en-GB" noProof="0"/>
              <a:t>Add text</a:t>
            </a:r>
          </a:p>
        </p:txBody>
      </p:sp>
      <p:pic>
        <p:nvPicPr>
          <p:cNvPr id="8" name="Picture 7" descr="Logo, icon&#10;&#10;Description automatically generated">
            <a:extLst>
              <a:ext uri="{FF2B5EF4-FFF2-40B4-BE49-F238E27FC236}">
                <a16:creationId xmlns:a16="http://schemas.microsoft.com/office/drawing/2014/main" id="{4613144A-2ECE-13F1-F313-650598D3F28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887958" y="6560348"/>
            <a:ext cx="863707" cy="195758"/>
          </a:xfrm>
          <a:prstGeom prst="rect">
            <a:avLst/>
          </a:prstGeom>
        </p:spPr>
      </p:pic>
      <p:sp>
        <p:nvSpPr>
          <p:cNvPr id="4" name="Pladsholder til tekst 8">
            <a:extLst>
              <a:ext uri="{FF2B5EF4-FFF2-40B4-BE49-F238E27FC236}">
                <a16:creationId xmlns:a16="http://schemas.microsoft.com/office/drawing/2014/main" id="{8166D8FD-DF3A-3D80-07A2-98758EAC5C10}"/>
              </a:ext>
            </a:extLst>
          </p:cNvPr>
          <p:cNvSpPr>
            <a:spLocks noGrp="1"/>
          </p:cNvSpPr>
          <p:nvPr>
            <p:ph type="body" sz="quarter" idx="29" hasCustomPrompt="1"/>
          </p:nvPr>
        </p:nvSpPr>
        <p:spPr>
          <a:xfrm>
            <a:off x="529752" y="5182866"/>
            <a:ext cx="576000" cy="576000"/>
          </a:xfrm>
          <a:ln w="34925">
            <a:solidFill>
              <a:schemeClr val="accent3"/>
            </a:solidFill>
            <a:miter lim="800000"/>
          </a:ln>
        </p:spPr>
        <p:txBody>
          <a:bodyPr lIns="72000" tIns="72000" rIns="72000" bIns="72000" anchor="ctr">
            <a:noAutofit/>
          </a:bodyPr>
          <a:lstStyle>
            <a:lvl1pPr marL="0" indent="0" algn="ctr">
              <a:buFontTx/>
              <a:buNone/>
              <a:defRPr sz="2000">
                <a:solidFill>
                  <a:schemeClr val="accent3"/>
                </a:solidFill>
                <a:latin typeface="Roboto Black" panose="02000000000000000000" pitchFamily="2" charset="0"/>
                <a:ea typeface="Roboto Black" panose="02000000000000000000" pitchFamily="2" charset="0"/>
              </a:defRPr>
            </a:lvl1pPr>
          </a:lstStyle>
          <a:p>
            <a:pPr lvl="0"/>
            <a:r>
              <a:rPr lang="da-DK"/>
              <a:t>#</a:t>
            </a:r>
            <a:endParaRPr lang="en-GB"/>
          </a:p>
        </p:txBody>
      </p:sp>
      <p:sp>
        <p:nvSpPr>
          <p:cNvPr id="7" name="Pladsholder til tekst 10">
            <a:extLst>
              <a:ext uri="{FF2B5EF4-FFF2-40B4-BE49-F238E27FC236}">
                <a16:creationId xmlns:a16="http://schemas.microsoft.com/office/drawing/2014/main" id="{48A0181E-EDD8-0CE8-B8C0-D265E0ED522A}"/>
              </a:ext>
            </a:extLst>
          </p:cNvPr>
          <p:cNvSpPr>
            <a:spLocks noGrp="1"/>
          </p:cNvSpPr>
          <p:nvPr>
            <p:ph type="body" sz="quarter" idx="30" hasCustomPrompt="1"/>
          </p:nvPr>
        </p:nvSpPr>
        <p:spPr>
          <a:xfrm>
            <a:off x="1381500" y="5264799"/>
            <a:ext cx="3885825" cy="439738"/>
          </a:xfrm>
        </p:spPr>
        <p:txBody>
          <a:bodyPr wrap="none">
            <a:noAutofit/>
          </a:bodyPr>
          <a:lstStyle>
            <a:lvl1pPr marL="0" indent="0">
              <a:buFontTx/>
              <a:buNone/>
              <a:defRPr>
                <a:solidFill>
                  <a:schemeClr val="tx1"/>
                </a:solidFill>
              </a:defRPr>
            </a:lvl1pPr>
            <a:lvl2pPr marL="239400" indent="0">
              <a:buFontTx/>
              <a:buNone/>
              <a:defRPr>
                <a:solidFill>
                  <a:schemeClr val="bg1"/>
                </a:solidFill>
              </a:defRPr>
            </a:lvl2pPr>
            <a:lvl3pPr marL="473400" indent="0">
              <a:buFontTx/>
              <a:buNone/>
              <a:defRPr>
                <a:solidFill>
                  <a:schemeClr val="bg1"/>
                </a:solidFill>
              </a:defRPr>
            </a:lvl3pPr>
            <a:lvl4pPr marL="707400" indent="0">
              <a:buFontTx/>
              <a:buNone/>
              <a:defRPr>
                <a:solidFill>
                  <a:schemeClr val="bg1"/>
                </a:solidFill>
              </a:defRPr>
            </a:lvl4pPr>
            <a:lvl5pPr marL="923400" indent="0">
              <a:buFontTx/>
              <a:buNone/>
              <a:defRPr>
                <a:solidFill>
                  <a:schemeClr val="bg1"/>
                </a:solidFill>
              </a:defRPr>
            </a:lvl5pPr>
          </a:lstStyle>
          <a:p>
            <a:pPr lvl="0"/>
            <a:r>
              <a:rPr lang="en-GB" noProof="0"/>
              <a:t>Add text</a:t>
            </a:r>
          </a:p>
        </p:txBody>
      </p:sp>
      <p:sp>
        <p:nvSpPr>
          <p:cNvPr id="10" name="Pladsholder til tekst 8">
            <a:extLst>
              <a:ext uri="{FF2B5EF4-FFF2-40B4-BE49-F238E27FC236}">
                <a16:creationId xmlns:a16="http://schemas.microsoft.com/office/drawing/2014/main" id="{81024D2F-B722-7B7C-0F3F-BAB009DA086E}"/>
              </a:ext>
            </a:extLst>
          </p:cNvPr>
          <p:cNvSpPr>
            <a:spLocks noGrp="1"/>
          </p:cNvSpPr>
          <p:nvPr>
            <p:ph type="body" sz="quarter" idx="31" hasCustomPrompt="1"/>
          </p:nvPr>
        </p:nvSpPr>
        <p:spPr>
          <a:xfrm>
            <a:off x="6254905" y="5128537"/>
            <a:ext cx="576000" cy="576000"/>
          </a:xfrm>
          <a:ln w="34925">
            <a:solidFill>
              <a:schemeClr val="accent3"/>
            </a:solidFill>
            <a:miter lim="800000"/>
          </a:ln>
        </p:spPr>
        <p:txBody>
          <a:bodyPr lIns="72000" tIns="72000" rIns="72000" bIns="72000" anchor="ctr">
            <a:noAutofit/>
          </a:bodyPr>
          <a:lstStyle>
            <a:lvl1pPr marL="0" indent="0" algn="ctr">
              <a:buFontTx/>
              <a:buNone/>
              <a:defRPr sz="2000">
                <a:solidFill>
                  <a:schemeClr val="accent3"/>
                </a:solidFill>
                <a:latin typeface="Roboto Black" panose="02000000000000000000" pitchFamily="2" charset="0"/>
                <a:ea typeface="Roboto Black" panose="02000000000000000000" pitchFamily="2" charset="0"/>
              </a:defRPr>
            </a:lvl1pPr>
          </a:lstStyle>
          <a:p>
            <a:pPr lvl="0"/>
            <a:r>
              <a:rPr lang="en-GB"/>
              <a:t>#</a:t>
            </a:r>
          </a:p>
        </p:txBody>
      </p:sp>
      <p:sp>
        <p:nvSpPr>
          <p:cNvPr id="26" name="Pladsholder til tekst 10">
            <a:extLst>
              <a:ext uri="{FF2B5EF4-FFF2-40B4-BE49-F238E27FC236}">
                <a16:creationId xmlns:a16="http://schemas.microsoft.com/office/drawing/2014/main" id="{CB34F366-06B1-E5C4-E449-450C80FADBA0}"/>
              </a:ext>
            </a:extLst>
          </p:cNvPr>
          <p:cNvSpPr>
            <a:spLocks noGrp="1"/>
          </p:cNvSpPr>
          <p:nvPr>
            <p:ph type="body" sz="quarter" idx="32" hasCustomPrompt="1"/>
          </p:nvPr>
        </p:nvSpPr>
        <p:spPr>
          <a:xfrm>
            <a:off x="7108252" y="5210762"/>
            <a:ext cx="3887787" cy="439738"/>
          </a:xfrm>
        </p:spPr>
        <p:txBody>
          <a:bodyPr wrap="none">
            <a:noAutofit/>
          </a:bodyPr>
          <a:lstStyle>
            <a:lvl1pPr marL="0" indent="0">
              <a:buFontTx/>
              <a:buNone/>
              <a:defRPr>
                <a:solidFill>
                  <a:schemeClr val="tx1"/>
                </a:solidFill>
              </a:defRPr>
            </a:lvl1pPr>
            <a:lvl2pPr marL="239400" indent="0">
              <a:buFontTx/>
              <a:buNone/>
              <a:defRPr>
                <a:solidFill>
                  <a:schemeClr val="bg1"/>
                </a:solidFill>
              </a:defRPr>
            </a:lvl2pPr>
            <a:lvl3pPr marL="473400" indent="0">
              <a:buFontTx/>
              <a:buNone/>
              <a:defRPr>
                <a:solidFill>
                  <a:schemeClr val="bg1"/>
                </a:solidFill>
              </a:defRPr>
            </a:lvl3pPr>
            <a:lvl4pPr marL="707400" indent="0">
              <a:buFontTx/>
              <a:buNone/>
              <a:defRPr>
                <a:solidFill>
                  <a:schemeClr val="bg1"/>
                </a:solidFill>
              </a:defRPr>
            </a:lvl4pPr>
            <a:lvl5pPr marL="923400" indent="0">
              <a:buFontTx/>
              <a:buNone/>
              <a:defRPr>
                <a:solidFill>
                  <a:schemeClr val="bg1"/>
                </a:solidFill>
              </a:defRPr>
            </a:lvl5pPr>
          </a:lstStyle>
          <a:p>
            <a:pPr lvl="0"/>
            <a:r>
              <a:rPr lang="en-GB" noProof="0"/>
              <a:t>Add text</a:t>
            </a:r>
          </a:p>
        </p:txBody>
      </p:sp>
    </p:spTree>
    <p:extLst>
      <p:ext uri="{BB962C8B-B14F-4D97-AF65-F5344CB8AC3E}">
        <p14:creationId xmlns:p14="http://schemas.microsoft.com/office/powerpoint/2010/main" val="16190192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Agenda + Image - Light">
    <p:bg>
      <p:bgPr>
        <a:solidFill>
          <a:srgbClr val="ECECED"/>
        </a:solidFill>
        <a:effectLst/>
      </p:bgPr>
    </p:bg>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214B11AB-8749-416D-8468-470F1B5C9291}"/>
              </a:ext>
            </a:extLst>
          </p:cNvPr>
          <p:cNvSpPr/>
          <p:nvPr/>
        </p:nvSpPr>
        <p:spPr>
          <a:xfrm>
            <a:off x="0" y="6453188"/>
            <a:ext cx="12192000" cy="404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el 1">
            <a:extLst>
              <a:ext uri="{FF2B5EF4-FFF2-40B4-BE49-F238E27FC236}">
                <a16:creationId xmlns:a16="http://schemas.microsoft.com/office/drawing/2014/main" id="{C32FDDF6-7353-44A5-8CBA-AF6FAA71A05A}"/>
              </a:ext>
            </a:extLst>
          </p:cNvPr>
          <p:cNvSpPr>
            <a:spLocks noGrp="1"/>
          </p:cNvSpPr>
          <p:nvPr>
            <p:ph type="title" hasCustomPrompt="1"/>
          </p:nvPr>
        </p:nvSpPr>
        <p:spPr>
          <a:xfrm>
            <a:off x="515937" y="685998"/>
            <a:ext cx="4751387" cy="554400"/>
          </a:xfrm>
        </p:spPr>
        <p:txBody>
          <a:bodyPr anchor="t" anchorCtr="0">
            <a:noAutofit/>
          </a:bodyPr>
          <a:lstStyle>
            <a:lvl1pPr>
              <a:defRPr sz="3600">
                <a:solidFill>
                  <a:schemeClr val="tx2"/>
                </a:solidFill>
              </a:defRPr>
            </a:lvl1pPr>
          </a:lstStyle>
          <a:p>
            <a:r>
              <a:rPr lang="en-GB" noProof="0"/>
              <a:t>Add agenda headline</a:t>
            </a:r>
          </a:p>
        </p:txBody>
      </p:sp>
      <p:sp>
        <p:nvSpPr>
          <p:cNvPr id="5" name="Pladsholder til slidenummer 4">
            <a:extLst>
              <a:ext uri="{FF2B5EF4-FFF2-40B4-BE49-F238E27FC236}">
                <a16:creationId xmlns:a16="http://schemas.microsoft.com/office/drawing/2014/main" id="{63FEBC18-3815-4CCC-86EB-8B4DFD8C8C6D}"/>
              </a:ext>
            </a:extLst>
          </p:cNvPr>
          <p:cNvSpPr>
            <a:spLocks noGrp="1"/>
          </p:cNvSpPr>
          <p:nvPr>
            <p:ph type="sldNum" sz="quarter" idx="12"/>
          </p:nvPr>
        </p:nvSpPr>
        <p:spPr>
          <a:xfrm>
            <a:off x="515938" y="6498478"/>
            <a:ext cx="324000" cy="324000"/>
          </a:xfrm>
          <a:prstGeom prst="rect">
            <a:avLst/>
          </a:prstGeom>
        </p:spPr>
        <p:txBody>
          <a:bodyPr/>
          <a:lstStyle/>
          <a:p>
            <a:fld id="{EA97C5ED-C1DE-4316-8FCE-7E084E7B171C}" type="slidenum">
              <a:rPr lang="en-GB" smtClean="0"/>
              <a:pPr/>
              <a:t>‹#›</a:t>
            </a:fld>
            <a:endParaRPr lang="en-GB"/>
          </a:p>
        </p:txBody>
      </p:sp>
      <p:sp>
        <p:nvSpPr>
          <p:cNvPr id="9" name="Pladsholder til tekst 8">
            <a:extLst>
              <a:ext uri="{FF2B5EF4-FFF2-40B4-BE49-F238E27FC236}">
                <a16:creationId xmlns:a16="http://schemas.microsoft.com/office/drawing/2014/main" id="{9059F79E-73C5-4AE5-967E-1E91C79540CD}"/>
              </a:ext>
            </a:extLst>
          </p:cNvPr>
          <p:cNvSpPr>
            <a:spLocks noGrp="1"/>
          </p:cNvSpPr>
          <p:nvPr>
            <p:ph type="body" sz="quarter" idx="13" hasCustomPrompt="1"/>
          </p:nvPr>
        </p:nvSpPr>
        <p:spPr>
          <a:xfrm>
            <a:off x="529200" y="2013048"/>
            <a:ext cx="576000" cy="576000"/>
          </a:xfrm>
          <a:ln w="34925">
            <a:solidFill>
              <a:schemeClr val="accent3"/>
            </a:solidFill>
            <a:miter lim="800000"/>
          </a:ln>
        </p:spPr>
        <p:txBody>
          <a:bodyPr lIns="72000" tIns="72000" rIns="72000" bIns="72000" anchor="ctr">
            <a:noAutofit/>
          </a:bodyPr>
          <a:lstStyle>
            <a:lvl1pPr marL="0" indent="0" algn="ctr">
              <a:buFontTx/>
              <a:buNone/>
              <a:defRPr sz="2000">
                <a:solidFill>
                  <a:schemeClr val="accent3"/>
                </a:solidFill>
                <a:latin typeface="Roboto Black" panose="02000000000000000000" pitchFamily="2" charset="0"/>
                <a:ea typeface="Roboto Black" panose="02000000000000000000" pitchFamily="2" charset="0"/>
              </a:defRPr>
            </a:lvl1pPr>
          </a:lstStyle>
          <a:p>
            <a:pPr lvl="0"/>
            <a:r>
              <a:rPr lang="en-GB"/>
              <a:t>#</a:t>
            </a:r>
          </a:p>
        </p:txBody>
      </p:sp>
      <p:sp>
        <p:nvSpPr>
          <p:cNvPr id="11" name="Pladsholder til tekst 10">
            <a:extLst>
              <a:ext uri="{FF2B5EF4-FFF2-40B4-BE49-F238E27FC236}">
                <a16:creationId xmlns:a16="http://schemas.microsoft.com/office/drawing/2014/main" id="{18876CB6-7AC4-4DBB-9E9F-5176278B3767}"/>
              </a:ext>
            </a:extLst>
          </p:cNvPr>
          <p:cNvSpPr>
            <a:spLocks noGrp="1"/>
          </p:cNvSpPr>
          <p:nvPr>
            <p:ph type="body" sz="quarter" idx="14" hasCustomPrompt="1"/>
          </p:nvPr>
        </p:nvSpPr>
        <p:spPr>
          <a:xfrm>
            <a:off x="1382400" y="2149310"/>
            <a:ext cx="3887787" cy="439738"/>
          </a:xfrm>
        </p:spPr>
        <p:txBody>
          <a:bodyPr wrap="none">
            <a:noAutofit/>
          </a:bodyPr>
          <a:lstStyle>
            <a:lvl1pPr marL="0" indent="0">
              <a:buFontTx/>
              <a:buNone/>
              <a:defRPr>
                <a:solidFill>
                  <a:schemeClr val="tx1"/>
                </a:solidFill>
              </a:defRPr>
            </a:lvl1pPr>
            <a:lvl2pPr marL="239400" indent="0">
              <a:buFontTx/>
              <a:buNone/>
              <a:defRPr>
                <a:solidFill>
                  <a:schemeClr val="bg1"/>
                </a:solidFill>
              </a:defRPr>
            </a:lvl2pPr>
            <a:lvl3pPr marL="473400" indent="0">
              <a:buFontTx/>
              <a:buNone/>
              <a:defRPr>
                <a:solidFill>
                  <a:schemeClr val="bg1"/>
                </a:solidFill>
              </a:defRPr>
            </a:lvl3pPr>
            <a:lvl4pPr marL="707400" indent="0">
              <a:buFontTx/>
              <a:buNone/>
              <a:defRPr>
                <a:solidFill>
                  <a:schemeClr val="bg1"/>
                </a:solidFill>
              </a:defRPr>
            </a:lvl4pPr>
            <a:lvl5pPr marL="923400" indent="0">
              <a:buFontTx/>
              <a:buNone/>
              <a:defRPr>
                <a:solidFill>
                  <a:schemeClr val="bg1"/>
                </a:solidFill>
              </a:defRPr>
            </a:lvl5pPr>
          </a:lstStyle>
          <a:p>
            <a:pPr lvl="0"/>
            <a:r>
              <a:rPr lang="en-GB" noProof="0"/>
              <a:t>Add text</a:t>
            </a:r>
          </a:p>
        </p:txBody>
      </p:sp>
      <p:sp>
        <p:nvSpPr>
          <p:cNvPr id="12" name="Pladsholder til tekst 8">
            <a:extLst>
              <a:ext uri="{FF2B5EF4-FFF2-40B4-BE49-F238E27FC236}">
                <a16:creationId xmlns:a16="http://schemas.microsoft.com/office/drawing/2014/main" id="{CEEFFFAF-4582-485E-9B37-42AE4F635523}"/>
              </a:ext>
            </a:extLst>
          </p:cNvPr>
          <p:cNvSpPr>
            <a:spLocks noGrp="1"/>
          </p:cNvSpPr>
          <p:nvPr>
            <p:ph type="body" sz="quarter" idx="15" hasCustomPrompt="1"/>
          </p:nvPr>
        </p:nvSpPr>
        <p:spPr>
          <a:xfrm>
            <a:off x="529200" y="2874279"/>
            <a:ext cx="576000" cy="576000"/>
          </a:xfrm>
          <a:ln w="34925">
            <a:solidFill>
              <a:schemeClr val="accent3"/>
            </a:solidFill>
            <a:miter lim="800000"/>
          </a:ln>
        </p:spPr>
        <p:txBody>
          <a:bodyPr lIns="72000" tIns="72000" rIns="72000" bIns="72000" anchor="ctr">
            <a:noAutofit/>
          </a:bodyPr>
          <a:lstStyle>
            <a:lvl1pPr marL="0" indent="0" algn="ctr">
              <a:buFontTx/>
              <a:buNone/>
              <a:defRPr sz="2000">
                <a:solidFill>
                  <a:schemeClr val="accent3"/>
                </a:solidFill>
                <a:latin typeface="Roboto Black" panose="02000000000000000000" pitchFamily="2" charset="0"/>
                <a:ea typeface="Roboto Black" panose="02000000000000000000" pitchFamily="2" charset="0"/>
              </a:defRPr>
            </a:lvl1pPr>
          </a:lstStyle>
          <a:p>
            <a:pPr lvl="0"/>
            <a:r>
              <a:rPr lang="da-DK"/>
              <a:t>#</a:t>
            </a:r>
            <a:endParaRPr lang="en-GB"/>
          </a:p>
        </p:txBody>
      </p:sp>
      <p:sp>
        <p:nvSpPr>
          <p:cNvPr id="13" name="Pladsholder til tekst 10">
            <a:extLst>
              <a:ext uri="{FF2B5EF4-FFF2-40B4-BE49-F238E27FC236}">
                <a16:creationId xmlns:a16="http://schemas.microsoft.com/office/drawing/2014/main" id="{E44E390F-379A-4567-B39F-648D179ED593}"/>
              </a:ext>
            </a:extLst>
          </p:cNvPr>
          <p:cNvSpPr>
            <a:spLocks noGrp="1"/>
          </p:cNvSpPr>
          <p:nvPr>
            <p:ph type="body" sz="quarter" idx="16" hasCustomPrompt="1"/>
          </p:nvPr>
        </p:nvSpPr>
        <p:spPr>
          <a:xfrm>
            <a:off x="1382400" y="3010541"/>
            <a:ext cx="3887787" cy="439738"/>
          </a:xfrm>
        </p:spPr>
        <p:txBody>
          <a:bodyPr wrap="none">
            <a:noAutofit/>
          </a:bodyPr>
          <a:lstStyle>
            <a:lvl1pPr marL="0" indent="0">
              <a:buFontTx/>
              <a:buNone/>
              <a:defRPr>
                <a:solidFill>
                  <a:schemeClr val="tx1"/>
                </a:solidFill>
              </a:defRPr>
            </a:lvl1pPr>
            <a:lvl2pPr marL="239400" indent="0">
              <a:buFontTx/>
              <a:buNone/>
              <a:defRPr>
                <a:solidFill>
                  <a:schemeClr val="bg1"/>
                </a:solidFill>
              </a:defRPr>
            </a:lvl2pPr>
            <a:lvl3pPr marL="473400" indent="0">
              <a:buFontTx/>
              <a:buNone/>
              <a:defRPr>
                <a:solidFill>
                  <a:schemeClr val="bg1"/>
                </a:solidFill>
              </a:defRPr>
            </a:lvl3pPr>
            <a:lvl4pPr marL="707400" indent="0">
              <a:buFontTx/>
              <a:buNone/>
              <a:defRPr>
                <a:solidFill>
                  <a:schemeClr val="bg1"/>
                </a:solidFill>
              </a:defRPr>
            </a:lvl4pPr>
            <a:lvl5pPr marL="923400" indent="0">
              <a:buFontTx/>
              <a:buNone/>
              <a:defRPr>
                <a:solidFill>
                  <a:schemeClr val="bg1"/>
                </a:solidFill>
              </a:defRPr>
            </a:lvl5pPr>
          </a:lstStyle>
          <a:p>
            <a:pPr lvl="0"/>
            <a:r>
              <a:rPr lang="en-GB" noProof="0"/>
              <a:t>Add text</a:t>
            </a:r>
          </a:p>
        </p:txBody>
      </p:sp>
      <p:sp>
        <p:nvSpPr>
          <p:cNvPr id="14" name="Pladsholder til tekst 8">
            <a:extLst>
              <a:ext uri="{FF2B5EF4-FFF2-40B4-BE49-F238E27FC236}">
                <a16:creationId xmlns:a16="http://schemas.microsoft.com/office/drawing/2014/main" id="{C87B3630-829B-4CB4-A701-D93A850754B5}"/>
              </a:ext>
            </a:extLst>
          </p:cNvPr>
          <p:cNvSpPr>
            <a:spLocks noGrp="1"/>
          </p:cNvSpPr>
          <p:nvPr>
            <p:ph type="body" sz="quarter" idx="17" hasCustomPrompt="1"/>
          </p:nvPr>
        </p:nvSpPr>
        <p:spPr>
          <a:xfrm>
            <a:off x="529200" y="3735510"/>
            <a:ext cx="576000" cy="576000"/>
          </a:xfrm>
          <a:ln w="34925">
            <a:solidFill>
              <a:schemeClr val="accent3"/>
            </a:solidFill>
            <a:miter lim="800000"/>
          </a:ln>
        </p:spPr>
        <p:txBody>
          <a:bodyPr lIns="72000" tIns="72000" rIns="72000" bIns="72000" anchor="ctr">
            <a:noAutofit/>
          </a:bodyPr>
          <a:lstStyle>
            <a:lvl1pPr marL="0" indent="0" algn="ctr">
              <a:buFontTx/>
              <a:buNone/>
              <a:defRPr sz="2000">
                <a:solidFill>
                  <a:schemeClr val="accent3"/>
                </a:solidFill>
                <a:latin typeface="Roboto Black" panose="02000000000000000000" pitchFamily="2" charset="0"/>
                <a:ea typeface="Roboto Black" panose="02000000000000000000" pitchFamily="2" charset="0"/>
              </a:defRPr>
            </a:lvl1pPr>
          </a:lstStyle>
          <a:p>
            <a:pPr lvl="0"/>
            <a:r>
              <a:rPr lang="da-DK"/>
              <a:t>#</a:t>
            </a:r>
            <a:endParaRPr lang="en-GB"/>
          </a:p>
        </p:txBody>
      </p:sp>
      <p:sp>
        <p:nvSpPr>
          <p:cNvPr id="15" name="Pladsholder til tekst 10">
            <a:extLst>
              <a:ext uri="{FF2B5EF4-FFF2-40B4-BE49-F238E27FC236}">
                <a16:creationId xmlns:a16="http://schemas.microsoft.com/office/drawing/2014/main" id="{D9B0E734-F44A-4DEC-A77B-4B038B4D6817}"/>
              </a:ext>
            </a:extLst>
          </p:cNvPr>
          <p:cNvSpPr>
            <a:spLocks noGrp="1"/>
          </p:cNvSpPr>
          <p:nvPr>
            <p:ph type="body" sz="quarter" idx="18" hasCustomPrompt="1"/>
          </p:nvPr>
        </p:nvSpPr>
        <p:spPr>
          <a:xfrm>
            <a:off x="1382400" y="3871772"/>
            <a:ext cx="3887787" cy="439738"/>
          </a:xfrm>
        </p:spPr>
        <p:txBody>
          <a:bodyPr wrap="none">
            <a:noAutofit/>
          </a:bodyPr>
          <a:lstStyle>
            <a:lvl1pPr marL="0" indent="0">
              <a:buFontTx/>
              <a:buNone/>
              <a:defRPr>
                <a:solidFill>
                  <a:schemeClr val="tx1"/>
                </a:solidFill>
              </a:defRPr>
            </a:lvl1pPr>
            <a:lvl2pPr marL="239400" indent="0">
              <a:buFontTx/>
              <a:buNone/>
              <a:defRPr>
                <a:solidFill>
                  <a:schemeClr val="bg1"/>
                </a:solidFill>
              </a:defRPr>
            </a:lvl2pPr>
            <a:lvl3pPr marL="473400" indent="0">
              <a:buFontTx/>
              <a:buNone/>
              <a:defRPr>
                <a:solidFill>
                  <a:schemeClr val="bg1"/>
                </a:solidFill>
              </a:defRPr>
            </a:lvl3pPr>
            <a:lvl4pPr marL="707400" indent="0">
              <a:buFontTx/>
              <a:buNone/>
              <a:defRPr>
                <a:solidFill>
                  <a:schemeClr val="bg1"/>
                </a:solidFill>
              </a:defRPr>
            </a:lvl4pPr>
            <a:lvl5pPr marL="923400" indent="0">
              <a:buFontTx/>
              <a:buNone/>
              <a:defRPr>
                <a:solidFill>
                  <a:schemeClr val="bg1"/>
                </a:solidFill>
              </a:defRPr>
            </a:lvl5pPr>
          </a:lstStyle>
          <a:p>
            <a:pPr lvl="0"/>
            <a:r>
              <a:rPr lang="en-GB" noProof="0"/>
              <a:t>Add text</a:t>
            </a:r>
          </a:p>
        </p:txBody>
      </p:sp>
      <p:sp>
        <p:nvSpPr>
          <p:cNvPr id="16" name="Pladsholder til tekst 8">
            <a:extLst>
              <a:ext uri="{FF2B5EF4-FFF2-40B4-BE49-F238E27FC236}">
                <a16:creationId xmlns:a16="http://schemas.microsoft.com/office/drawing/2014/main" id="{CBF0C377-235B-499E-8AD1-21A069A59AD5}"/>
              </a:ext>
            </a:extLst>
          </p:cNvPr>
          <p:cNvSpPr>
            <a:spLocks noGrp="1"/>
          </p:cNvSpPr>
          <p:nvPr>
            <p:ph type="body" sz="quarter" idx="19" hasCustomPrompt="1"/>
          </p:nvPr>
        </p:nvSpPr>
        <p:spPr>
          <a:xfrm>
            <a:off x="529200" y="4592537"/>
            <a:ext cx="576000" cy="576000"/>
          </a:xfrm>
          <a:ln w="34925">
            <a:solidFill>
              <a:schemeClr val="accent3"/>
            </a:solidFill>
            <a:miter lim="800000"/>
          </a:ln>
        </p:spPr>
        <p:txBody>
          <a:bodyPr lIns="72000" tIns="72000" rIns="72000" bIns="72000" anchor="ctr">
            <a:noAutofit/>
          </a:bodyPr>
          <a:lstStyle>
            <a:lvl1pPr marL="0" indent="0" algn="ctr">
              <a:buFontTx/>
              <a:buNone/>
              <a:defRPr sz="2000">
                <a:solidFill>
                  <a:schemeClr val="accent3"/>
                </a:solidFill>
                <a:latin typeface="Roboto Black" panose="02000000000000000000" pitchFamily="2" charset="0"/>
                <a:ea typeface="Roboto Black" panose="02000000000000000000" pitchFamily="2" charset="0"/>
              </a:defRPr>
            </a:lvl1pPr>
          </a:lstStyle>
          <a:p>
            <a:pPr lvl="0"/>
            <a:r>
              <a:rPr lang="da-DK"/>
              <a:t>#</a:t>
            </a:r>
            <a:endParaRPr lang="en-GB"/>
          </a:p>
        </p:txBody>
      </p:sp>
      <p:sp>
        <p:nvSpPr>
          <p:cNvPr id="17" name="Pladsholder til tekst 10">
            <a:extLst>
              <a:ext uri="{FF2B5EF4-FFF2-40B4-BE49-F238E27FC236}">
                <a16:creationId xmlns:a16="http://schemas.microsoft.com/office/drawing/2014/main" id="{BDFFD334-C23C-46AE-A8B8-CE8DC4B3F384}"/>
              </a:ext>
            </a:extLst>
          </p:cNvPr>
          <p:cNvSpPr>
            <a:spLocks noGrp="1"/>
          </p:cNvSpPr>
          <p:nvPr>
            <p:ph type="body" sz="quarter" idx="20" hasCustomPrompt="1"/>
          </p:nvPr>
        </p:nvSpPr>
        <p:spPr>
          <a:xfrm>
            <a:off x="1382400" y="4674470"/>
            <a:ext cx="3887787" cy="439738"/>
          </a:xfrm>
        </p:spPr>
        <p:txBody>
          <a:bodyPr wrap="none">
            <a:noAutofit/>
          </a:bodyPr>
          <a:lstStyle>
            <a:lvl1pPr marL="0" indent="0">
              <a:buFontTx/>
              <a:buNone/>
              <a:defRPr>
                <a:solidFill>
                  <a:schemeClr val="tx1"/>
                </a:solidFill>
              </a:defRPr>
            </a:lvl1pPr>
            <a:lvl2pPr marL="239400" indent="0">
              <a:buFontTx/>
              <a:buNone/>
              <a:defRPr>
                <a:solidFill>
                  <a:schemeClr val="bg1"/>
                </a:solidFill>
              </a:defRPr>
            </a:lvl2pPr>
            <a:lvl3pPr marL="473400" indent="0">
              <a:buFontTx/>
              <a:buNone/>
              <a:defRPr>
                <a:solidFill>
                  <a:schemeClr val="bg1"/>
                </a:solidFill>
              </a:defRPr>
            </a:lvl3pPr>
            <a:lvl4pPr marL="707400" indent="0">
              <a:buFontTx/>
              <a:buNone/>
              <a:defRPr>
                <a:solidFill>
                  <a:schemeClr val="bg1"/>
                </a:solidFill>
              </a:defRPr>
            </a:lvl4pPr>
            <a:lvl5pPr marL="923400" indent="0">
              <a:buFontTx/>
              <a:buNone/>
              <a:defRPr>
                <a:solidFill>
                  <a:schemeClr val="bg1"/>
                </a:solidFill>
              </a:defRPr>
            </a:lvl5pPr>
          </a:lstStyle>
          <a:p>
            <a:pPr lvl="0"/>
            <a:r>
              <a:rPr lang="en-GB" noProof="0"/>
              <a:t>Add text</a:t>
            </a:r>
          </a:p>
        </p:txBody>
      </p:sp>
      <p:sp>
        <p:nvSpPr>
          <p:cNvPr id="10" name="Pladsholder til billede 9">
            <a:extLst>
              <a:ext uri="{FF2B5EF4-FFF2-40B4-BE49-F238E27FC236}">
                <a16:creationId xmlns:a16="http://schemas.microsoft.com/office/drawing/2014/main" id="{ABDBC750-419C-40B2-AD52-176528C4E050}"/>
              </a:ext>
            </a:extLst>
          </p:cNvPr>
          <p:cNvSpPr>
            <a:spLocks noGrp="1"/>
          </p:cNvSpPr>
          <p:nvPr>
            <p:ph type="pic" sz="quarter" idx="21" hasCustomPrompt="1"/>
          </p:nvPr>
        </p:nvSpPr>
        <p:spPr>
          <a:xfrm>
            <a:off x="6240463" y="0"/>
            <a:ext cx="5951537" cy="6453188"/>
          </a:xfrm>
        </p:spPr>
        <p:txBody>
          <a:bodyPr tIns="792000" anchor="ctr" anchorCtr="1"/>
          <a:lstStyle>
            <a:lvl1pPr marL="0" indent="0">
              <a:buFontTx/>
              <a:buNone/>
              <a:defRPr>
                <a:solidFill>
                  <a:schemeClr val="bg1"/>
                </a:solidFill>
              </a:defRPr>
            </a:lvl1pPr>
          </a:lstStyle>
          <a:p>
            <a:r>
              <a:rPr lang="en-GB"/>
              <a:t>Click to insert image</a:t>
            </a:r>
          </a:p>
        </p:txBody>
      </p:sp>
      <p:pic>
        <p:nvPicPr>
          <p:cNvPr id="19" name="Picture 18" descr="Logo, icon&#10;&#10;Description automatically generated">
            <a:extLst>
              <a:ext uri="{FF2B5EF4-FFF2-40B4-BE49-F238E27FC236}">
                <a16:creationId xmlns:a16="http://schemas.microsoft.com/office/drawing/2014/main" id="{8962AD3E-2D73-287D-2CEB-3CED353ACD4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887958" y="6560348"/>
            <a:ext cx="863707" cy="195758"/>
          </a:xfrm>
          <a:prstGeom prst="rect">
            <a:avLst/>
          </a:prstGeom>
        </p:spPr>
      </p:pic>
    </p:spTree>
    <p:extLst>
      <p:ext uri="{BB962C8B-B14F-4D97-AF65-F5344CB8AC3E}">
        <p14:creationId xmlns:p14="http://schemas.microsoft.com/office/powerpoint/2010/main" val="25025986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ntent - Subhead - Light">
    <p:bg>
      <p:bgPr>
        <a:solidFill>
          <a:srgbClr val="ECECED"/>
        </a:solidFill>
        <a:effectLst/>
      </p:bgPr>
    </p:bg>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68237672-EA13-4736-A70B-E52AB4AD066C}"/>
              </a:ext>
            </a:extLst>
          </p:cNvPr>
          <p:cNvSpPr/>
          <p:nvPr/>
        </p:nvSpPr>
        <p:spPr>
          <a:xfrm>
            <a:off x="0" y="6453188"/>
            <a:ext cx="12192000" cy="404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el 1">
            <a:extLst>
              <a:ext uri="{FF2B5EF4-FFF2-40B4-BE49-F238E27FC236}">
                <a16:creationId xmlns:a16="http://schemas.microsoft.com/office/drawing/2014/main" id="{7CB936AD-B99A-4CBD-8357-6A393A1540DF}"/>
              </a:ext>
            </a:extLst>
          </p:cNvPr>
          <p:cNvSpPr>
            <a:spLocks noGrp="1"/>
          </p:cNvSpPr>
          <p:nvPr>
            <p:ph type="title" hasCustomPrompt="1"/>
          </p:nvPr>
        </p:nvSpPr>
        <p:spPr>
          <a:xfrm>
            <a:off x="514800" y="333375"/>
            <a:ext cx="11161263" cy="554400"/>
          </a:xfrm>
        </p:spPr>
        <p:txBody>
          <a:bodyPr>
            <a:noAutofit/>
          </a:bodyPr>
          <a:lstStyle>
            <a:lvl1pPr>
              <a:defRPr sz="3600" b="1"/>
            </a:lvl1pPr>
          </a:lstStyle>
          <a:p>
            <a:r>
              <a:rPr lang="en-GB" noProof="0"/>
              <a:t>Add heading</a:t>
            </a:r>
          </a:p>
        </p:txBody>
      </p:sp>
      <p:sp>
        <p:nvSpPr>
          <p:cNvPr id="3" name="Pladsholder til indhold 2">
            <a:extLst>
              <a:ext uri="{FF2B5EF4-FFF2-40B4-BE49-F238E27FC236}">
                <a16:creationId xmlns:a16="http://schemas.microsoft.com/office/drawing/2014/main" id="{1236430A-BA34-4FAC-83B6-11BC4B15979F}"/>
              </a:ext>
            </a:extLst>
          </p:cNvPr>
          <p:cNvSpPr>
            <a:spLocks noGrp="1"/>
          </p:cNvSpPr>
          <p:nvPr>
            <p:ph idx="1" hasCustomPrompt="1"/>
          </p:nvPr>
        </p:nvSpPr>
        <p:spPr>
          <a:xfrm>
            <a:off x="514799" y="1376362"/>
            <a:ext cx="7344915" cy="4968876"/>
          </a:xfrm>
        </p:spPr>
        <p:txBody>
          <a:bodyPr/>
          <a:lstStyle>
            <a:lvl1pPr>
              <a:defRPr/>
            </a:lvl1pPr>
            <a:lvl2pPr>
              <a:defRPr/>
            </a:lvl2pPr>
            <a:lvl3pPr>
              <a:defRPr/>
            </a:lvl3pPr>
            <a:lvl4pPr>
              <a:defRPr/>
            </a:lvl4pPr>
            <a:lvl5pPr>
              <a:defRPr/>
            </a:lvl5pPr>
          </a:lstStyle>
          <a:p>
            <a:pPr lvl="0"/>
            <a:r>
              <a:rPr lang="en-GB" noProof="0"/>
              <a:t>Add content. Deactivate lists and bullets if not needed.</a:t>
            </a:r>
          </a:p>
          <a:p>
            <a:pPr lvl="1"/>
            <a:r>
              <a:rPr lang="en-GB" noProof="0"/>
              <a:t>Second level content</a:t>
            </a:r>
          </a:p>
          <a:p>
            <a:pPr lvl="2"/>
            <a:r>
              <a:rPr lang="en-GB" noProof="0"/>
              <a:t>Third level content</a:t>
            </a:r>
          </a:p>
          <a:p>
            <a:pPr lvl="3"/>
            <a:r>
              <a:rPr lang="en-GB" noProof="0"/>
              <a:t>Fourth level content</a:t>
            </a:r>
          </a:p>
          <a:p>
            <a:pPr lvl="4"/>
            <a:r>
              <a:rPr lang="en-GB" noProof="0"/>
              <a:t>Fifth level content</a:t>
            </a:r>
          </a:p>
        </p:txBody>
      </p:sp>
      <p:sp>
        <p:nvSpPr>
          <p:cNvPr id="10" name="Pladsholder til tekst 9">
            <a:extLst>
              <a:ext uri="{FF2B5EF4-FFF2-40B4-BE49-F238E27FC236}">
                <a16:creationId xmlns:a16="http://schemas.microsoft.com/office/drawing/2014/main" id="{9AFA0120-57A0-4D2B-8C07-01264457CB70}"/>
              </a:ext>
            </a:extLst>
          </p:cNvPr>
          <p:cNvSpPr>
            <a:spLocks noGrp="1"/>
          </p:cNvSpPr>
          <p:nvPr>
            <p:ph type="body" sz="quarter" idx="13" hasCustomPrompt="1"/>
          </p:nvPr>
        </p:nvSpPr>
        <p:spPr>
          <a:xfrm>
            <a:off x="515938" y="900000"/>
            <a:ext cx="11160125" cy="368412"/>
          </a:xfrm>
        </p:spPr>
        <p:txBody>
          <a:bodyPr wrap="none" tIns="0" bIns="0" anchor="t" anchorCtr="0">
            <a:noAutofit/>
          </a:bodyPr>
          <a:lstStyle>
            <a:lvl1pPr marL="0" indent="0">
              <a:buFontTx/>
              <a:buNone/>
              <a:defRPr sz="1800" b="1">
                <a:solidFill>
                  <a:schemeClr val="tx2"/>
                </a:solidFill>
                <a:latin typeface="Roboto" panose="02000000000000000000" pitchFamily="2" charset="0"/>
                <a:ea typeface="Roboto" panose="02000000000000000000" pitchFamily="2" charset="0"/>
                <a:cs typeface="Roboto Black" panose="02000000000000000000" pitchFamily="2" charset="0"/>
              </a:defRPr>
            </a:lvl1pPr>
            <a:lvl2pPr marL="457200" indent="0">
              <a:buFontTx/>
              <a:buNone/>
              <a:defRPr>
                <a:solidFill>
                  <a:schemeClr val="tx2"/>
                </a:solidFill>
              </a:defRPr>
            </a:lvl2pPr>
            <a:lvl3pPr marL="914400" indent="0">
              <a:buFontTx/>
              <a:buNone/>
              <a:defRPr>
                <a:solidFill>
                  <a:schemeClr val="tx2"/>
                </a:solidFill>
              </a:defRPr>
            </a:lvl3pPr>
            <a:lvl4pPr marL="1371600" indent="0">
              <a:buFontTx/>
              <a:buNone/>
              <a:defRPr>
                <a:solidFill>
                  <a:schemeClr val="tx2"/>
                </a:solidFill>
              </a:defRPr>
            </a:lvl4pPr>
            <a:lvl5pPr marL="1828800" indent="0">
              <a:buFontTx/>
              <a:buNone/>
              <a:defRPr>
                <a:solidFill>
                  <a:schemeClr val="tx2"/>
                </a:solidFill>
              </a:defRPr>
            </a:lvl5pPr>
          </a:lstStyle>
          <a:p>
            <a:pPr lvl="0"/>
            <a:r>
              <a:rPr lang="en-GB" noProof="0"/>
              <a:t>Add subheading</a:t>
            </a:r>
          </a:p>
        </p:txBody>
      </p:sp>
      <p:pic>
        <p:nvPicPr>
          <p:cNvPr id="9" name="Picture 8" descr="Logo, icon&#10;&#10;Description automatically generated">
            <a:extLst>
              <a:ext uri="{FF2B5EF4-FFF2-40B4-BE49-F238E27FC236}">
                <a16:creationId xmlns:a16="http://schemas.microsoft.com/office/drawing/2014/main" id="{D2FEFAEF-F121-307E-819D-CB014ECD4AD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887958" y="6560348"/>
            <a:ext cx="863707" cy="195758"/>
          </a:xfrm>
          <a:prstGeom prst="rect">
            <a:avLst/>
          </a:prstGeom>
        </p:spPr>
      </p:pic>
    </p:spTree>
    <p:extLst>
      <p:ext uri="{BB962C8B-B14F-4D97-AF65-F5344CB8AC3E}">
        <p14:creationId xmlns:p14="http://schemas.microsoft.com/office/powerpoint/2010/main" val="1337948716"/>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ntent - Subhead - no footer - Light">
    <p:bg>
      <p:bgPr>
        <a:solidFill>
          <a:srgbClr val="ECECE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B936AD-B99A-4CBD-8357-6A393A1540DF}"/>
              </a:ext>
            </a:extLst>
          </p:cNvPr>
          <p:cNvSpPr>
            <a:spLocks noGrp="1"/>
          </p:cNvSpPr>
          <p:nvPr>
            <p:ph type="title" hasCustomPrompt="1"/>
          </p:nvPr>
        </p:nvSpPr>
        <p:spPr>
          <a:xfrm>
            <a:off x="514800" y="333375"/>
            <a:ext cx="11161263" cy="554400"/>
          </a:xfrm>
        </p:spPr>
        <p:txBody>
          <a:bodyPr/>
          <a:lstStyle>
            <a:lvl1pPr>
              <a:defRPr>
                <a:solidFill>
                  <a:schemeClr val="tx2"/>
                </a:solidFill>
              </a:defRPr>
            </a:lvl1pPr>
          </a:lstStyle>
          <a:p>
            <a:r>
              <a:rPr lang="en-GB" noProof="0"/>
              <a:t>Add heading</a:t>
            </a:r>
          </a:p>
        </p:txBody>
      </p:sp>
      <p:sp>
        <p:nvSpPr>
          <p:cNvPr id="3" name="Pladsholder til indhold 2">
            <a:extLst>
              <a:ext uri="{FF2B5EF4-FFF2-40B4-BE49-F238E27FC236}">
                <a16:creationId xmlns:a16="http://schemas.microsoft.com/office/drawing/2014/main" id="{1236430A-BA34-4FAC-83B6-11BC4B15979F}"/>
              </a:ext>
            </a:extLst>
          </p:cNvPr>
          <p:cNvSpPr>
            <a:spLocks noGrp="1"/>
          </p:cNvSpPr>
          <p:nvPr>
            <p:ph idx="1" hasCustomPrompt="1"/>
          </p:nvPr>
        </p:nvSpPr>
        <p:spPr>
          <a:xfrm>
            <a:off x="514799" y="1376363"/>
            <a:ext cx="7344915" cy="4968875"/>
          </a:xfrm>
        </p:spPr>
        <p:txBody>
          <a:bodyPr/>
          <a:lstStyle>
            <a:lvl1pPr>
              <a:buClr>
                <a:schemeClr val="accent3"/>
              </a:buClr>
              <a:defRPr>
                <a:solidFill>
                  <a:schemeClr val="tx1"/>
                </a:solidFill>
              </a:defRPr>
            </a:lvl1pPr>
            <a:lvl2pPr>
              <a:buClr>
                <a:schemeClr val="accent3"/>
              </a:buClr>
              <a:defRPr>
                <a:solidFill>
                  <a:schemeClr val="tx1"/>
                </a:solidFill>
              </a:defRPr>
            </a:lvl2pPr>
            <a:lvl3pPr>
              <a:buClr>
                <a:schemeClr val="accent3"/>
              </a:buClr>
              <a:defRPr>
                <a:solidFill>
                  <a:schemeClr val="tx1"/>
                </a:solidFill>
              </a:defRPr>
            </a:lvl3pPr>
            <a:lvl4pPr>
              <a:buClr>
                <a:schemeClr val="accent3"/>
              </a:buClr>
              <a:defRPr>
                <a:solidFill>
                  <a:schemeClr val="tx1"/>
                </a:solidFill>
              </a:defRPr>
            </a:lvl4pPr>
            <a:lvl5pPr>
              <a:buClr>
                <a:schemeClr val="accent3"/>
              </a:buClr>
              <a:defRPr>
                <a:solidFill>
                  <a:schemeClr val="tx1"/>
                </a:solidFill>
              </a:defRPr>
            </a:lvl5pPr>
          </a:lstStyle>
          <a:p>
            <a:pPr lvl="0"/>
            <a:r>
              <a:rPr lang="en-GB" noProof="0"/>
              <a:t>Add content. Deactivate lists and bullets if not needed.</a:t>
            </a:r>
          </a:p>
          <a:p>
            <a:pPr lvl="1"/>
            <a:r>
              <a:rPr lang="en-GB" noProof="0"/>
              <a:t>Second level content</a:t>
            </a:r>
          </a:p>
          <a:p>
            <a:pPr lvl="2"/>
            <a:r>
              <a:rPr lang="en-GB" noProof="0"/>
              <a:t>Third level content</a:t>
            </a:r>
          </a:p>
          <a:p>
            <a:pPr lvl="3"/>
            <a:r>
              <a:rPr lang="en-GB" noProof="0"/>
              <a:t>Fourth level content</a:t>
            </a:r>
          </a:p>
          <a:p>
            <a:pPr lvl="4"/>
            <a:r>
              <a:rPr lang="en-GB" noProof="0"/>
              <a:t>Fifth level content</a:t>
            </a:r>
          </a:p>
        </p:txBody>
      </p:sp>
      <p:pic>
        <p:nvPicPr>
          <p:cNvPr id="7" name="Picture 6" descr="Logo, icon&#10;&#10;Description automatically generated">
            <a:extLst>
              <a:ext uri="{FF2B5EF4-FFF2-40B4-BE49-F238E27FC236}">
                <a16:creationId xmlns:a16="http://schemas.microsoft.com/office/drawing/2014/main" id="{E44DDAEB-2849-BB2D-BA4E-FA411626C0B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887958" y="6560348"/>
            <a:ext cx="863707" cy="195758"/>
          </a:xfrm>
          <a:prstGeom prst="rect">
            <a:avLst/>
          </a:prstGeom>
        </p:spPr>
      </p:pic>
      <p:sp>
        <p:nvSpPr>
          <p:cNvPr id="5" name="Text Placeholder 4">
            <a:extLst>
              <a:ext uri="{FF2B5EF4-FFF2-40B4-BE49-F238E27FC236}">
                <a16:creationId xmlns:a16="http://schemas.microsoft.com/office/drawing/2014/main" id="{F44A8EA4-61B5-BB0F-0091-0FE6FC462F5B}"/>
              </a:ext>
            </a:extLst>
          </p:cNvPr>
          <p:cNvSpPr>
            <a:spLocks noGrp="1"/>
          </p:cNvSpPr>
          <p:nvPr>
            <p:ph type="body" sz="quarter" idx="13"/>
          </p:nvPr>
        </p:nvSpPr>
        <p:spPr>
          <a:xfrm>
            <a:off x="515938" y="900000"/>
            <a:ext cx="11160125" cy="368412"/>
          </a:xfrm>
        </p:spPr>
        <p:txBody>
          <a:bodyPr tIns="0" bIns="0"/>
          <a:lstStyle>
            <a:lvl1pPr marL="0" indent="0">
              <a:buFontTx/>
              <a:buNone/>
              <a:defRPr b="1">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13793093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ntent - Subhead + Image - Light">
    <p:bg>
      <p:bgPr>
        <a:solidFill>
          <a:srgbClr val="ECECED"/>
        </a:solidFill>
        <a:effectLst/>
      </p:bgPr>
    </p:bg>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F6425D13-9A1B-4760-9173-66541B3DE401}"/>
              </a:ext>
            </a:extLst>
          </p:cNvPr>
          <p:cNvSpPr/>
          <p:nvPr/>
        </p:nvSpPr>
        <p:spPr>
          <a:xfrm>
            <a:off x="0" y="6453188"/>
            <a:ext cx="12192000" cy="404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el 1">
            <a:extLst>
              <a:ext uri="{FF2B5EF4-FFF2-40B4-BE49-F238E27FC236}">
                <a16:creationId xmlns:a16="http://schemas.microsoft.com/office/drawing/2014/main" id="{20DD5FC8-A4F2-4F9F-A6C1-F40DB3F38D2D}"/>
              </a:ext>
            </a:extLst>
          </p:cNvPr>
          <p:cNvSpPr>
            <a:spLocks noGrp="1"/>
          </p:cNvSpPr>
          <p:nvPr>
            <p:ph type="title" hasCustomPrompt="1"/>
          </p:nvPr>
        </p:nvSpPr>
        <p:spPr>
          <a:xfrm>
            <a:off x="514800" y="334800"/>
            <a:ext cx="5436738" cy="554400"/>
          </a:xfrm>
        </p:spPr>
        <p:txBody>
          <a:bodyPr anchor="t" anchorCtr="0">
            <a:noAutofit/>
          </a:bodyPr>
          <a:lstStyle>
            <a:lvl1pPr>
              <a:defRPr sz="3600"/>
            </a:lvl1pPr>
          </a:lstStyle>
          <a:p>
            <a:r>
              <a:rPr lang="en-GB" noProof="0"/>
              <a:t>Add heading</a:t>
            </a:r>
          </a:p>
        </p:txBody>
      </p:sp>
      <p:sp>
        <p:nvSpPr>
          <p:cNvPr id="3" name="Pladsholder til billede 2">
            <a:extLst>
              <a:ext uri="{FF2B5EF4-FFF2-40B4-BE49-F238E27FC236}">
                <a16:creationId xmlns:a16="http://schemas.microsoft.com/office/drawing/2014/main" id="{5BDAB1EB-D25D-4C31-8262-45394195B7D8}"/>
              </a:ext>
            </a:extLst>
          </p:cNvPr>
          <p:cNvSpPr>
            <a:spLocks noGrp="1"/>
          </p:cNvSpPr>
          <p:nvPr>
            <p:ph type="pic" idx="1" hasCustomPrompt="1"/>
          </p:nvPr>
        </p:nvSpPr>
        <p:spPr>
          <a:xfrm>
            <a:off x="6240464" y="0"/>
            <a:ext cx="5951536" cy="6453188"/>
          </a:xfrm>
        </p:spPr>
        <p:txBody>
          <a:bodyPr tIns="792000" anchor="ctr" anchorCtr="1">
            <a:normAutofit/>
          </a:bodyPr>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to insert image</a:t>
            </a:r>
          </a:p>
        </p:txBody>
      </p:sp>
      <p:sp>
        <p:nvSpPr>
          <p:cNvPr id="4" name="Pladsholder til tekst 3">
            <a:extLst>
              <a:ext uri="{FF2B5EF4-FFF2-40B4-BE49-F238E27FC236}">
                <a16:creationId xmlns:a16="http://schemas.microsoft.com/office/drawing/2014/main" id="{835DAC81-9607-4A0D-87D2-0691ECE02B42}"/>
              </a:ext>
            </a:extLst>
          </p:cNvPr>
          <p:cNvSpPr>
            <a:spLocks noGrp="1"/>
          </p:cNvSpPr>
          <p:nvPr>
            <p:ph type="body" sz="half" idx="2" hasCustomPrompt="1"/>
          </p:nvPr>
        </p:nvSpPr>
        <p:spPr>
          <a:xfrm>
            <a:off x="514800" y="1376362"/>
            <a:ext cx="5436738" cy="4968876"/>
          </a:xfrm>
        </p:spPr>
        <p:txBody>
          <a:bodyPr>
            <a:no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noProof="0"/>
              <a:t>Add content</a:t>
            </a:r>
          </a:p>
        </p:txBody>
      </p:sp>
      <p:pic>
        <p:nvPicPr>
          <p:cNvPr id="10" name="Picture 9" descr="Logo, icon&#10;&#10;Description automatically generated">
            <a:extLst>
              <a:ext uri="{FF2B5EF4-FFF2-40B4-BE49-F238E27FC236}">
                <a16:creationId xmlns:a16="http://schemas.microsoft.com/office/drawing/2014/main" id="{2D6C80CE-1A05-09E7-A60F-EB8257CB234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887958" y="6560348"/>
            <a:ext cx="863707" cy="195758"/>
          </a:xfrm>
          <a:prstGeom prst="rect">
            <a:avLst/>
          </a:prstGeom>
        </p:spPr>
      </p:pic>
      <p:sp>
        <p:nvSpPr>
          <p:cNvPr id="6" name="Text Placeholder 5">
            <a:extLst>
              <a:ext uri="{FF2B5EF4-FFF2-40B4-BE49-F238E27FC236}">
                <a16:creationId xmlns:a16="http://schemas.microsoft.com/office/drawing/2014/main" id="{59362F38-C9A8-7A30-996E-F6B72F33CCD4}"/>
              </a:ext>
            </a:extLst>
          </p:cNvPr>
          <p:cNvSpPr>
            <a:spLocks noGrp="1"/>
          </p:cNvSpPr>
          <p:nvPr>
            <p:ph type="body" sz="quarter" idx="13"/>
          </p:nvPr>
        </p:nvSpPr>
        <p:spPr>
          <a:xfrm>
            <a:off x="515938" y="900000"/>
            <a:ext cx="5435599" cy="368412"/>
          </a:xfrm>
        </p:spPr>
        <p:txBody>
          <a:bodyPr tIns="0" bIns="0"/>
          <a:lstStyle>
            <a:lvl1pPr marL="0" indent="0">
              <a:buFontTx/>
              <a:buNone/>
              <a:defRPr b="1">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50162524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 Subhead - Light">
    <p:bg>
      <p:bgPr>
        <a:solidFill>
          <a:srgbClr val="ECECED"/>
        </a:solidFill>
        <a:effectLst/>
      </p:bgPr>
    </p:bg>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2C9C8A44-FDC0-475D-BC2B-A15569175EA1}"/>
              </a:ext>
            </a:extLst>
          </p:cNvPr>
          <p:cNvSpPr/>
          <p:nvPr/>
        </p:nvSpPr>
        <p:spPr>
          <a:xfrm>
            <a:off x="0" y="6453188"/>
            <a:ext cx="12192000" cy="404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el 1">
            <a:extLst>
              <a:ext uri="{FF2B5EF4-FFF2-40B4-BE49-F238E27FC236}">
                <a16:creationId xmlns:a16="http://schemas.microsoft.com/office/drawing/2014/main" id="{B810521B-284B-4FCD-B0CF-87DE041A7121}"/>
              </a:ext>
            </a:extLst>
          </p:cNvPr>
          <p:cNvSpPr>
            <a:spLocks noGrp="1"/>
          </p:cNvSpPr>
          <p:nvPr>
            <p:ph type="title" hasCustomPrompt="1"/>
          </p:nvPr>
        </p:nvSpPr>
        <p:spPr>
          <a:xfrm>
            <a:off x="514800" y="333375"/>
            <a:ext cx="11161263" cy="554400"/>
          </a:xfrm>
        </p:spPr>
        <p:txBody>
          <a:bodyPr/>
          <a:lstStyle>
            <a:lvl1pPr>
              <a:defRPr/>
            </a:lvl1pPr>
          </a:lstStyle>
          <a:p>
            <a:r>
              <a:rPr lang="en-GB" noProof="0"/>
              <a:t>Add heading</a:t>
            </a:r>
          </a:p>
        </p:txBody>
      </p:sp>
      <p:pic>
        <p:nvPicPr>
          <p:cNvPr id="8" name="Picture 7" descr="Logo, icon&#10;&#10;Description automatically generated">
            <a:extLst>
              <a:ext uri="{FF2B5EF4-FFF2-40B4-BE49-F238E27FC236}">
                <a16:creationId xmlns:a16="http://schemas.microsoft.com/office/drawing/2014/main" id="{C846069B-D02F-0BCC-3219-36F534460F5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887958" y="6560348"/>
            <a:ext cx="863707" cy="195758"/>
          </a:xfrm>
          <a:prstGeom prst="rect">
            <a:avLst/>
          </a:prstGeom>
        </p:spPr>
      </p:pic>
      <p:sp>
        <p:nvSpPr>
          <p:cNvPr id="4" name="Text Placeholder 3">
            <a:extLst>
              <a:ext uri="{FF2B5EF4-FFF2-40B4-BE49-F238E27FC236}">
                <a16:creationId xmlns:a16="http://schemas.microsoft.com/office/drawing/2014/main" id="{94888FD7-02E3-5F5B-D00B-110B1973DD89}"/>
              </a:ext>
            </a:extLst>
          </p:cNvPr>
          <p:cNvSpPr>
            <a:spLocks noGrp="1"/>
          </p:cNvSpPr>
          <p:nvPr>
            <p:ph type="body" sz="quarter" idx="13"/>
          </p:nvPr>
        </p:nvSpPr>
        <p:spPr>
          <a:xfrm>
            <a:off x="515938" y="900000"/>
            <a:ext cx="11160125" cy="368412"/>
          </a:xfrm>
        </p:spPr>
        <p:txBody>
          <a:bodyPr tIns="0" bIns="0"/>
          <a:lstStyle>
            <a:lvl1pPr marL="0" indent="0">
              <a:buFontTx/>
              <a:buNone/>
              <a:defRPr b="1">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35579000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2/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Content - Subhead - no footer - ribbon Light">
    <p:bg>
      <p:bgPr>
        <a:solidFill>
          <a:srgbClr val="ECECED"/>
        </a:solidFill>
        <a:effectLst/>
      </p:bgPr>
    </p:bg>
    <p:spTree>
      <p:nvGrpSpPr>
        <p:cNvPr id="1" name=""/>
        <p:cNvGrpSpPr/>
        <p:nvPr/>
      </p:nvGrpSpPr>
      <p:grpSpPr>
        <a:xfrm>
          <a:off x="0" y="0"/>
          <a:ext cx="0" cy="0"/>
          <a:chOff x="0" y="0"/>
          <a:chExt cx="0" cy="0"/>
        </a:xfrm>
      </p:grpSpPr>
      <p:pic>
        <p:nvPicPr>
          <p:cNvPr id="10" name="Picture 9" descr="A white rectangular object with a triangle&#10;&#10;Description automatically generated">
            <a:extLst>
              <a:ext uri="{FF2B5EF4-FFF2-40B4-BE49-F238E27FC236}">
                <a16:creationId xmlns:a16="http://schemas.microsoft.com/office/drawing/2014/main" id="{3C2A2D34-085C-C3ED-A1D1-EF6BC6B6EAD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708356" y="11905"/>
            <a:ext cx="2483644" cy="6858000"/>
          </a:xfrm>
          <a:prstGeom prst="rect">
            <a:avLst/>
          </a:prstGeom>
        </p:spPr>
      </p:pic>
      <p:pic>
        <p:nvPicPr>
          <p:cNvPr id="13" name="Picture 12" descr="A black and white grid&#10;&#10;Description automatically generated">
            <a:extLst>
              <a:ext uri="{FF2B5EF4-FFF2-40B4-BE49-F238E27FC236}">
                <a16:creationId xmlns:a16="http://schemas.microsoft.com/office/drawing/2014/main" id="{981FD182-C26B-669E-34F4-63DECBE88C12}"/>
              </a:ext>
            </a:extLst>
          </p:cNvPr>
          <p:cNvPicPr>
            <a:picLocks/>
          </p:cNvPicPr>
          <p:nvPr/>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2" name="Picture 11" descr="Logo, icon&#10;&#10;Description automatically generated">
            <a:extLst>
              <a:ext uri="{FF2B5EF4-FFF2-40B4-BE49-F238E27FC236}">
                <a16:creationId xmlns:a16="http://schemas.microsoft.com/office/drawing/2014/main" id="{04D2E324-5F4A-4542-4B9B-0969B8E80A1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887958" y="6560348"/>
            <a:ext cx="863707" cy="195758"/>
          </a:xfrm>
          <a:prstGeom prst="rect">
            <a:avLst/>
          </a:prstGeom>
        </p:spPr>
      </p:pic>
      <p:sp>
        <p:nvSpPr>
          <p:cNvPr id="2" name="Titel 1">
            <a:extLst>
              <a:ext uri="{FF2B5EF4-FFF2-40B4-BE49-F238E27FC236}">
                <a16:creationId xmlns:a16="http://schemas.microsoft.com/office/drawing/2014/main" id="{7CB936AD-B99A-4CBD-8357-6A393A1540DF}"/>
              </a:ext>
            </a:extLst>
          </p:cNvPr>
          <p:cNvSpPr>
            <a:spLocks noGrp="1"/>
          </p:cNvSpPr>
          <p:nvPr>
            <p:ph type="title" hasCustomPrompt="1"/>
          </p:nvPr>
        </p:nvSpPr>
        <p:spPr>
          <a:xfrm>
            <a:off x="514801" y="333375"/>
            <a:ext cx="9251500" cy="554400"/>
          </a:xfrm>
        </p:spPr>
        <p:txBody>
          <a:bodyPr/>
          <a:lstStyle>
            <a:lvl1pPr>
              <a:defRPr>
                <a:solidFill>
                  <a:schemeClr val="tx2"/>
                </a:solidFill>
              </a:defRPr>
            </a:lvl1pPr>
          </a:lstStyle>
          <a:p>
            <a:r>
              <a:rPr lang="en-GB" noProof="0"/>
              <a:t>Add heading</a:t>
            </a:r>
          </a:p>
        </p:txBody>
      </p:sp>
      <p:sp>
        <p:nvSpPr>
          <p:cNvPr id="3" name="Pladsholder til indhold 2">
            <a:extLst>
              <a:ext uri="{FF2B5EF4-FFF2-40B4-BE49-F238E27FC236}">
                <a16:creationId xmlns:a16="http://schemas.microsoft.com/office/drawing/2014/main" id="{1236430A-BA34-4FAC-83B6-11BC4B15979F}"/>
              </a:ext>
            </a:extLst>
          </p:cNvPr>
          <p:cNvSpPr>
            <a:spLocks noGrp="1"/>
          </p:cNvSpPr>
          <p:nvPr>
            <p:ph idx="1" hasCustomPrompt="1"/>
          </p:nvPr>
        </p:nvSpPr>
        <p:spPr>
          <a:xfrm>
            <a:off x="514799" y="1376363"/>
            <a:ext cx="7344915" cy="4968875"/>
          </a:xfrm>
        </p:spPr>
        <p:txBody>
          <a:bodyPr/>
          <a:lstStyle>
            <a:lvl1pPr>
              <a:buClr>
                <a:schemeClr val="accent3"/>
              </a:buClr>
              <a:defRPr>
                <a:solidFill>
                  <a:schemeClr val="tx1"/>
                </a:solidFill>
              </a:defRPr>
            </a:lvl1pPr>
            <a:lvl2pPr>
              <a:buClr>
                <a:schemeClr val="accent3"/>
              </a:buClr>
              <a:defRPr>
                <a:solidFill>
                  <a:schemeClr val="tx1"/>
                </a:solidFill>
              </a:defRPr>
            </a:lvl2pPr>
            <a:lvl3pPr>
              <a:buClr>
                <a:schemeClr val="accent3"/>
              </a:buClr>
              <a:defRPr>
                <a:solidFill>
                  <a:schemeClr val="tx1"/>
                </a:solidFill>
              </a:defRPr>
            </a:lvl3pPr>
            <a:lvl4pPr>
              <a:buClr>
                <a:schemeClr val="accent3"/>
              </a:buClr>
              <a:defRPr>
                <a:solidFill>
                  <a:schemeClr val="tx1"/>
                </a:solidFill>
              </a:defRPr>
            </a:lvl4pPr>
            <a:lvl5pPr>
              <a:buClr>
                <a:schemeClr val="accent3"/>
              </a:buClr>
              <a:defRPr>
                <a:solidFill>
                  <a:schemeClr val="tx1"/>
                </a:solidFill>
              </a:defRPr>
            </a:lvl5pPr>
          </a:lstStyle>
          <a:p>
            <a:pPr lvl="0"/>
            <a:r>
              <a:rPr lang="en-GB" noProof="0"/>
              <a:t>Add content. Deactivate lists and bullets if not needed.</a:t>
            </a:r>
          </a:p>
          <a:p>
            <a:pPr lvl="1"/>
            <a:r>
              <a:rPr lang="en-GB" noProof="0"/>
              <a:t>Second level content</a:t>
            </a:r>
          </a:p>
          <a:p>
            <a:pPr lvl="2"/>
            <a:r>
              <a:rPr lang="en-GB" noProof="0"/>
              <a:t>Third level content</a:t>
            </a:r>
          </a:p>
          <a:p>
            <a:pPr lvl="3"/>
            <a:r>
              <a:rPr lang="en-GB" noProof="0"/>
              <a:t>Fourth level content</a:t>
            </a:r>
          </a:p>
          <a:p>
            <a:pPr lvl="4"/>
            <a:r>
              <a:rPr lang="en-GB" noProof="0"/>
              <a:t>Fifth level content</a:t>
            </a:r>
          </a:p>
        </p:txBody>
      </p:sp>
      <p:sp>
        <p:nvSpPr>
          <p:cNvPr id="5" name="Text Placeholder 4">
            <a:extLst>
              <a:ext uri="{FF2B5EF4-FFF2-40B4-BE49-F238E27FC236}">
                <a16:creationId xmlns:a16="http://schemas.microsoft.com/office/drawing/2014/main" id="{12816DD9-07C4-39EA-9E28-9AB3BEC34321}"/>
              </a:ext>
            </a:extLst>
          </p:cNvPr>
          <p:cNvSpPr>
            <a:spLocks noGrp="1"/>
          </p:cNvSpPr>
          <p:nvPr>
            <p:ph type="body" sz="quarter" idx="13"/>
          </p:nvPr>
        </p:nvSpPr>
        <p:spPr>
          <a:xfrm>
            <a:off x="515938" y="900000"/>
            <a:ext cx="9250557" cy="368412"/>
          </a:xfrm>
        </p:spPr>
        <p:txBody>
          <a:bodyPr tIns="0" bIns="0"/>
          <a:lstStyle>
            <a:lvl1pPr marL="0" indent="0">
              <a:buFontTx/>
              <a:buNone/>
              <a:defRPr b="1">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2553962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Ribbon - Light">
    <p:bg>
      <p:bgPr>
        <a:solidFill>
          <a:srgbClr val="ECECED"/>
        </a:solidFill>
        <a:effectLst/>
      </p:bgPr>
    </p:bg>
    <p:spTree>
      <p:nvGrpSpPr>
        <p:cNvPr id="1" name=""/>
        <p:cNvGrpSpPr/>
        <p:nvPr/>
      </p:nvGrpSpPr>
      <p:grpSpPr>
        <a:xfrm>
          <a:off x="0" y="0"/>
          <a:ext cx="0" cy="0"/>
          <a:chOff x="0" y="0"/>
          <a:chExt cx="0" cy="0"/>
        </a:xfrm>
      </p:grpSpPr>
      <p:pic>
        <p:nvPicPr>
          <p:cNvPr id="5" name="Picture 4" descr="A white rectangular object with a triangle&#10;&#10;Description automatically generated">
            <a:extLst>
              <a:ext uri="{FF2B5EF4-FFF2-40B4-BE49-F238E27FC236}">
                <a16:creationId xmlns:a16="http://schemas.microsoft.com/office/drawing/2014/main" id="{F4BCF47D-5F03-F409-40A5-F45EC3053D6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708356" y="11905"/>
            <a:ext cx="2483644" cy="6858000"/>
          </a:xfrm>
          <a:prstGeom prst="rect">
            <a:avLst/>
          </a:prstGeom>
        </p:spPr>
      </p:pic>
      <p:pic>
        <p:nvPicPr>
          <p:cNvPr id="3" name="Picture 2" descr="A black and white grid&#10;&#10;Description automatically generated">
            <a:extLst>
              <a:ext uri="{FF2B5EF4-FFF2-40B4-BE49-F238E27FC236}">
                <a16:creationId xmlns:a16="http://schemas.microsoft.com/office/drawing/2014/main" id="{BAFD8FE7-3FA6-0C32-FAEB-A87CDDEB2837}"/>
              </a:ext>
            </a:extLst>
          </p:cNvPr>
          <p:cNvPicPr>
            <a:picLocks/>
          </p:cNvPicPr>
          <p:nvPr/>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descr="Logo, icon&#10;&#10;Description automatically generated">
            <a:extLst>
              <a:ext uri="{FF2B5EF4-FFF2-40B4-BE49-F238E27FC236}">
                <a16:creationId xmlns:a16="http://schemas.microsoft.com/office/drawing/2014/main" id="{27E3AA62-9F89-E49E-75D4-55405936633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887958" y="6560348"/>
            <a:ext cx="863707" cy="195758"/>
          </a:xfrm>
          <a:prstGeom prst="rect">
            <a:avLst/>
          </a:prstGeom>
        </p:spPr>
      </p:pic>
      <p:pic>
        <p:nvPicPr>
          <p:cNvPr id="6" name="Picture 5" descr="A white rectangular object with a triangle&#10;&#10;Description automatically generated">
            <a:extLst>
              <a:ext uri="{FF2B5EF4-FFF2-40B4-BE49-F238E27FC236}">
                <a16:creationId xmlns:a16="http://schemas.microsoft.com/office/drawing/2014/main" id="{05E65BE2-E010-A61B-486F-BFE93D2A6CB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766300" y="0"/>
            <a:ext cx="2425700" cy="6858000"/>
          </a:xfrm>
          <a:prstGeom prst="rect">
            <a:avLst/>
          </a:prstGeom>
        </p:spPr>
      </p:pic>
      <p:pic>
        <p:nvPicPr>
          <p:cNvPr id="7" name="Picture 6" descr="A black and white grid&#10;&#10;Description automatically generated">
            <a:extLst>
              <a:ext uri="{FF2B5EF4-FFF2-40B4-BE49-F238E27FC236}">
                <a16:creationId xmlns:a16="http://schemas.microsoft.com/office/drawing/2014/main" id="{F31E6FD0-1890-FA5D-E71D-85288777977C}"/>
              </a:ext>
            </a:extLst>
          </p:cNvPr>
          <p:cNvPicPr>
            <a:picLocks/>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663144434"/>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_Image">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26F634A4-34EA-BF89-1AFC-DB156DA6EA9B}"/>
              </a:ext>
            </a:extLst>
          </p:cNvPr>
          <p:cNvSpPr>
            <a:spLocks noGrp="1"/>
          </p:cNvSpPr>
          <p:nvPr>
            <p:ph type="pic" sz="quarter" idx="10"/>
          </p:nvPr>
        </p:nvSpPr>
        <p:spPr>
          <a:xfrm>
            <a:off x="0" y="1"/>
            <a:ext cx="11290300" cy="6858000"/>
          </a:xfrm>
          <a:custGeom>
            <a:avLst/>
            <a:gdLst>
              <a:gd name="connsiteX0" fmla="*/ 0 w 11290300"/>
              <a:gd name="connsiteY0" fmla="*/ 0 h 6921507"/>
              <a:gd name="connsiteX1" fmla="*/ 7618728 w 11290300"/>
              <a:gd name="connsiteY1" fmla="*/ 0 h 6921507"/>
              <a:gd name="connsiteX2" fmla="*/ 7618728 w 11290300"/>
              <a:gd name="connsiteY2" fmla="*/ 4914234 h 6921507"/>
              <a:gd name="connsiteX3" fmla="*/ 11290300 w 11290300"/>
              <a:gd name="connsiteY3" fmla="*/ 6921507 h 6921507"/>
              <a:gd name="connsiteX4" fmla="*/ 0 w 11290300"/>
              <a:gd name="connsiteY4" fmla="*/ 6920797 h 6921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90300" h="6921507">
                <a:moveTo>
                  <a:pt x="0" y="0"/>
                </a:moveTo>
                <a:lnTo>
                  <a:pt x="7618728" y="0"/>
                </a:lnTo>
                <a:lnTo>
                  <a:pt x="7618728" y="4914234"/>
                </a:lnTo>
                <a:lnTo>
                  <a:pt x="11290300" y="6921507"/>
                </a:lnTo>
                <a:lnTo>
                  <a:pt x="0" y="6920797"/>
                </a:lnTo>
                <a:close/>
              </a:path>
            </a:pathLst>
          </a:custGeom>
          <a:ln>
            <a:noFill/>
          </a:ln>
        </p:spPr>
        <p:txBody>
          <a:bodyPr wrap="square">
            <a:noAutofit/>
          </a:bodyPr>
          <a:lstStyle>
            <a:lvl1pPr marL="0" indent="0">
              <a:buFontTx/>
              <a:buNone/>
              <a:defRPr/>
            </a:lvl1pPr>
          </a:lstStyle>
          <a:p>
            <a:r>
              <a:rPr lang="en-US"/>
              <a:t>Click icon to add picture</a:t>
            </a:r>
            <a:endParaRPr lang="en-GB"/>
          </a:p>
        </p:txBody>
      </p:sp>
    </p:spTree>
    <p:extLst>
      <p:ext uri="{BB962C8B-B14F-4D97-AF65-F5344CB8AC3E}">
        <p14:creationId xmlns:p14="http://schemas.microsoft.com/office/powerpoint/2010/main" val="1376988018"/>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_Image">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5C651451-0C04-EFEE-796A-0A024B6B3790}"/>
              </a:ext>
            </a:extLst>
          </p:cNvPr>
          <p:cNvSpPr>
            <a:spLocks noGrp="1"/>
          </p:cNvSpPr>
          <p:nvPr>
            <p:ph type="pic" sz="quarter" idx="10"/>
          </p:nvPr>
        </p:nvSpPr>
        <p:spPr>
          <a:xfrm>
            <a:off x="1" y="0"/>
            <a:ext cx="12191999" cy="6855617"/>
          </a:xfrm>
          <a:custGeom>
            <a:avLst/>
            <a:gdLst>
              <a:gd name="connsiteX0" fmla="*/ 3481596 w 12191999"/>
              <a:gd name="connsiteY0" fmla="*/ 0 h 6855617"/>
              <a:gd name="connsiteX1" fmla="*/ 9353549 w 12191999"/>
              <a:gd name="connsiteY1" fmla="*/ 0 h 6855617"/>
              <a:gd name="connsiteX2" fmla="*/ 10744199 w 12191999"/>
              <a:gd name="connsiteY2" fmla="*/ 0 h 6855617"/>
              <a:gd name="connsiteX3" fmla="*/ 12191999 w 12191999"/>
              <a:gd name="connsiteY3" fmla="*/ 0 h 6855617"/>
              <a:gd name="connsiteX4" fmla="*/ 12191999 w 12191999"/>
              <a:gd name="connsiteY4" fmla="*/ 6855617 h 6855617"/>
              <a:gd name="connsiteX5" fmla="*/ 9353549 w 12191999"/>
              <a:gd name="connsiteY5" fmla="*/ 6855617 h 6855617"/>
              <a:gd name="connsiteX6" fmla="*/ 9353549 w 12191999"/>
              <a:gd name="connsiteY6" fmla="*/ 6855069 h 6855617"/>
              <a:gd name="connsiteX7" fmla="*/ 0 w 12191999"/>
              <a:gd name="connsiteY7" fmla="*/ 6855617 h 6855617"/>
              <a:gd name="connsiteX8" fmla="*/ 3481596 w 12191999"/>
              <a:gd name="connsiteY8" fmla="*/ 4867452 h 6855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6855617">
                <a:moveTo>
                  <a:pt x="3481596" y="0"/>
                </a:moveTo>
                <a:lnTo>
                  <a:pt x="9353549" y="0"/>
                </a:lnTo>
                <a:lnTo>
                  <a:pt x="10744199" y="0"/>
                </a:lnTo>
                <a:lnTo>
                  <a:pt x="12191999" y="0"/>
                </a:lnTo>
                <a:lnTo>
                  <a:pt x="12191999" y="6855617"/>
                </a:lnTo>
                <a:lnTo>
                  <a:pt x="9353549" y="6855617"/>
                </a:lnTo>
                <a:lnTo>
                  <a:pt x="9353549" y="6855069"/>
                </a:lnTo>
                <a:lnTo>
                  <a:pt x="0" y="6855617"/>
                </a:lnTo>
                <a:lnTo>
                  <a:pt x="3481596" y="4867452"/>
                </a:lnTo>
                <a:close/>
              </a:path>
            </a:pathLst>
          </a:custGeom>
        </p:spPr>
        <p:txBody>
          <a:bodyPr wrap="square">
            <a:noAutofit/>
          </a:bodyPr>
          <a:lstStyle/>
          <a:p>
            <a:r>
              <a:rPr lang="en-US"/>
              <a:t>Click icon to add picture</a:t>
            </a:r>
            <a:endParaRPr lang="en-GB"/>
          </a:p>
        </p:txBody>
      </p:sp>
    </p:spTree>
    <p:extLst>
      <p:ext uri="{BB962C8B-B14F-4D97-AF65-F5344CB8AC3E}">
        <p14:creationId xmlns:p14="http://schemas.microsoft.com/office/powerpoint/2010/main" val="1888339651"/>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3_Imag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B523F6E-FAAC-E85D-AF1F-49F5A79A2107}"/>
              </a:ext>
            </a:extLst>
          </p:cNvPr>
          <p:cNvSpPr>
            <a:spLocks noGrp="1"/>
          </p:cNvSpPr>
          <p:nvPr>
            <p:ph type="pic" sz="quarter" idx="10"/>
          </p:nvPr>
        </p:nvSpPr>
        <p:spPr>
          <a:xfrm>
            <a:off x="5713445" y="0"/>
            <a:ext cx="6478555" cy="6855617"/>
          </a:xfrm>
          <a:custGeom>
            <a:avLst/>
            <a:gdLst>
              <a:gd name="connsiteX0" fmla="*/ 3428523 w 6478555"/>
              <a:gd name="connsiteY0" fmla="*/ 0 h 6855617"/>
              <a:gd name="connsiteX1" fmla="*/ 6478555 w 6478555"/>
              <a:gd name="connsiteY1" fmla="*/ 0 h 6855617"/>
              <a:gd name="connsiteX2" fmla="*/ 6478555 w 6478555"/>
              <a:gd name="connsiteY2" fmla="*/ 6854915 h 6855617"/>
              <a:gd name="connsiteX3" fmla="*/ 0 w 6478555"/>
              <a:gd name="connsiteY3" fmla="*/ 6855617 h 6855617"/>
              <a:gd name="connsiteX4" fmla="*/ 3428523 w 6478555"/>
              <a:gd name="connsiteY4" fmla="*/ 4867452 h 6855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8555" h="6855617">
                <a:moveTo>
                  <a:pt x="3428523" y="0"/>
                </a:moveTo>
                <a:lnTo>
                  <a:pt x="6478555" y="0"/>
                </a:lnTo>
                <a:lnTo>
                  <a:pt x="6478555" y="6854915"/>
                </a:lnTo>
                <a:lnTo>
                  <a:pt x="0" y="6855617"/>
                </a:lnTo>
                <a:lnTo>
                  <a:pt x="3428523" y="4867452"/>
                </a:lnTo>
                <a:close/>
              </a:path>
            </a:pathLst>
          </a:custGeom>
        </p:spPr>
        <p:txBody>
          <a:bodyPr wrap="square">
            <a:noAutofit/>
          </a:bodyPr>
          <a:lstStyle/>
          <a:p>
            <a:r>
              <a:rPr lang="en-US"/>
              <a:t>Click icon to add picture</a:t>
            </a:r>
            <a:endParaRPr lang="en-GB"/>
          </a:p>
        </p:txBody>
      </p:sp>
    </p:spTree>
    <p:extLst>
      <p:ext uri="{BB962C8B-B14F-4D97-AF65-F5344CB8AC3E}">
        <p14:creationId xmlns:p14="http://schemas.microsoft.com/office/powerpoint/2010/main" val="1722683546"/>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4_Image">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63331E60-CEBD-7274-FAB8-70966FADF500}"/>
              </a:ext>
            </a:extLst>
          </p:cNvPr>
          <p:cNvSpPr>
            <a:spLocks noGrp="1"/>
          </p:cNvSpPr>
          <p:nvPr>
            <p:ph type="pic" sz="quarter" idx="10"/>
          </p:nvPr>
        </p:nvSpPr>
        <p:spPr>
          <a:xfrm>
            <a:off x="0" y="0"/>
            <a:ext cx="11323974" cy="6858000"/>
          </a:xfrm>
          <a:custGeom>
            <a:avLst/>
            <a:gdLst>
              <a:gd name="connsiteX0" fmla="*/ 0 w 11454603"/>
              <a:gd name="connsiteY0" fmla="*/ 0 h 6858000"/>
              <a:gd name="connsiteX1" fmla="*/ 6937828 w 11454603"/>
              <a:gd name="connsiteY1" fmla="*/ 0 h 6858000"/>
              <a:gd name="connsiteX2" fmla="*/ 8026081 w 11454603"/>
              <a:gd name="connsiteY2" fmla="*/ 0 h 6858000"/>
              <a:gd name="connsiteX3" fmla="*/ 11454276 w 11454603"/>
              <a:gd name="connsiteY3" fmla="*/ 0 h 6858000"/>
              <a:gd name="connsiteX4" fmla="*/ 11454276 w 11454603"/>
              <a:gd name="connsiteY4" fmla="*/ 4867452 h 6858000"/>
              <a:gd name="connsiteX5" fmla="*/ 8025753 w 11454603"/>
              <a:gd name="connsiteY5" fmla="*/ 6855617 h 6858000"/>
              <a:gd name="connsiteX6" fmla="*/ 11454603 w 11454603"/>
              <a:gd name="connsiteY6" fmla="*/ 6855246 h 6858000"/>
              <a:gd name="connsiteX7" fmla="*/ 11454603 w 11454603"/>
              <a:gd name="connsiteY7" fmla="*/ 6855617 h 6858000"/>
              <a:gd name="connsiteX8" fmla="*/ 11454603 w 11454603"/>
              <a:gd name="connsiteY8" fmla="*/ 6858000 h 6858000"/>
              <a:gd name="connsiteX9" fmla="*/ 6937828 w 11454603"/>
              <a:gd name="connsiteY9" fmla="*/ 6858000 h 6858000"/>
              <a:gd name="connsiteX10" fmla="*/ 6937828 w 11454603"/>
              <a:gd name="connsiteY10" fmla="*/ 6855348 h 6858000"/>
              <a:gd name="connsiteX11" fmla="*/ 0 w 11454603"/>
              <a:gd name="connsiteY11" fmla="*/ 68549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454603" h="6858000">
                <a:moveTo>
                  <a:pt x="0" y="0"/>
                </a:moveTo>
                <a:lnTo>
                  <a:pt x="6937828" y="0"/>
                </a:lnTo>
                <a:lnTo>
                  <a:pt x="8026081" y="0"/>
                </a:lnTo>
                <a:lnTo>
                  <a:pt x="11454276" y="0"/>
                </a:lnTo>
                <a:lnTo>
                  <a:pt x="11454276" y="4867452"/>
                </a:lnTo>
                <a:lnTo>
                  <a:pt x="8025753" y="6855617"/>
                </a:lnTo>
                <a:lnTo>
                  <a:pt x="11454603" y="6855246"/>
                </a:lnTo>
                <a:lnTo>
                  <a:pt x="11454603" y="6855617"/>
                </a:lnTo>
                <a:lnTo>
                  <a:pt x="11454603" y="6858000"/>
                </a:lnTo>
                <a:lnTo>
                  <a:pt x="6937828" y="6858000"/>
                </a:lnTo>
                <a:lnTo>
                  <a:pt x="6937828" y="6855348"/>
                </a:lnTo>
                <a:lnTo>
                  <a:pt x="0" y="6854935"/>
                </a:lnTo>
                <a:close/>
              </a:path>
            </a:pathLst>
          </a:custGeom>
        </p:spPr>
        <p:txBody>
          <a:bodyPr wrap="square">
            <a:noAutofit/>
          </a:bodyPr>
          <a:lstStyle/>
          <a:p>
            <a:r>
              <a:rPr lang="en-US"/>
              <a:t>Click icon to add picture</a:t>
            </a:r>
            <a:endParaRPr lang="en-GB"/>
          </a:p>
        </p:txBody>
      </p:sp>
    </p:spTree>
    <p:extLst>
      <p:ext uri="{BB962C8B-B14F-4D97-AF65-F5344CB8AC3E}">
        <p14:creationId xmlns:p14="http://schemas.microsoft.com/office/powerpoint/2010/main" val="1166386510"/>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5_Image">
    <p:bg>
      <p:bgPr>
        <a:solidFill>
          <a:schemeClr val="tx2"/>
        </a:solidFill>
        <a:effectLst/>
      </p:bgPr>
    </p:bg>
    <p:spTree>
      <p:nvGrpSpPr>
        <p:cNvPr id="1" name=""/>
        <p:cNvGrpSpPr/>
        <p:nvPr/>
      </p:nvGrpSpPr>
      <p:grpSpPr>
        <a:xfrm>
          <a:off x="0" y="0"/>
          <a:ext cx="0" cy="0"/>
          <a:chOff x="0" y="0"/>
          <a:chExt cx="0" cy="0"/>
        </a:xfrm>
      </p:grpSpPr>
      <p:pic>
        <p:nvPicPr>
          <p:cNvPr id="9" name="Picture 8" descr="A black and white grid&#10;&#10;Description automatically generated">
            <a:extLst>
              <a:ext uri="{FF2B5EF4-FFF2-40B4-BE49-F238E27FC236}">
                <a16:creationId xmlns:a16="http://schemas.microsoft.com/office/drawing/2014/main" id="{8DAC419C-4E22-175F-033C-E1564CB75407}"/>
              </a:ext>
            </a:extLst>
          </p:cNvPr>
          <p:cNvPicPr>
            <a:picLocks/>
          </p:cNvPicPr>
          <p:nvPr/>
        </p:nvPicPr>
        <p:blipFill>
          <a:blip r:embed="rId2" cstate="email">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2" name="Freeform: Shape 11">
            <a:extLst>
              <a:ext uri="{FF2B5EF4-FFF2-40B4-BE49-F238E27FC236}">
                <a16:creationId xmlns:a16="http://schemas.microsoft.com/office/drawing/2014/main" id="{3ECD1E6C-DD58-117F-DDFF-25F8827F730C}"/>
              </a:ext>
            </a:extLst>
          </p:cNvPr>
          <p:cNvSpPr/>
          <p:nvPr/>
        </p:nvSpPr>
        <p:spPr>
          <a:xfrm>
            <a:off x="0" y="0"/>
            <a:ext cx="11290300" cy="6858000"/>
          </a:xfrm>
          <a:custGeom>
            <a:avLst/>
            <a:gdLst>
              <a:gd name="connsiteX0" fmla="*/ 0 w 11290300"/>
              <a:gd name="connsiteY0" fmla="*/ 0 h 6858000"/>
              <a:gd name="connsiteX1" fmla="*/ 7618728 w 11290300"/>
              <a:gd name="connsiteY1" fmla="*/ 0 h 6858000"/>
              <a:gd name="connsiteX2" fmla="*/ 7618728 w 11290300"/>
              <a:gd name="connsiteY2" fmla="*/ 4869145 h 6858000"/>
              <a:gd name="connsiteX3" fmla="*/ 11290300 w 11290300"/>
              <a:gd name="connsiteY3" fmla="*/ 6858000 h 6858000"/>
              <a:gd name="connsiteX4" fmla="*/ 0 w 11290300"/>
              <a:gd name="connsiteY4" fmla="*/ 6857297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90300" h="6858000">
                <a:moveTo>
                  <a:pt x="0" y="0"/>
                </a:moveTo>
                <a:lnTo>
                  <a:pt x="7618728" y="0"/>
                </a:lnTo>
                <a:lnTo>
                  <a:pt x="7618728" y="4869145"/>
                </a:lnTo>
                <a:lnTo>
                  <a:pt x="11290300" y="6858000"/>
                </a:lnTo>
                <a:lnTo>
                  <a:pt x="0" y="6857297"/>
                </a:lnTo>
                <a:close/>
              </a:path>
            </a:pathLst>
          </a:cu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3501833523"/>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6_Image">
    <p:bg>
      <p:bgPr>
        <a:solidFill>
          <a:schemeClr val="bg1"/>
        </a:solidFill>
        <a:effectLst/>
      </p:bgPr>
    </p:bg>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07DB3C3-378B-FF96-214E-5BF5211D8C28}"/>
              </a:ext>
            </a:extLst>
          </p:cNvPr>
          <p:cNvSpPr>
            <a:spLocks/>
          </p:cNvSpPr>
          <p:nvPr/>
        </p:nvSpPr>
        <p:spPr>
          <a:xfrm>
            <a:off x="0" y="0"/>
            <a:ext cx="12192000" cy="6858000"/>
          </a:xfrm>
          <a:custGeom>
            <a:avLst/>
            <a:gdLst>
              <a:gd name="connsiteX0" fmla="*/ 0 w 12192000"/>
              <a:gd name="connsiteY0" fmla="*/ 6854935 h 6858000"/>
              <a:gd name="connsiteX1" fmla="*/ 6858709 w 12192000"/>
              <a:gd name="connsiteY1" fmla="*/ 6855348 h 6858000"/>
              <a:gd name="connsiteX2" fmla="*/ 6858709 w 12192000"/>
              <a:gd name="connsiteY2" fmla="*/ 6858000 h 6858000"/>
              <a:gd name="connsiteX3" fmla="*/ 0 w 12192000"/>
              <a:gd name="connsiteY3" fmla="*/ 6858000 h 6858000"/>
              <a:gd name="connsiteX4" fmla="*/ 11323651 w 12192000"/>
              <a:gd name="connsiteY4" fmla="*/ 0 h 6858000"/>
              <a:gd name="connsiteX5" fmla="*/ 12192000 w 12192000"/>
              <a:gd name="connsiteY5" fmla="*/ 0 h 6858000"/>
              <a:gd name="connsiteX6" fmla="*/ 12192000 w 12192000"/>
              <a:gd name="connsiteY6" fmla="*/ 6858000 h 6858000"/>
              <a:gd name="connsiteX7" fmla="*/ 11323974 w 12192000"/>
              <a:gd name="connsiteY7" fmla="*/ 6858000 h 6858000"/>
              <a:gd name="connsiteX8" fmla="*/ 11323974 w 12192000"/>
              <a:gd name="connsiteY8" fmla="*/ 6855617 h 6858000"/>
              <a:gd name="connsiteX9" fmla="*/ 11323974 w 12192000"/>
              <a:gd name="connsiteY9" fmla="*/ 6855246 h 6858000"/>
              <a:gd name="connsiteX10" fmla="*/ 7934227 w 12192000"/>
              <a:gd name="connsiteY10" fmla="*/ 6855617 h 6858000"/>
              <a:gd name="connsiteX11" fmla="*/ 11323651 w 12192000"/>
              <a:gd name="connsiteY11" fmla="*/ 486745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6854935"/>
                </a:moveTo>
                <a:lnTo>
                  <a:pt x="6858709" y="6855348"/>
                </a:lnTo>
                <a:lnTo>
                  <a:pt x="6858709" y="6858000"/>
                </a:lnTo>
                <a:lnTo>
                  <a:pt x="0" y="6858000"/>
                </a:lnTo>
                <a:close/>
                <a:moveTo>
                  <a:pt x="11323651" y="0"/>
                </a:moveTo>
                <a:lnTo>
                  <a:pt x="12192000" y="0"/>
                </a:lnTo>
                <a:lnTo>
                  <a:pt x="12192000" y="6858000"/>
                </a:lnTo>
                <a:lnTo>
                  <a:pt x="11323974" y="6858000"/>
                </a:lnTo>
                <a:lnTo>
                  <a:pt x="11323974" y="6855617"/>
                </a:lnTo>
                <a:lnTo>
                  <a:pt x="11323974" y="6855246"/>
                </a:lnTo>
                <a:lnTo>
                  <a:pt x="7934227" y="6855617"/>
                </a:lnTo>
                <a:lnTo>
                  <a:pt x="11323651" y="4867452"/>
                </a:lnTo>
                <a:close/>
              </a:path>
            </a:pathLst>
          </a:cu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1583530248"/>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Blank">
    <p:bg>
      <p:bgPr>
        <a:solidFill>
          <a:srgbClr val="ECECE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7956718"/>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ection - Light">
    <p:bg>
      <p:bgPr>
        <a:solidFill>
          <a:srgbClr val="ECECED"/>
        </a:solidFill>
        <a:effectLst/>
      </p:bgPr>
    </p:bg>
    <p:spTree>
      <p:nvGrpSpPr>
        <p:cNvPr id="1" name=""/>
        <p:cNvGrpSpPr/>
        <p:nvPr/>
      </p:nvGrpSpPr>
      <p:grpSpPr>
        <a:xfrm>
          <a:off x="0" y="0"/>
          <a:ext cx="0" cy="0"/>
          <a:chOff x="0" y="0"/>
          <a:chExt cx="0" cy="0"/>
        </a:xfrm>
      </p:grpSpPr>
      <p:sp>
        <p:nvSpPr>
          <p:cNvPr id="9" name="Rektangel 8">
            <a:extLst>
              <a:ext uri="{FF2B5EF4-FFF2-40B4-BE49-F238E27FC236}">
                <a16:creationId xmlns:a16="http://schemas.microsoft.com/office/drawing/2014/main" id="{B1A78B10-20B6-4EE7-8426-92434380D4A2}"/>
              </a:ext>
            </a:extLst>
          </p:cNvPr>
          <p:cNvSpPr/>
          <p:nvPr/>
        </p:nvSpPr>
        <p:spPr>
          <a:xfrm>
            <a:off x="0" y="6453188"/>
            <a:ext cx="12192000" cy="404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el 1">
            <a:extLst>
              <a:ext uri="{FF2B5EF4-FFF2-40B4-BE49-F238E27FC236}">
                <a16:creationId xmlns:a16="http://schemas.microsoft.com/office/drawing/2014/main" id="{0C821071-8A74-4DC0-9057-83E313D465BF}"/>
              </a:ext>
            </a:extLst>
          </p:cNvPr>
          <p:cNvSpPr>
            <a:spLocks noGrp="1"/>
          </p:cNvSpPr>
          <p:nvPr>
            <p:ph type="title" hasCustomPrompt="1"/>
          </p:nvPr>
        </p:nvSpPr>
        <p:spPr>
          <a:xfrm>
            <a:off x="1936800" y="1298223"/>
            <a:ext cx="9926793" cy="987281"/>
          </a:xfrm>
        </p:spPr>
        <p:txBody>
          <a:bodyPr tIns="0" anchor="ctr" anchorCtr="0">
            <a:noAutofit/>
          </a:bodyPr>
          <a:lstStyle>
            <a:lvl1pPr>
              <a:defRPr sz="6000"/>
            </a:lvl1pPr>
          </a:lstStyle>
          <a:p>
            <a:r>
              <a:rPr lang="en-GB" noProof="0"/>
              <a:t>Section title</a:t>
            </a:r>
          </a:p>
        </p:txBody>
      </p:sp>
      <p:sp>
        <p:nvSpPr>
          <p:cNvPr id="8" name="Pladsholder til tekst 7">
            <a:extLst>
              <a:ext uri="{FF2B5EF4-FFF2-40B4-BE49-F238E27FC236}">
                <a16:creationId xmlns:a16="http://schemas.microsoft.com/office/drawing/2014/main" id="{B2D8C62A-09FC-4E14-8159-9C623394986B}"/>
              </a:ext>
            </a:extLst>
          </p:cNvPr>
          <p:cNvSpPr>
            <a:spLocks noGrp="1"/>
          </p:cNvSpPr>
          <p:nvPr>
            <p:ph type="body" sz="quarter" idx="13" hasCustomPrompt="1"/>
          </p:nvPr>
        </p:nvSpPr>
        <p:spPr>
          <a:xfrm>
            <a:off x="561600" y="1275251"/>
            <a:ext cx="972000" cy="936000"/>
          </a:xfrm>
          <a:ln w="88900">
            <a:solidFill>
              <a:schemeClr val="accent3"/>
            </a:solidFill>
            <a:miter lim="800000"/>
          </a:ln>
        </p:spPr>
        <p:txBody>
          <a:bodyPr lIns="144000" tIns="144000" rIns="144000" bIns="144000" anchor="ctr">
            <a:noAutofit/>
          </a:bodyPr>
          <a:lstStyle>
            <a:lvl1pPr marL="0" indent="0" algn="ctr">
              <a:buFontTx/>
              <a:buNone/>
              <a:defRPr sz="4200" b="0">
                <a:ln>
                  <a:noFill/>
                </a:ln>
                <a:solidFill>
                  <a:schemeClr val="accent3"/>
                </a:solidFill>
                <a:latin typeface="Roboto Black" panose="02000000000000000000" pitchFamily="2" charset="0"/>
                <a:ea typeface="Roboto Black" panose="02000000000000000000" pitchFamily="2" charset="0"/>
              </a:defRPr>
            </a:lvl1pPr>
          </a:lstStyle>
          <a:p>
            <a:pPr lvl="0"/>
            <a:r>
              <a:rPr lang="da-DK"/>
              <a:t>#</a:t>
            </a:r>
            <a:endParaRPr lang="en-GB"/>
          </a:p>
        </p:txBody>
      </p:sp>
      <p:pic>
        <p:nvPicPr>
          <p:cNvPr id="7" name="Picture 6" descr="Logo, icon&#10;&#10;Description automatically generated">
            <a:extLst>
              <a:ext uri="{FF2B5EF4-FFF2-40B4-BE49-F238E27FC236}">
                <a16:creationId xmlns:a16="http://schemas.microsoft.com/office/drawing/2014/main" id="{65C8FF18-FE6B-2323-65A9-66FD56AE1D3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887958" y="6560348"/>
            <a:ext cx="863707" cy="195758"/>
          </a:xfrm>
          <a:prstGeom prst="rect">
            <a:avLst/>
          </a:prstGeom>
        </p:spPr>
      </p:pic>
    </p:spTree>
    <p:extLst>
      <p:ext uri="{BB962C8B-B14F-4D97-AF65-F5344CB8AC3E}">
        <p14:creationId xmlns:p14="http://schemas.microsoft.com/office/powerpoint/2010/main" val="25122459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2/12/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VT">
    <p:bg>
      <p:bgPr>
        <a:solidFill>
          <a:schemeClr val="tx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B353ACA9-6277-6442-D2A4-01627FC7AF93}"/>
              </a:ext>
            </a:extLst>
          </p:cNvPr>
          <p:cNvSpPr txBox="1">
            <a:spLocks/>
          </p:cNvSpPr>
          <p:nvPr/>
        </p:nvSpPr>
        <p:spPr>
          <a:xfrm>
            <a:off x="6858000" y="952500"/>
            <a:ext cx="4546600" cy="5105400"/>
          </a:xfrm>
          <a:prstGeom prst="rect">
            <a:avLst/>
          </a:prstGeom>
        </p:spPr>
        <p:txBody>
          <a:bodyPr vert="horz" lIns="91440" tIns="216000" rIns="91440" bIns="45720" rtlCol="0" anchor="ctr" anchorCtr="0">
            <a:normAutofit/>
          </a:bodyPr>
          <a:lstStyle>
            <a:lvl1pPr algn="ctr" defTabSz="914400" rtl="0" eaLnBrk="1" latinLnBrk="0" hangingPunct="1">
              <a:lnSpc>
                <a:spcPct val="70000"/>
              </a:lnSpc>
              <a:spcBef>
                <a:spcPct val="0"/>
              </a:spcBef>
              <a:buNone/>
              <a:defRPr sz="6000" b="1" kern="1200" cap="all" baseline="0">
                <a:solidFill>
                  <a:schemeClr val="bg1"/>
                </a:solidFill>
                <a:latin typeface="+mj-lt"/>
                <a:ea typeface="+mj-ea"/>
                <a:cs typeface="+mj-cs"/>
              </a:defRPr>
            </a:lvl1pPr>
          </a:lstStyle>
          <a:p>
            <a:endParaRPr lang="en-GB">
              <a:solidFill>
                <a:schemeClr val="tx1"/>
              </a:solidFill>
            </a:endParaRPr>
          </a:p>
        </p:txBody>
      </p:sp>
      <p:sp>
        <p:nvSpPr>
          <p:cNvPr id="8" name="Title 1">
            <a:extLst>
              <a:ext uri="{FF2B5EF4-FFF2-40B4-BE49-F238E27FC236}">
                <a16:creationId xmlns:a16="http://schemas.microsoft.com/office/drawing/2014/main" id="{DF88F7F5-85EB-DA79-690C-65C244B084DA}"/>
              </a:ext>
            </a:extLst>
          </p:cNvPr>
          <p:cNvSpPr>
            <a:spLocks noGrp="1"/>
          </p:cNvSpPr>
          <p:nvPr>
            <p:ph type="ctrTitle"/>
          </p:nvPr>
        </p:nvSpPr>
        <p:spPr>
          <a:xfrm>
            <a:off x="431165" y="3733800"/>
            <a:ext cx="10452100" cy="2019300"/>
          </a:xfrm>
        </p:spPr>
        <p:txBody>
          <a:bodyPr wrap="square" anchor="ctr" anchorCtr="0">
            <a:noAutofit/>
          </a:bodyPr>
          <a:lstStyle>
            <a:lvl1pPr algn="l">
              <a:defRPr sz="6800">
                <a:solidFill>
                  <a:schemeClr val="bg1"/>
                </a:solidFill>
              </a:defRPr>
            </a:lvl1pPr>
          </a:lstStyle>
          <a:p>
            <a:r>
              <a:rPr lang="en-US"/>
              <a:t>Click to edit Master title style</a:t>
            </a:r>
            <a:endParaRPr lang="en-GB"/>
          </a:p>
        </p:txBody>
      </p:sp>
      <p:sp>
        <p:nvSpPr>
          <p:cNvPr id="5" name="[T2O] TextBox 4">
            <a:extLst>
              <a:ext uri="{FF2B5EF4-FFF2-40B4-BE49-F238E27FC236}">
                <a16:creationId xmlns:a16="http://schemas.microsoft.com/office/drawing/2014/main" id="{1171D304-48BB-4E3E-CF23-52A1B70C8D11}"/>
              </a:ext>
            </a:extLst>
          </p:cNvPr>
          <p:cNvSpPr/>
          <p:nvPr/>
        </p:nvSpPr>
        <p:spPr>
          <a:xfrm>
            <a:off x="431165" y="493527"/>
            <a:ext cx="3874135" cy="2733467"/>
          </a:xfrm>
          <a:custGeom>
            <a:avLst/>
            <a:gdLst/>
            <a:ahLst/>
            <a:cxnLst/>
            <a:rect l="l" t="t" r="r" b="b"/>
            <a:pathLst>
              <a:path w="2876151" h="2029321">
                <a:moveTo>
                  <a:pt x="1566948" y="0"/>
                </a:moveTo>
                <a:lnTo>
                  <a:pt x="2876151" y="0"/>
                </a:lnTo>
                <a:lnTo>
                  <a:pt x="2876151" y="494891"/>
                </a:lnTo>
                <a:lnTo>
                  <a:pt x="2526726" y="494891"/>
                </a:lnTo>
                <a:lnTo>
                  <a:pt x="2526726" y="2029321"/>
                </a:lnTo>
                <a:lnTo>
                  <a:pt x="1916373" y="2029321"/>
                </a:lnTo>
                <a:lnTo>
                  <a:pt x="1916373" y="494891"/>
                </a:lnTo>
                <a:lnTo>
                  <a:pt x="1566948" y="494891"/>
                </a:lnTo>
                <a:close/>
                <a:moveTo>
                  <a:pt x="0" y="0"/>
                </a:moveTo>
                <a:lnTo>
                  <a:pt x="628811" y="0"/>
                </a:lnTo>
                <a:lnTo>
                  <a:pt x="768546" y="1090604"/>
                </a:lnTo>
                <a:lnTo>
                  <a:pt x="777660" y="1090604"/>
                </a:lnTo>
                <a:lnTo>
                  <a:pt x="920433" y="0"/>
                </a:lnTo>
                <a:lnTo>
                  <a:pt x="1534050" y="0"/>
                </a:lnTo>
                <a:lnTo>
                  <a:pt x="1087508" y="2029321"/>
                </a:lnTo>
                <a:lnTo>
                  <a:pt x="452622" y="2029321"/>
                </a:lnTo>
                <a:close/>
              </a:path>
            </a:pathLst>
          </a:custGeom>
          <a:solidFill>
            <a:schemeClr val="bg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14405981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Presentation Title + Hero - Dark">
    <p:bg>
      <p:bgPr>
        <a:solidFill>
          <a:srgbClr val="E9E9E9"/>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009710-6EB2-4931-A331-58D092BCD222}"/>
              </a:ext>
            </a:extLst>
          </p:cNvPr>
          <p:cNvSpPr>
            <a:spLocks noGrp="1"/>
          </p:cNvSpPr>
          <p:nvPr>
            <p:ph type="ctrTitle" hasCustomPrompt="1"/>
          </p:nvPr>
        </p:nvSpPr>
        <p:spPr>
          <a:xfrm>
            <a:off x="931735" y="3089770"/>
            <a:ext cx="5430285" cy="1452705"/>
          </a:xfrm>
          <a:ln>
            <a:noFill/>
          </a:ln>
        </p:spPr>
        <p:txBody>
          <a:bodyPr wrap="square" tIns="0" anchor="t" anchorCtr="0">
            <a:spAutoFit/>
          </a:bodyPr>
          <a:lstStyle>
            <a:lvl1pPr algn="l">
              <a:lnSpc>
                <a:spcPct val="78000"/>
              </a:lnSpc>
              <a:spcBef>
                <a:spcPts val="0"/>
              </a:spcBef>
              <a:defRPr sz="6000" kern="0" cap="all" spc="-150" baseline="0">
                <a:solidFill>
                  <a:schemeClr val="accent1"/>
                </a:solidFill>
              </a:defRPr>
            </a:lvl1pPr>
          </a:lstStyle>
          <a:p>
            <a:r>
              <a:rPr lang="en-GB" noProof="0"/>
              <a:t>Presentation Title</a:t>
            </a:r>
          </a:p>
        </p:txBody>
      </p:sp>
      <p:pic>
        <p:nvPicPr>
          <p:cNvPr id="8" name="Goldeen section" hidden="1">
            <a:extLst>
              <a:ext uri="{FF2B5EF4-FFF2-40B4-BE49-F238E27FC236}">
                <a16:creationId xmlns:a16="http://schemas.microsoft.com/office/drawing/2014/main" id="{1C37A3E4-61AF-6910-488A-078111388755}"/>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flipH="1">
            <a:off x="566351" y="-9184"/>
            <a:ext cx="11074106" cy="6867183"/>
          </a:xfrm>
          <a:prstGeom prst="rect">
            <a:avLst/>
          </a:prstGeom>
        </p:spPr>
      </p:pic>
      <p:pic>
        <p:nvPicPr>
          <p:cNvPr id="7" name="Picture 6">
            <a:extLst>
              <a:ext uri="{FF2B5EF4-FFF2-40B4-BE49-F238E27FC236}">
                <a16:creationId xmlns:a16="http://schemas.microsoft.com/office/drawing/2014/main" id="{CF2AC3B6-50F3-309C-AEA6-995FC3EE6D8E}"/>
              </a:ext>
            </a:extLst>
          </p:cNvPr>
          <p:cNvPicPr>
            <a:picLocks/>
          </p:cNvPicPr>
          <p:nvPr userDrawn="1"/>
        </p:nvPicPr>
        <p:blipFill rotWithShape="1">
          <a:blip r:embed="rId4" cstate="email">
            <a:extLst>
              <a:ext uri="{28A0092B-C50C-407E-A947-70E740481C1C}">
                <a14:useLocalDpi xmlns:a14="http://schemas.microsoft.com/office/drawing/2010/main"/>
              </a:ext>
            </a:extLst>
          </a:blip>
          <a:srcRect/>
          <a:stretch/>
        </p:blipFill>
        <p:spPr>
          <a:xfrm>
            <a:off x="982535" y="0"/>
            <a:ext cx="1612901" cy="711200"/>
          </a:xfrm>
          <a:prstGeom prst="rect">
            <a:avLst/>
          </a:prstGeom>
        </p:spPr>
      </p:pic>
      <p:pic>
        <p:nvPicPr>
          <p:cNvPr id="6" name="Picture 5">
            <a:extLst>
              <a:ext uri="{FF2B5EF4-FFF2-40B4-BE49-F238E27FC236}">
                <a16:creationId xmlns:a16="http://schemas.microsoft.com/office/drawing/2014/main" id="{B1412AA3-84D4-142A-7652-54997F628411}"/>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6493385" y="-1"/>
            <a:ext cx="5698615" cy="6858001"/>
          </a:xfrm>
          <a:prstGeom prst="rect">
            <a:avLst/>
          </a:prstGeom>
        </p:spPr>
      </p:pic>
    </p:spTree>
    <p:extLst>
      <p:ext uri="{BB962C8B-B14F-4D97-AF65-F5344CB8AC3E}">
        <p14:creationId xmlns:p14="http://schemas.microsoft.com/office/powerpoint/2010/main" val="334222869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Thank You - Light">
    <p:spTree>
      <p:nvGrpSpPr>
        <p:cNvPr id="1" name=""/>
        <p:cNvGrpSpPr/>
        <p:nvPr/>
      </p:nvGrpSpPr>
      <p:grpSpPr>
        <a:xfrm>
          <a:off x="0" y="0"/>
          <a:ext cx="0" cy="0"/>
          <a:chOff x="0" y="0"/>
          <a:chExt cx="0" cy="0"/>
        </a:xfrm>
      </p:grpSpPr>
      <p:pic>
        <p:nvPicPr>
          <p:cNvPr id="9" name="Picture 8" descr="A black and white grid&#10;&#10;Description automatically generated">
            <a:extLst>
              <a:ext uri="{FF2B5EF4-FFF2-40B4-BE49-F238E27FC236}">
                <a16:creationId xmlns:a16="http://schemas.microsoft.com/office/drawing/2014/main" id="{4EA2963B-C161-E6B4-6C12-83C678849E09}"/>
              </a:ext>
            </a:extLst>
          </p:cNvPr>
          <p:cNvPicPr>
            <a:picLocks/>
          </p:cNvPicPr>
          <p:nvPr/>
        </p:nvPicPr>
        <p:blipFill>
          <a:blip r:embed="rId2" cstate="email">
            <a:alphaModFix amt="35000"/>
            <a:extLst>
              <a:ext uri="{28A0092B-C50C-407E-A947-70E740481C1C}">
                <a14:useLocalDpi xmlns:a14="http://schemas.microsoft.com/office/drawing/2010/main"/>
              </a:ext>
            </a:extLst>
          </a:blip>
          <a:stretch>
            <a:fillRect/>
          </a:stretch>
        </p:blipFill>
        <p:spPr>
          <a:xfrm>
            <a:off x="12700" y="0"/>
            <a:ext cx="12192000" cy="6858000"/>
          </a:xfrm>
          <a:prstGeom prst="rect">
            <a:avLst/>
          </a:prstGeom>
        </p:spPr>
      </p:pic>
      <p:pic>
        <p:nvPicPr>
          <p:cNvPr id="12" name="Picture 11">
            <a:extLst>
              <a:ext uri="{FF2B5EF4-FFF2-40B4-BE49-F238E27FC236}">
                <a16:creationId xmlns:a16="http://schemas.microsoft.com/office/drawing/2014/main" id="{8CDD1C5F-B3B2-92B4-C1C3-F399276F4B8D}"/>
              </a:ext>
            </a:extLst>
          </p:cNvPr>
          <p:cNvPicPr>
            <a:picLocks/>
          </p:cNvPicPr>
          <p:nvPr/>
        </p:nvPicPr>
        <p:blipFill rotWithShape="1">
          <a:blip r:embed="rId3" cstate="email">
            <a:extLst>
              <a:ext uri="{28A0092B-C50C-407E-A947-70E740481C1C}">
                <a14:useLocalDpi xmlns:a14="http://schemas.microsoft.com/office/drawing/2010/main"/>
              </a:ext>
            </a:extLst>
          </a:blip>
          <a:srcRect/>
          <a:stretch/>
        </p:blipFill>
        <p:spPr>
          <a:xfrm>
            <a:off x="10261599" y="0"/>
            <a:ext cx="1612901" cy="711200"/>
          </a:xfrm>
          <a:prstGeom prst="rect">
            <a:avLst/>
          </a:prstGeom>
        </p:spPr>
      </p:pic>
      <p:sp>
        <p:nvSpPr>
          <p:cNvPr id="14" name="object 4">
            <a:extLst>
              <a:ext uri="{FF2B5EF4-FFF2-40B4-BE49-F238E27FC236}">
                <a16:creationId xmlns:a16="http://schemas.microsoft.com/office/drawing/2014/main" id="{1A0F6E34-4CDC-458F-B40F-A3DDE05F9BC3}"/>
              </a:ext>
            </a:extLst>
          </p:cNvPr>
          <p:cNvSpPr txBox="1">
            <a:spLocks/>
          </p:cNvSpPr>
          <p:nvPr/>
        </p:nvSpPr>
        <p:spPr>
          <a:xfrm>
            <a:off x="3057567" y="2242234"/>
            <a:ext cx="4620656" cy="950041"/>
          </a:xfrm>
          <a:prstGeom prst="rect">
            <a:avLst/>
          </a:prstGeom>
        </p:spPr>
        <p:txBody>
          <a:bodyPr vert="horz" wrap="square" lIns="0" tIns="216000" rIns="0" bIns="0" rtlCol="0">
            <a:noAutofit/>
          </a:bodyPr>
          <a:lstStyle>
            <a:lvl1pPr>
              <a:defRPr>
                <a:latin typeface="+mj-lt"/>
                <a:ea typeface="+mj-ea"/>
                <a:cs typeface="+mj-cs"/>
              </a:defRPr>
            </a:lvl1pPr>
          </a:lstStyle>
          <a:p>
            <a:pPr marL="34925" marR="5080">
              <a:lnSpc>
                <a:spcPct val="70000"/>
              </a:lnSpc>
              <a:spcBef>
                <a:spcPts val="1695"/>
              </a:spcBef>
            </a:pPr>
            <a:r>
              <a:rPr lang="en-GB" sz="9600" b="1" kern="0" spc="-90">
                <a:solidFill>
                  <a:srgbClr val="878786"/>
                </a:solidFill>
                <a:latin typeface="Roboto Condensed" panose="02000000000000000000" pitchFamily="2" charset="0"/>
                <a:ea typeface="Roboto Condensed" panose="02000000000000000000" pitchFamily="2" charset="0"/>
              </a:rPr>
              <a:t>THANK </a:t>
            </a:r>
            <a:r>
              <a:rPr lang="en-GB" sz="9600" b="1" kern="0" spc="-90">
                <a:solidFill>
                  <a:schemeClr val="tx2"/>
                </a:solidFill>
                <a:latin typeface="Roboto Condensed" panose="02000000000000000000" pitchFamily="2" charset="0"/>
                <a:ea typeface="Roboto Condensed" panose="02000000000000000000" pitchFamily="2" charset="0"/>
              </a:rPr>
              <a:t>YOU</a:t>
            </a:r>
            <a:endParaRPr lang="en-GB" sz="1200" kern="0">
              <a:solidFill>
                <a:schemeClr val="tx2"/>
              </a:solidFill>
              <a:latin typeface="Roboto"/>
              <a:cs typeface="Roboto"/>
            </a:endParaRPr>
          </a:p>
        </p:txBody>
      </p:sp>
      <p:sp>
        <p:nvSpPr>
          <p:cNvPr id="11" name="Pladsholder til tekst 10">
            <a:extLst>
              <a:ext uri="{FF2B5EF4-FFF2-40B4-BE49-F238E27FC236}">
                <a16:creationId xmlns:a16="http://schemas.microsoft.com/office/drawing/2014/main" id="{52DFEA04-1E51-4A9D-9F2B-8686E2B6D942}"/>
              </a:ext>
            </a:extLst>
          </p:cNvPr>
          <p:cNvSpPr>
            <a:spLocks noGrp="1"/>
          </p:cNvSpPr>
          <p:nvPr>
            <p:ph type="body" sz="quarter" idx="22" hasCustomPrompt="1"/>
          </p:nvPr>
        </p:nvSpPr>
        <p:spPr>
          <a:xfrm>
            <a:off x="3121067" y="4634843"/>
            <a:ext cx="3838533" cy="717501"/>
          </a:xfrm>
        </p:spPr>
        <p:txBody>
          <a:bodyPr tIns="0" bIns="0" anchor="t" anchorCtr="0">
            <a:noAutofit/>
          </a:bodyPr>
          <a:lstStyle>
            <a:lvl1pPr marL="0" indent="0">
              <a:buNone/>
              <a:defRPr sz="1800" b="1">
                <a:solidFill>
                  <a:schemeClr val="accent3"/>
                </a:solidFill>
              </a:defRPr>
            </a:lvl1pPr>
            <a:lvl2pPr marL="239400" indent="0">
              <a:buNone/>
              <a:defRPr>
                <a:solidFill>
                  <a:schemeClr val="bg1"/>
                </a:solidFill>
              </a:defRPr>
            </a:lvl2pPr>
            <a:lvl3pPr marL="473400" indent="0">
              <a:buNone/>
              <a:defRPr>
                <a:solidFill>
                  <a:schemeClr val="bg1"/>
                </a:solidFill>
              </a:defRPr>
            </a:lvl3pPr>
            <a:lvl4pPr marL="707400" indent="0">
              <a:buNone/>
              <a:defRPr>
                <a:solidFill>
                  <a:schemeClr val="bg1"/>
                </a:solidFill>
              </a:defRPr>
            </a:lvl4pPr>
            <a:lvl5pPr marL="923400" indent="0">
              <a:buNone/>
              <a:defRPr>
                <a:solidFill>
                  <a:schemeClr val="bg1"/>
                </a:solidFill>
              </a:defRPr>
            </a:lvl5pPr>
          </a:lstStyle>
          <a:p>
            <a:pPr lvl="0"/>
            <a:r>
              <a:rPr lang="da-DK" err="1"/>
              <a:t>Add</a:t>
            </a:r>
            <a:r>
              <a:rPr lang="da-DK"/>
              <a:t> </a:t>
            </a:r>
            <a:r>
              <a:rPr lang="da-DK" err="1"/>
              <a:t>contact</a:t>
            </a:r>
            <a:r>
              <a:rPr lang="da-DK"/>
              <a:t> info, </a:t>
            </a:r>
            <a:r>
              <a:rPr lang="da-DK" err="1"/>
              <a:t>address</a:t>
            </a:r>
            <a:r>
              <a:rPr lang="da-DK"/>
              <a:t>, </a:t>
            </a:r>
            <a:r>
              <a:rPr lang="da-DK" err="1"/>
              <a:t>email</a:t>
            </a:r>
            <a:r>
              <a:rPr lang="da-DK"/>
              <a:t> etc.</a:t>
            </a:r>
          </a:p>
        </p:txBody>
      </p:sp>
      <p:pic>
        <p:nvPicPr>
          <p:cNvPr id="5" name="Picture 4" descr="A group of people standing in a doorway&#10;&#10;Description automatically generated">
            <a:extLst>
              <a:ext uri="{FF2B5EF4-FFF2-40B4-BE49-F238E27FC236}">
                <a16:creationId xmlns:a16="http://schemas.microsoft.com/office/drawing/2014/main" id="{828A622D-5040-35AE-81F0-E115AF94128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185777" y="1450720"/>
            <a:ext cx="2326524" cy="3901624"/>
          </a:xfrm>
          <a:prstGeom prst="rect">
            <a:avLst/>
          </a:prstGeom>
        </p:spPr>
      </p:pic>
    </p:spTree>
    <p:extLst>
      <p:ext uri="{BB962C8B-B14F-4D97-AF65-F5344CB8AC3E}">
        <p14:creationId xmlns:p14="http://schemas.microsoft.com/office/powerpoint/2010/main" val="311895698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Content + Image - Light">
    <p:bg>
      <p:bgPr>
        <a:solidFill>
          <a:srgbClr val="ECECED"/>
        </a:solidFill>
        <a:effectLst/>
      </p:bgPr>
    </p:bg>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F6425D13-9A1B-4760-9173-66541B3DE401}"/>
              </a:ext>
            </a:extLst>
          </p:cNvPr>
          <p:cNvSpPr/>
          <p:nvPr userDrawn="1"/>
        </p:nvSpPr>
        <p:spPr>
          <a:xfrm>
            <a:off x="0" y="6453188"/>
            <a:ext cx="12192000" cy="404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el 1">
            <a:extLst>
              <a:ext uri="{FF2B5EF4-FFF2-40B4-BE49-F238E27FC236}">
                <a16:creationId xmlns:a16="http://schemas.microsoft.com/office/drawing/2014/main" id="{20DD5FC8-A4F2-4F9F-A6C1-F40DB3F38D2D}"/>
              </a:ext>
            </a:extLst>
          </p:cNvPr>
          <p:cNvSpPr>
            <a:spLocks noGrp="1"/>
          </p:cNvSpPr>
          <p:nvPr>
            <p:ph type="title" hasCustomPrompt="1"/>
          </p:nvPr>
        </p:nvSpPr>
        <p:spPr>
          <a:xfrm>
            <a:off x="514800" y="334800"/>
            <a:ext cx="5436738" cy="554400"/>
          </a:xfrm>
        </p:spPr>
        <p:txBody>
          <a:bodyPr anchor="t" anchorCtr="0">
            <a:noAutofit/>
          </a:bodyPr>
          <a:lstStyle>
            <a:lvl1pPr>
              <a:defRPr sz="3600"/>
            </a:lvl1pPr>
          </a:lstStyle>
          <a:p>
            <a:r>
              <a:rPr lang="en-GB" noProof="0"/>
              <a:t>Add heading</a:t>
            </a:r>
          </a:p>
        </p:txBody>
      </p:sp>
      <p:sp>
        <p:nvSpPr>
          <p:cNvPr id="3" name="Pladsholder til billede 2">
            <a:extLst>
              <a:ext uri="{FF2B5EF4-FFF2-40B4-BE49-F238E27FC236}">
                <a16:creationId xmlns:a16="http://schemas.microsoft.com/office/drawing/2014/main" id="{5BDAB1EB-D25D-4C31-8262-45394195B7D8}"/>
              </a:ext>
            </a:extLst>
          </p:cNvPr>
          <p:cNvSpPr>
            <a:spLocks noGrp="1"/>
          </p:cNvSpPr>
          <p:nvPr>
            <p:ph type="pic" idx="1" hasCustomPrompt="1"/>
          </p:nvPr>
        </p:nvSpPr>
        <p:spPr>
          <a:xfrm>
            <a:off x="6240464" y="0"/>
            <a:ext cx="5951536" cy="6453188"/>
          </a:xfrm>
        </p:spPr>
        <p:txBody>
          <a:bodyPr tIns="792000" anchor="ctr" anchorCtr="1">
            <a:normAutofit/>
          </a:bodyPr>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to insert image</a:t>
            </a:r>
          </a:p>
        </p:txBody>
      </p:sp>
      <p:sp>
        <p:nvSpPr>
          <p:cNvPr id="4" name="Pladsholder til tekst 3">
            <a:extLst>
              <a:ext uri="{FF2B5EF4-FFF2-40B4-BE49-F238E27FC236}">
                <a16:creationId xmlns:a16="http://schemas.microsoft.com/office/drawing/2014/main" id="{835DAC81-9607-4A0D-87D2-0691ECE02B42}"/>
              </a:ext>
            </a:extLst>
          </p:cNvPr>
          <p:cNvSpPr>
            <a:spLocks noGrp="1"/>
          </p:cNvSpPr>
          <p:nvPr>
            <p:ph type="body" sz="half" idx="2" hasCustomPrompt="1"/>
          </p:nvPr>
        </p:nvSpPr>
        <p:spPr>
          <a:xfrm>
            <a:off x="514800" y="1376362"/>
            <a:ext cx="5436738" cy="4968876"/>
          </a:xfrm>
        </p:spPr>
        <p:txBody>
          <a:bodyP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noProof="0"/>
              <a:t>Add content</a:t>
            </a:r>
          </a:p>
        </p:txBody>
      </p:sp>
      <p:sp>
        <p:nvSpPr>
          <p:cNvPr id="5" name="Pladsholder til dato 4">
            <a:extLst>
              <a:ext uri="{FF2B5EF4-FFF2-40B4-BE49-F238E27FC236}">
                <a16:creationId xmlns:a16="http://schemas.microsoft.com/office/drawing/2014/main" id="{C1063DE5-C438-425D-9D21-D8E9A373DAF8}"/>
              </a:ext>
            </a:extLst>
          </p:cNvPr>
          <p:cNvSpPr>
            <a:spLocks noGrp="1"/>
          </p:cNvSpPr>
          <p:nvPr>
            <p:ph type="dt" sz="half" idx="10"/>
          </p:nvPr>
        </p:nvSpPr>
        <p:spPr/>
        <p:txBody>
          <a:bodyPr/>
          <a:lstStyle/>
          <a:p>
            <a:fld id="{7E541DEC-A72A-4520-82E9-AA2D29C1294E}" type="datetime4">
              <a:rPr lang="en-GB" smtClean="0"/>
              <a:t>12 February 2024</a:t>
            </a:fld>
            <a:endParaRPr lang="en-GB"/>
          </a:p>
        </p:txBody>
      </p:sp>
      <p:sp>
        <p:nvSpPr>
          <p:cNvPr id="7" name="Pladsholder til slidenummer 6">
            <a:extLst>
              <a:ext uri="{FF2B5EF4-FFF2-40B4-BE49-F238E27FC236}">
                <a16:creationId xmlns:a16="http://schemas.microsoft.com/office/drawing/2014/main" id="{70440D71-0929-4526-89FF-11702F1837BA}"/>
              </a:ext>
            </a:extLst>
          </p:cNvPr>
          <p:cNvSpPr>
            <a:spLocks noGrp="1"/>
          </p:cNvSpPr>
          <p:nvPr>
            <p:ph type="sldNum" sz="quarter" idx="12"/>
          </p:nvPr>
        </p:nvSpPr>
        <p:spPr/>
        <p:txBody>
          <a:bodyPr/>
          <a:lstStyle/>
          <a:p>
            <a:fld id="{EA97C5ED-C1DE-4316-8FCE-7E084E7B171C}" type="slidenum">
              <a:rPr lang="en-GB" smtClean="0"/>
              <a:t>‹#›</a:t>
            </a:fld>
            <a:endParaRPr lang="en-GB"/>
          </a:p>
        </p:txBody>
      </p:sp>
      <p:sp>
        <p:nvSpPr>
          <p:cNvPr id="12" name="Pladsholder til tekst 9">
            <a:extLst>
              <a:ext uri="{FF2B5EF4-FFF2-40B4-BE49-F238E27FC236}">
                <a16:creationId xmlns:a16="http://schemas.microsoft.com/office/drawing/2014/main" id="{2DF67386-C449-4773-98FA-E90C87B008C1}"/>
              </a:ext>
            </a:extLst>
          </p:cNvPr>
          <p:cNvSpPr>
            <a:spLocks noGrp="1"/>
          </p:cNvSpPr>
          <p:nvPr>
            <p:ph type="body" sz="quarter" idx="13" hasCustomPrompt="1"/>
          </p:nvPr>
        </p:nvSpPr>
        <p:spPr>
          <a:xfrm>
            <a:off x="514800" y="900000"/>
            <a:ext cx="5436738" cy="223374"/>
          </a:xfrm>
        </p:spPr>
        <p:txBody>
          <a:bodyPr wrap="none" tIns="0" bIns="0" anchor="b">
            <a:noAutofit/>
          </a:bodyPr>
          <a:lstStyle>
            <a:lvl1pPr marL="0" indent="0">
              <a:buFontTx/>
              <a:buNone/>
              <a:defRPr sz="1400" b="1">
                <a:solidFill>
                  <a:schemeClr val="tx2"/>
                </a:solidFill>
                <a:latin typeface="Roboto" panose="02000000000000000000" pitchFamily="2" charset="0"/>
                <a:ea typeface="Roboto" panose="02000000000000000000" pitchFamily="2" charset="0"/>
                <a:cs typeface="Roboto Black" panose="02000000000000000000" pitchFamily="2" charset="0"/>
              </a:defRPr>
            </a:lvl1pPr>
            <a:lvl2pPr marL="457200" indent="0">
              <a:buFontTx/>
              <a:buNone/>
              <a:defRPr>
                <a:solidFill>
                  <a:schemeClr val="tx2"/>
                </a:solidFill>
              </a:defRPr>
            </a:lvl2pPr>
            <a:lvl3pPr marL="914400" indent="0">
              <a:buFontTx/>
              <a:buNone/>
              <a:defRPr>
                <a:solidFill>
                  <a:schemeClr val="tx2"/>
                </a:solidFill>
              </a:defRPr>
            </a:lvl3pPr>
            <a:lvl4pPr marL="1371600" indent="0">
              <a:buFontTx/>
              <a:buNone/>
              <a:defRPr>
                <a:solidFill>
                  <a:schemeClr val="tx2"/>
                </a:solidFill>
              </a:defRPr>
            </a:lvl4pPr>
            <a:lvl5pPr marL="1828800" indent="0">
              <a:buFontTx/>
              <a:buNone/>
              <a:defRPr>
                <a:solidFill>
                  <a:schemeClr val="tx2"/>
                </a:solidFill>
              </a:defRPr>
            </a:lvl5pPr>
          </a:lstStyle>
          <a:p>
            <a:pPr lvl="0"/>
            <a:r>
              <a:rPr lang="en-GB" noProof="0"/>
              <a:t>Add subheading</a:t>
            </a:r>
          </a:p>
        </p:txBody>
      </p:sp>
      <p:pic>
        <p:nvPicPr>
          <p:cNvPr id="10" name="Picture 9" descr="Logo, icon&#10;&#10;Description automatically generated">
            <a:extLst>
              <a:ext uri="{FF2B5EF4-FFF2-40B4-BE49-F238E27FC236}">
                <a16:creationId xmlns:a16="http://schemas.microsoft.com/office/drawing/2014/main" id="{2D6C80CE-1A05-09E7-A60F-EB8257CB234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87958" y="6560348"/>
            <a:ext cx="863707" cy="195758"/>
          </a:xfrm>
          <a:prstGeom prst="rect">
            <a:avLst/>
          </a:prstGeom>
        </p:spPr>
      </p:pic>
    </p:spTree>
    <p:extLst>
      <p:ext uri="{BB962C8B-B14F-4D97-AF65-F5344CB8AC3E}">
        <p14:creationId xmlns:p14="http://schemas.microsoft.com/office/powerpoint/2010/main" val="324786494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7325" y="256554"/>
            <a:ext cx="11594456" cy="731737"/>
          </a:xfrm>
          <a:prstGeom prst="rect">
            <a:avLst/>
          </a:prstGeom>
        </p:spPr>
        <p:txBody>
          <a:bodyPr/>
          <a:lstStyle>
            <a:lvl1pPr>
              <a:defRPr/>
            </a:lvl1pPr>
          </a:lstStyle>
          <a:p>
            <a:r>
              <a:rPr lang="en-US"/>
              <a:t>Title</a:t>
            </a:r>
            <a:endParaRPr lang="en-GB"/>
          </a:p>
        </p:txBody>
      </p:sp>
      <p:sp>
        <p:nvSpPr>
          <p:cNvPr id="4" name="Text Placeholder 3"/>
          <p:cNvSpPr>
            <a:spLocks noGrp="1"/>
          </p:cNvSpPr>
          <p:nvPr>
            <p:ph type="body" sz="quarter" idx="10"/>
          </p:nvPr>
        </p:nvSpPr>
        <p:spPr>
          <a:xfrm>
            <a:off x="233334" y="1240286"/>
            <a:ext cx="11561503" cy="5299060"/>
          </a:xfrm>
          <a:prstGeom prst="rect">
            <a:avLst/>
          </a:prstGeom>
        </p:spPr>
        <p:txBody>
          <a:bodyPr/>
          <a:lstStyle>
            <a:lvl1pPr>
              <a:defRPr sz="3200" b="1"/>
            </a:lvl1pPr>
            <a:lvl2pPr marL="634984" indent="-317492">
              <a:buFont typeface="Courier New" panose="02070309020205020404" pitchFamily="49" charset="0"/>
              <a:buChar char="o"/>
              <a:defRPr/>
            </a:lvl2pPr>
            <a:lvl3pPr marL="952476" indent="-317492">
              <a:buFont typeface="Courier New" panose="02070309020205020404" pitchFamily="49" charset="0"/>
              <a:buChar char="o"/>
              <a:defRPr/>
            </a:lvl3pPr>
            <a:lvl4pPr marL="1269968" indent="-317492">
              <a:buFont typeface="Courier New" panose="02070309020205020404" pitchFamily="49" charset="0"/>
              <a:buChar char="o"/>
              <a:defRPr/>
            </a:lvl4pPr>
            <a:lvl5pPr marL="1587460" indent="-317492">
              <a:buFont typeface="Courier New" panose="02070309020205020404" pitchFamily="49" charset="0"/>
              <a:buChar char="o"/>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82765573"/>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Content - Light">
    <p:bg>
      <p:bgPr>
        <a:solidFill>
          <a:srgbClr val="ECECED"/>
        </a:solidFill>
        <a:effectLst/>
      </p:bgPr>
    </p:bg>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68237672-EA13-4736-A70B-E52AB4AD066C}"/>
              </a:ext>
            </a:extLst>
          </p:cNvPr>
          <p:cNvSpPr/>
          <p:nvPr userDrawn="1"/>
        </p:nvSpPr>
        <p:spPr>
          <a:xfrm>
            <a:off x="0" y="6453188"/>
            <a:ext cx="12192000" cy="404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Roboto"/>
              <a:ea typeface="+mn-ea"/>
              <a:cs typeface="+mn-cs"/>
            </a:endParaRPr>
          </a:p>
        </p:txBody>
      </p:sp>
      <p:sp>
        <p:nvSpPr>
          <p:cNvPr id="2" name="Titel 1">
            <a:extLst>
              <a:ext uri="{FF2B5EF4-FFF2-40B4-BE49-F238E27FC236}">
                <a16:creationId xmlns:a16="http://schemas.microsoft.com/office/drawing/2014/main" id="{7CB936AD-B99A-4CBD-8357-6A393A1540DF}"/>
              </a:ext>
            </a:extLst>
          </p:cNvPr>
          <p:cNvSpPr>
            <a:spLocks noGrp="1"/>
          </p:cNvSpPr>
          <p:nvPr>
            <p:ph type="title" hasCustomPrompt="1"/>
          </p:nvPr>
        </p:nvSpPr>
        <p:spPr>
          <a:xfrm>
            <a:off x="514800" y="333375"/>
            <a:ext cx="11161263" cy="554400"/>
          </a:xfrm>
        </p:spPr>
        <p:txBody>
          <a:bodyPr>
            <a:noAutofit/>
          </a:bodyPr>
          <a:lstStyle>
            <a:lvl1pPr>
              <a:defRPr sz="3600" b="1"/>
            </a:lvl1pPr>
          </a:lstStyle>
          <a:p>
            <a:r>
              <a:rPr lang="en-GB" noProof="0"/>
              <a:t>Add heading</a:t>
            </a:r>
          </a:p>
        </p:txBody>
      </p:sp>
      <p:sp>
        <p:nvSpPr>
          <p:cNvPr id="3" name="Pladsholder til indhold 2">
            <a:extLst>
              <a:ext uri="{FF2B5EF4-FFF2-40B4-BE49-F238E27FC236}">
                <a16:creationId xmlns:a16="http://schemas.microsoft.com/office/drawing/2014/main" id="{1236430A-BA34-4FAC-83B6-11BC4B15979F}"/>
              </a:ext>
            </a:extLst>
          </p:cNvPr>
          <p:cNvSpPr>
            <a:spLocks noGrp="1"/>
          </p:cNvSpPr>
          <p:nvPr>
            <p:ph idx="1" hasCustomPrompt="1"/>
          </p:nvPr>
        </p:nvSpPr>
        <p:spPr>
          <a:xfrm>
            <a:off x="514799" y="1376362"/>
            <a:ext cx="7344915" cy="4968876"/>
          </a:xfrm>
        </p:spPr>
        <p:txBody>
          <a:bodyPr/>
          <a:lstStyle>
            <a:lvl1pPr>
              <a:defRPr/>
            </a:lvl1pPr>
            <a:lvl2pPr>
              <a:defRPr/>
            </a:lvl2pPr>
            <a:lvl3pPr>
              <a:defRPr/>
            </a:lvl3pPr>
            <a:lvl4pPr>
              <a:defRPr/>
            </a:lvl4pPr>
            <a:lvl5pPr>
              <a:defRPr/>
            </a:lvl5pPr>
          </a:lstStyle>
          <a:p>
            <a:pPr lvl="0"/>
            <a:r>
              <a:rPr lang="en-GB" noProof="0"/>
              <a:t>Add content. Deactivate lists and bullets if not needed.</a:t>
            </a:r>
          </a:p>
          <a:p>
            <a:pPr lvl="1"/>
            <a:r>
              <a:rPr lang="en-GB" noProof="0"/>
              <a:t>Second level content</a:t>
            </a:r>
          </a:p>
          <a:p>
            <a:pPr lvl="2"/>
            <a:r>
              <a:rPr lang="en-GB" noProof="0"/>
              <a:t>Third level content</a:t>
            </a:r>
          </a:p>
          <a:p>
            <a:pPr lvl="3"/>
            <a:r>
              <a:rPr lang="en-GB" noProof="0"/>
              <a:t>Fourth level content</a:t>
            </a:r>
          </a:p>
          <a:p>
            <a:pPr lvl="4"/>
            <a:r>
              <a:rPr lang="en-GB" noProof="0"/>
              <a:t>Fifth level content</a:t>
            </a:r>
          </a:p>
        </p:txBody>
      </p:sp>
      <p:sp>
        <p:nvSpPr>
          <p:cNvPr id="4" name="Pladsholder til dato 3">
            <a:extLst>
              <a:ext uri="{FF2B5EF4-FFF2-40B4-BE49-F238E27FC236}">
                <a16:creationId xmlns:a16="http://schemas.microsoft.com/office/drawing/2014/main" id="{A6893F90-614A-432E-B652-4118F55FF452}"/>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4933F07-2DB2-4175-996C-DC8D8171E7FF}" type="datetime4">
              <a:rPr kumimoji="0" lang="en-GB" sz="1800" b="0" i="0" u="none" strike="noStrike" kern="1200" cap="none" spc="0" normalizeH="0" baseline="0" noProof="0" smtClean="0">
                <a:ln>
                  <a:noFill/>
                </a:ln>
                <a:solidFill>
                  <a:srgbClr val="000000"/>
                </a:solidFill>
                <a:effectLst/>
                <a:uLnTx/>
                <a:uFillTx/>
                <a:latin typeface="Robot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 February 2024</a:t>
            </a:fld>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5" name="Pladsholder til sidefod 4">
            <a:extLst>
              <a:ext uri="{FF2B5EF4-FFF2-40B4-BE49-F238E27FC236}">
                <a16:creationId xmlns:a16="http://schemas.microsoft.com/office/drawing/2014/main" id="{7D3DEB8A-4828-4D9A-AF0C-2F5461697DE9}"/>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6" name="Pladsholder til slidenummer 5">
            <a:extLst>
              <a:ext uri="{FF2B5EF4-FFF2-40B4-BE49-F238E27FC236}">
                <a16:creationId xmlns:a16="http://schemas.microsoft.com/office/drawing/2014/main" id="{827BB508-743A-42C5-B38B-A739FC54602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A97C5ED-C1DE-4316-8FCE-7E084E7B171C}" type="slidenum">
              <a:rPr kumimoji="0" lang="en-GB" sz="1800" b="0" i="0" u="none" strike="noStrike" kern="1200" cap="none" spc="0" normalizeH="0" baseline="0" noProof="0" smtClean="0">
                <a:ln>
                  <a:noFill/>
                </a:ln>
                <a:solidFill>
                  <a:srgbClr val="000000"/>
                </a:solidFill>
                <a:effectLst/>
                <a:uLnTx/>
                <a:uFillTx/>
                <a:latin typeface="Robot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10" name="Pladsholder til tekst 9">
            <a:extLst>
              <a:ext uri="{FF2B5EF4-FFF2-40B4-BE49-F238E27FC236}">
                <a16:creationId xmlns:a16="http://schemas.microsoft.com/office/drawing/2014/main" id="{9AFA0120-57A0-4D2B-8C07-01264457CB70}"/>
              </a:ext>
            </a:extLst>
          </p:cNvPr>
          <p:cNvSpPr>
            <a:spLocks noGrp="1"/>
          </p:cNvSpPr>
          <p:nvPr>
            <p:ph type="body" sz="quarter" idx="13" hasCustomPrompt="1"/>
          </p:nvPr>
        </p:nvSpPr>
        <p:spPr>
          <a:xfrm>
            <a:off x="515938" y="900000"/>
            <a:ext cx="11160125" cy="223374"/>
          </a:xfrm>
        </p:spPr>
        <p:txBody>
          <a:bodyPr wrap="none" tIns="0" bIns="0" anchor="t" anchorCtr="0">
            <a:noAutofit/>
          </a:bodyPr>
          <a:lstStyle>
            <a:lvl1pPr marL="0" indent="0">
              <a:buFontTx/>
              <a:buNone/>
              <a:defRPr sz="1400" b="1">
                <a:solidFill>
                  <a:schemeClr val="tx2"/>
                </a:solidFill>
                <a:latin typeface="Roboto" panose="02000000000000000000" pitchFamily="2" charset="0"/>
                <a:ea typeface="Roboto" panose="02000000000000000000" pitchFamily="2" charset="0"/>
                <a:cs typeface="Roboto Black" panose="02000000000000000000" pitchFamily="2" charset="0"/>
              </a:defRPr>
            </a:lvl1pPr>
            <a:lvl2pPr marL="457200" indent="0">
              <a:buFontTx/>
              <a:buNone/>
              <a:defRPr>
                <a:solidFill>
                  <a:schemeClr val="tx2"/>
                </a:solidFill>
              </a:defRPr>
            </a:lvl2pPr>
            <a:lvl3pPr marL="914400" indent="0">
              <a:buFontTx/>
              <a:buNone/>
              <a:defRPr>
                <a:solidFill>
                  <a:schemeClr val="tx2"/>
                </a:solidFill>
              </a:defRPr>
            </a:lvl3pPr>
            <a:lvl4pPr marL="1371600" indent="0">
              <a:buFontTx/>
              <a:buNone/>
              <a:defRPr>
                <a:solidFill>
                  <a:schemeClr val="tx2"/>
                </a:solidFill>
              </a:defRPr>
            </a:lvl4pPr>
            <a:lvl5pPr marL="1828800" indent="0">
              <a:buFontTx/>
              <a:buNone/>
              <a:defRPr>
                <a:solidFill>
                  <a:schemeClr val="tx2"/>
                </a:solidFill>
              </a:defRPr>
            </a:lvl5pPr>
          </a:lstStyle>
          <a:p>
            <a:pPr lvl="0"/>
            <a:r>
              <a:rPr lang="en-GB" noProof="0"/>
              <a:t>Add subheading</a:t>
            </a:r>
          </a:p>
        </p:txBody>
      </p:sp>
      <p:pic>
        <p:nvPicPr>
          <p:cNvPr id="12" name="Graphic 21">
            <a:extLst>
              <a:ext uri="{FF2B5EF4-FFF2-40B4-BE49-F238E27FC236}">
                <a16:creationId xmlns:a16="http://schemas.microsoft.com/office/drawing/2014/main" id="{BB19DABA-D280-4FEC-9B16-CB79D6AE77A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769910" y="6544798"/>
            <a:ext cx="907290" cy="230400"/>
          </a:xfrm>
          <a:prstGeom prst="rect">
            <a:avLst/>
          </a:prstGeom>
        </p:spPr>
      </p:pic>
    </p:spTree>
    <p:extLst>
      <p:ext uri="{BB962C8B-B14F-4D97-AF65-F5344CB8AC3E}">
        <p14:creationId xmlns:p14="http://schemas.microsoft.com/office/powerpoint/2010/main" val="30426034"/>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Logo - Light">
    <p:bg>
      <p:bgPr>
        <a:solidFill>
          <a:srgbClr val="ECECED"/>
        </a:solidFill>
        <a:effectLst/>
      </p:bgPr>
    </p:bg>
    <p:spTree>
      <p:nvGrpSpPr>
        <p:cNvPr id="1" name=""/>
        <p:cNvGrpSpPr/>
        <p:nvPr/>
      </p:nvGrpSpPr>
      <p:grpSpPr>
        <a:xfrm>
          <a:off x="0" y="0"/>
          <a:ext cx="0" cy="0"/>
          <a:chOff x="0" y="0"/>
          <a:chExt cx="0" cy="0"/>
        </a:xfrm>
      </p:grpSpPr>
      <p:pic>
        <p:nvPicPr>
          <p:cNvPr id="3" name="Picture 2" descr="A group of people standing in a room&#10;&#10;Description automatically generated">
            <a:extLst>
              <a:ext uri="{FF2B5EF4-FFF2-40B4-BE49-F238E27FC236}">
                <a16:creationId xmlns:a16="http://schemas.microsoft.com/office/drawing/2014/main" id="{B16A2D59-A331-721E-290E-5CF2CC02AA44}"/>
              </a:ext>
            </a:extLst>
          </p:cNvPr>
          <p:cNvPicPr>
            <a:picLocks/>
          </p:cNvPicPr>
          <p:nvPr/>
        </p:nvPicPr>
        <p:blipFill>
          <a:blip r:embed="rId2" cstate="email">
            <a:extLst>
              <a:ext uri="{28A0092B-C50C-407E-A947-70E740481C1C}">
                <a14:useLocalDpi xmlns:a14="http://schemas.microsoft.com/office/drawing/2010/main"/>
              </a:ext>
            </a:extLst>
          </a:blip>
          <a:srcRect/>
          <a:stretch>
            <a:fillRect/>
          </a:stretch>
        </p:blipFill>
        <p:spPr>
          <a:xfrm>
            <a:off x="-1" y="0"/>
            <a:ext cx="12190729" cy="6858000"/>
          </a:xfrm>
          <a:prstGeom prst="rect">
            <a:avLst/>
          </a:prstGeom>
        </p:spPr>
      </p:pic>
      <p:pic>
        <p:nvPicPr>
          <p:cNvPr id="4" name="Picture 3">
            <a:extLst>
              <a:ext uri="{FF2B5EF4-FFF2-40B4-BE49-F238E27FC236}">
                <a16:creationId xmlns:a16="http://schemas.microsoft.com/office/drawing/2014/main" id="{45754088-EB3B-DF70-FC14-3CA35557C2D0}"/>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7203291" y="1501140"/>
            <a:ext cx="2298677" cy="3855720"/>
          </a:xfrm>
          <a:prstGeom prst="rect">
            <a:avLst/>
          </a:prstGeom>
        </p:spPr>
      </p:pic>
    </p:spTree>
    <p:extLst>
      <p:ext uri="{BB962C8B-B14F-4D97-AF65-F5344CB8AC3E}">
        <p14:creationId xmlns:p14="http://schemas.microsoft.com/office/powerpoint/2010/main" val="67360058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Presentation Title + Image - Light">
    <p:bg>
      <p:bgPr>
        <a:solidFill>
          <a:srgbClr val="ECECE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009710-6EB2-4931-A331-58D092BCD222}"/>
              </a:ext>
            </a:extLst>
          </p:cNvPr>
          <p:cNvSpPr>
            <a:spLocks noGrp="1"/>
          </p:cNvSpPr>
          <p:nvPr>
            <p:ph type="ctrTitle" hasCustomPrompt="1"/>
          </p:nvPr>
        </p:nvSpPr>
        <p:spPr>
          <a:xfrm>
            <a:off x="919035" y="2619190"/>
            <a:ext cx="5430285" cy="1452705"/>
          </a:xfrm>
          <a:ln>
            <a:noFill/>
          </a:ln>
        </p:spPr>
        <p:txBody>
          <a:bodyPr wrap="square" tIns="0" anchor="t" anchorCtr="0">
            <a:spAutoFit/>
          </a:bodyPr>
          <a:lstStyle>
            <a:lvl1pPr algn="l">
              <a:lnSpc>
                <a:spcPct val="78000"/>
              </a:lnSpc>
              <a:spcBef>
                <a:spcPts val="0"/>
              </a:spcBef>
              <a:defRPr sz="6000" kern="0" cap="all" spc="-150" baseline="0">
                <a:solidFill>
                  <a:schemeClr val="tx2"/>
                </a:solidFill>
              </a:defRPr>
            </a:lvl1pPr>
          </a:lstStyle>
          <a:p>
            <a:r>
              <a:rPr lang="en-GB" noProof="0"/>
              <a:t>Presentation Title</a:t>
            </a:r>
          </a:p>
        </p:txBody>
      </p:sp>
      <p:sp>
        <p:nvSpPr>
          <p:cNvPr id="3" name="Undertitel 2">
            <a:extLst>
              <a:ext uri="{FF2B5EF4-FFF2-40B4-BE49-F238E27FC236}">
                <a16:creationId xmlns:a16="http://schemas.microsoft.com/office/drawing/2014/main" id="{06FD948C-2AC3-4DD4-857A-469378D98AEE}"/>
              </a:ext>
            </a:extLst>
          </p:cNvPr>
          <p:cNvSpPr>
            <a:spLocks noGrp="1"/>
          </p:cNvSpPr>
          <p:nvPr>
            <p:ph type="subTitle" idx="1"/>
          </p:nvPr>
        </p:nvSpPr>
        <p:spPr>
          <a:xfrm>
            <a:off x="804735" y="1908057"/>
            <a:ext cx="5544585" cy="588774"/>
          </a:xfrm>
          <a:ln w="34925">
            <a:noFill/>
            <a:miter lim="800000"/>
          </a:ln>
        </p:spPr>
        <p:txBody>
          <a:bodyPr wrap="square" lIns="0" tIns="0" rIns="0" bIns="0" anchor="ctr" anchorCtr="0">
            <a:noAutofit/>
          </a:bodyPr>
          <a:lstStyle>
            <a:lvl1pPr marL="144000" indent="0" algn="l">
              <a:lnSpc>
                <a:spcPct val="80000"/>
              </a:lnSpc>
              <a:spcBef>
                <a:spcPts val="0"/>
              </a:spcBef>
              <a:buNone/>
              <a:defRPr sz="2000" cap="all" spc="100" baseline="0">
                <a:solidFill>
                  <a:schemeClr val="accent3"/>
                </a:solidFill>
                <a:latin typeface="Roboto Black" panose="02000000000000000000" pitchFamily="2" charset="0"/>
                <a:ea typeface="Roboto Black" panose="02000000000000000000" pitchFamily="2" charset="0"/>
                <a:cs typeface="Roboto Black" panose="020000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GB" noProof="0"/>
          </a:p>
        </p:txBody>
      </p:sp>
      <p:pic>
        <p:nvPicPr>
          <p:cNvPr id="10" name="Picture 9">
            <a:extLst>
              <a:ext uri="{FF2B5EF4-FFF2-40B4-BE49-F238E27FC236}">
                <a16:creationId xmlns:a16="http://schemas.microsoft.com/office/drawing/2014/main" id="{E19B9783-072D-6042-A908-BF79AB938F81}"/>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545484" y="607320"/>
            <a:ext cx="3264909" cy="5476445"/>
          </a:xfrm>
          <a:prstGeom prst="rect">
            <a:avLst/>
          </a:prstGeom>
        </p:spPr>
      </p:pic>
      <p:pic>
        <p:nvPicPr>
          <p:cNvPr id="6" name="Golden section" hidden="1">
            <a:extLst>
              <a:ext uri="{FF2B5EF4-FFF2-40B4-BE49-F238E27FC236}">
                <a16:creationId xmlns:a16="http://schemas.microsoft.com/office/drawing/2014/main" id="{E1D14AA9-FFAD-77FE-BB4D-5F801F4D6C8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flipH="1">
            <a:off x="566351" y="-9184"/>
            <a:ext cx="11074106" cy="6867183"/>
          </a:xfrm>
          <a:prstGeom prst="rect">
            <a:avLst/>
          </a:prstGeom>
        </p:spPr>
      </p:pic>
      <p:pic>
        <p:nvPicPr>
          <p:cNvPr id="7" name="Golden section" hidden="1">
            <a:extLst>
              <a:ext uri="{FF2B5EF4-FFF2-40B4-BE49-F238E27FC236}">
                <a16:creationId xmlns:a16="http://schemas.microsoft.com/office/drawing/2014/main" id="{8E7A205B-DC1D-ED1D-C203-AFF8D07FB7E2}"/>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flipH="1">
            <a:off x="566351" y="-9184"/>
            <a:ext cx="11074106" cy="6867183"/>
          </a:xfrm>
          <a:prstGeom prst="rect">
            <a:avLst/>
          </a:prstGeom>
        </p:spPr>
      </p:pic>
      <p:pic>
        <p:nvPicPr>
          <p:cNvPr id="9" name="Picture 8">
            <a:extLst>
              <a:ext uri="{FF2B5EF4-FFF2-40B4-BE49-F238E27FC236}">
                <a16:creationId xmlns:a16="http://schemas.microsoft.com/office/drawing/2014/main" id="{38A9AB2B-BE1D-38E6-852B-1022D2DCF017}"/>
              </a:ext>
            </a:extLst>
          </p:cNvPr>
          <p:cNvPicPr>
            <a:picLocks/>
          </p:cNvPicPr>
          <p:nvPr userDrawn="1"/>
        </p:nvPicPr>
        <p:blipFill rotWithShape="1">
          <a:blip r:embed="rId5" cstate="email">
            <a:extLst>
              <a:ext uri="{28A0092B-C50C-407E-A947-70E740481C1C}">
                <a14:useLocalDpi xmlns:a14="http://schemas.microsoft.com/office/drawing/2010/main"/>
              </a:ext>
            </a:extLst>
          </a:blip>
          <a:srcRect/>
          <a:stretch/>
        </p:blipFill>
        <p:spPr>
          <a:xfrm>
            <a:off x="982535" y="0"/>
            <a:ext cx="1612901" cy="711200"/>
          </a:xfrm>
          <a:prstGeom prst="rect">
            <a:avLst/>
          </a:prstGeom>
        </p:spPr>
      </p:pic>
      <p:grpSp>
        <p:nvGrpSpPr>
          <p:cNvPr id="20" name="Group 19" hidden="1">
            <a:extLst>
              <a:ext uri="{FF2B5EF4-FFF2-40B4-BE49-F238E27FC236}">
                <a16:creationId xmlns:a16="http://schemas.microsoft.com/office/drawing/2014/main" id="{4258D74C-FA5E-DFDA-63C8-3D06ECBDD806}"/>
              </a:ext>
            </a:extLst>
          </p:cNvPr>
          <p:cNvGrpSpPr/>
          <p:nvPr userDrawn="1"/>
        </p:nvGrpSpPr>
        <p:grpSpPr>
          <a:xfrm>
            <a:off x="-1043609" y="3154366"/>
            <a:ext cx="14690035" cy="1179095"/>
            <a:chOff x="-1043609" y="3154366"/>
            <a:chExt cx="14690035" cy="1179095"/>
          </a:xfrm>
        </p:grpSpPr>
        <p:cxnSp>
          <p:nvCxnSpPr>
            <p:cNvPr id="11" name="Straight Connector 10">
              <a:extLst>
                <a:ext uri="{FF2B5EF4-FFF2-40B4-BE49-F238E27FC236}">
                  <a16:creationId xmlns:a16="http://schemas.microsoft.com/office/drawing/2014/main" id="{15D42186-447A-7DC6-B136-40B902E6A57B}"/>
                </a:ext>
              </a:extLst>
            </p:cNvPr>
            <p:cNvCxnSpPr>
              <a:cxnSpLocks/>
            </p:cNvCxnSpPr>
            <p:nvPr userDrawn="1"/>
          </p:nvCxnSpPr>
          <p:spPr>
            <a:xfrm>
              <a:off x="-1043609" y="3861747"/>
              <a:ext cx="14690035" cy="0"/>
            </a:xfrm>
            <a:prstGeom prst="line">
              <a:avLst/>
            </a:prstGeom>
            <a:ln>
              <a:solidFill>
                <a:schemeClr val="tx2"/>
              </a:solidFill>
            </a:ln>
          </p:spPr>
          <p:style>
            <a:lnRef idx="1">
              <a:schemeClr val="accent2"/>
            </a:lnRef>
            <a:fillRef idx="0">
              <a:schemeClr val="accent2"/>
            </a:fillRef>
            <a:effectRef idx="0">
              <a:schemeClr val="accent2"/>
            </a:effectRef>
            <a:fontRef idx="minor">
              <a:schemeClr val="tx1"/>
            </a:fontRef>
          </p:style>
        </p:cxnSp>
        <p:cxnSp>
          <p:nvCxnSpPr>
            <p:cNvPr id="12" name="Straight Connector 11">
              <a:extLst>
                <a:ext uri="{FF2B5EF4-FFF2-40B4-BE49-F238E27FC236}">
                  <a16:creationId xmlns:a16="http://schemas.microsoft.com/office/drawing/2014/main" id="{D0CBCAD7-5ED4-F8FA-356C-3B5C8D747842}"/>
                </a:ext>
              </a:extLst>
            </p:cNvPr>
            <p:cNvCxnSpPr/>
            <p:nvPr userDrawn="1"/>
          </p:nvCxnSpPr>
          <p:spPr>
            <a:xfrm>
              <a:off x="-1043609" y="4333461"/>
              <a:ext cx="14690035" cy="0"/>
            </a:xfrm>
            <a:prstGeom prst="line">
              <a:avLst/>
            </a:prstGeom>
            <a:ln>
              <a:solidFill>
                <a:schemeClr val="tx2"/>
              </a:solidFill>
            </a:ln>
          </p:spPr>
          <p:style>
            <a:lnRef idx="1">
              <a:schemeClr val="accent2"/>
            </a:lnRef>
            <a:fillRef idx="0">
              <a:schemeClr val="accent2"/>
            </a:fillRef>
            <a:effectRef idx="0">
              <a:schemeClr val="accent2"/>
            </a:effectRef>
            <a:fontRef idx="minor">
              <a:schemeClr val="tx1"/>
            </a:fontRef>
          </p:style>
        </p:cxnSp>
        <p:cxnSp>
          <p:nvCxnSpPr>
            <p:cNvPr id="13" name="Straight Connector 12">
              <a:extLst>
                <a:ext uri="{FF2B5EF4-FFF2-40B4-BE49-F238E27FC236}">
                  <a16:creationId xmlns:a16="http://schemas.microsoft.com/office/drawing/2014/main" id="{F65DA814-6AD4-454B-7F9A-77DF8EE2F5D3}"/>
                </a:ext>
              </a:extLst>
            </p:cNvPr>
            <p:cNvCxnSpPr/>
            <p:nvPr userDrawn="1"/>
          </p:nvCxnSpPr>
          <p:spPr>
            <a:xfrm>
              <a:off x="-1043609" y="3154366"/>
              <a:ext cx="14690035" cy="0"/>
            </a:xfrm>
            <a:prstGeom prst="line">
              <a:avLst/>
            </a:prstGeom>
            <a:ln>
              <a:solidFill>
                <a:schemeClr val="tx2"/>
              </a:solidFill>
            </a:ln>
          </p:spPr>
          <p:style>
            <a:lnRef idx="1">
              <a:schemeClr val="accent2"/>
            </a:lnRef>
            <a:fillRef idx="0">
              <a:schemeClr val="accent2"/>
            </a:fillRef>
            <a:effectRef idx="0">
              <a:schemeClr val="accent2"/>
            </a:effectRef>
            <a:fontRef idx="minor">
              <a:schemeClr val="tx1"/>
            </a:fontRef>
          </p:style>
        </p:cxnSp>
        <p:cxnSp>
          <p:nvCxnSpPr>
            <p:cNvPr id="14" name="Straight Connector 13">
              <a:extLst>
                <a:ext uri="{FF2B5EF4-FFF2-40B4-BE49-F238E27FC236}">
                  <a16:creationId xmlns:a16="http://schemas.microsoft.com/office/drawing/2014/main" id="{660470C9-099A-084E-A30A-1491AF5661C0}"/>
                </a:ext>
              </a:extLst>
            </p:cNvPr>
            <p:cNvCxnSpPr/>
            <p:nvPr userDrawn="1"/>
          </p:nvCxnSpPr>
          <p:spPr>
            <a:xfrm>
              <a:off x="-1043609" y="3627783"/>
              <a:ext cx="14690035" cy="0"/>
            </a:xfrm>
            <a:prstGeom prst="line">
              <a:avLst/>
            </a:prstGeom>
            <a:ln>
              <a:solidFill>
                <a:schemeClr val="tx2"/>
              </a:solidFill>
            </a:ln>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256556348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Presentation Title + Image - Light 2">
    <p:bg>
      <p:bgPr>
        <a:solidFill>
          <a:srgbClr val="ECECE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009710-6EB2-4931-A331-58D092BCD222}"/>
              </a:ext>
            </a:extLst>
          </p:cNvPr>
          <p:cNvSpPr>
            <a:spLocks noGrp="1"/>
          </p:cNvSpPr>
          <p:nvPr>
            <p:ph type="ctrTitle" hasCustomPrompt="1"/>
          </p:nvPr>
        </p:nvSpPr>
        <p:spPr>
          <a:xfrm>
            <a:off x="919035" y="2619190"/>
            <a:ext cx="5430285" cy="1452705"/>
          </a:xfrm>
        </p:spPr>
        <p:txBody>
          <a:bodyPr wrap="square" tIns="0" anchor="t" anchorCtr="0">
            <a:spAutoFit/>
          </a:bodyPr>
          <a:lstStyle>
            <a:lvl1pPr algn="l">
              <a:lnSpc>
                <a:spcPct val="78000"/>
              </a:lnSpc>
              <a:spcBef>
                <a:spcPts val="0"/>
              </a:spcBef>
              <a:defRPr sz="6000" kern="0" cap="all" spc="-150" baseline="0">
                <a:solidFill>
                  <a:schemeClr val="tx2"/>
                </a:solidFill>
              </a:defRPr>
            </a:lvl1pPr>
          </a:lstStyle>
          <a:p>
            <a:r>
              <a:rPr lang="en-GB" noProof="0"/>
              <a:t>Presentation Title</a:t>
            </a:r>
          </a:p>
        </p:txBody>
      </p:sp>
      <p:sp>
        <p:nvSpPr>
          <p:cNvPr id="3" name="Undertitel 2">
            <a:extLst>
              <a:ext uri="{FF2B5EF4-FFF2-40B4-BE49-F238E27FC236}">
                <a16:creationId xmlns:a16="http://schemas.microsoft.com/office/drawing/2014/main" id="{06FD948C-2AC3-4DD4-857A-469378D98AEE}"/>
              </a:ext>
            </a:extLst>
          </p:cNvPr>
          <p:cNvSpPr>
            <a:spLocks noGrp="1"/>
          </p:cNvSpPr>
          <p:nvPr>
            <p:ph type="subTitle" idx="1"/>
          </p:nvPr>
        </p:nvSpPr>
        <p:spPr>
          <a:xfrm>
            <a:off x="804735" y="1908057"/>
            <a:ext cx="5544585" cy="588774"/>
          </a:xfrm>
          <a:ln w="34925">
            <a:noFill/>
            <a:miter lim="800000"/>
          </a:ln>
        </p:spPr>
        <p:txBody>
          <a:bodyPr wrap="square" lIns="0" tIns="0" rIns="0" bIns="0" anchor="ctr" anchorCtr="0">
            <a:noAutofit/>
          </a:bodyPr>
          <a:lstStyle>
            <a:lvl1pPr marL="144000" indent="0" algn="l">
              <a:lnSpc>
                <a:spcPct val="80000"/>
              </a:lnSpc>
              <a:spcBef>
                <a:spcPts val="0"/>
              </a:spcBef>
              <a:buNone/>
              <a:defRPr sz="2000" cap="all" spc="100" baseline="0">
                <a:solidFill>
                  <a:schemeClr val="accent3"/>
                </a:solidFill>
                <a:latin typeface="Roboto Black" panose="02000000000000000000" pitchFamily="2" charset="0"/>
                <a:ea typeface="Roboto Black" panose="02000000000000000000" pitchFamily="2" charset="0"/>
                <a:cs typeface="Roboto Black" panose="020000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GB" noProof="0"/>
          </a:p>
        </p:txBody>
      </p:sp>
      <p:pic>
        <p:nvPicPr>
          <p:cNvPr id="7" name="Golden section" hidden="1">
            <a:extLst>
              <a:ext uri="{FF2B5EF4-FFF2-40B4-BE49-F238E27FC236}">
                <a16:creationId xmlns:a16="http://schemas.microsoft.com/office/drawing/2014/main" id="{3971EFB2-3D90-170A-B0B8-4694DECA94D4}"/>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flipH="1">
            <a:off x="566351" y="-9184"/>
            <a:ext cx="11074106" cy="6867183"/>
          </a:xfrm>
          <a:prstGeom prst="rect">
            <a:avLst/>
          </a:prstGeom>
        </p:spPr>
      </p:pic>
      <p:pic>
        <p:nvPicPr>
          <p:cNvPr id="9" name="Picture 8">
            <a:extLst>
              <a:ext uri="{FF2B5EF4-FFF2-40B4-BE49-F238E27FC236}">
                <a16:creationId xmlns:a16="http://schemas.microsoft.com/office/drawing/2014/main" id="{2EB03BB7-0054-38FF-D0CA-68F6C23DA6EF}"/>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7521273" y="607320"/>
            <a:ext cx="3289121" cy="5469626"/>
          </a:xfrm>
          <a:prstGeom prst="rect">
            <a:avLst/>
          </a:prstGeom>
        </p:spPr>
      </p:pic>
      <p:pic>
        <p:nvPicPr>
          <p:cNvPr id="10" name="Picture 9">
            <a:extLst>
              <a:ext uri="{FF2B5EF4-FFF2-40B4-BE49-F238E27FC236}">
                <a16:creationId xmlns:a16="http://schemas.microsoft.com/office/drawing/2014/main" id="{E22022CC-E3C4-1CF2-4742-1076A16DAF36}"/>
              </a:ext>
            </a:extLst>
          </p:cNvPr>
          <p:cNvPicPr>
            <a:picLocks/>
          </p:cNvPicPr>
          <p:nvPr userDrawn="1"/>
        </p:nvPicPr>
        <p:blipFill rotWithShape="1">
          <a:blip r:embed="rId5" cstate="email">
            <a:extLst>
              <a:ext uri="{28A0092B-C50C-407E-A947-70E740481C1C}">
                <a14:useLocalDpi xmlns:a14="http://schemas.microsoft.com/office/drawing/2010/main"/>
              </a:ext>
            </a:extLst>
          </a:blip>
          <a:srcRect/>
          <a:stretch/>
        </p:blipFill>
        <p:spPr>
          <a:xfrm>
            <a:off x="982535" y="0"/>
            <a:ext cx="1612901" cy="711200"/>
          </a:xfrm>
          <a:prstGeom prst="rect">
            <a:avLst/>
          </a:prstGeom>
        </p:spPr>
      </p:pic>
    </p:spTree>
    <p:extLst>
      <p:ext uri="{BB962C8B-B14F-4D97-AF65-F5344CB8AC3E}">
        <p14:creationId xmlns:p14="http://schemas.microsoft.com/office/powerpoint/2010/main" val="354663527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Agenda - Light">
    <p:bg>
      <p:bgPr>
        <a:solidFill>
          <a:srgbClr val="ECECED"/>
        </a:solidFill>
        <a:effectLst/>
      </p:bgPr>
    </p:bg>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214B11AB-8749-416D-8468-470F1B5C9291}"/>
              </a:ext>
            </a:extLst>
          </p:cNvPr>
          <p:cNvSpPr/>
          <p:nvPr/>
        </p:nvSpPr>
        <p:spPr>
          <a:xfrm>
            <a:off x="0" y="6453188"/>
            <a:ext cx="12192000" cy="404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el 1">
            <a:extLst>
              <a:ext uri="{FF2B5EF4-FFF2-40B4-BE49-F238E27FC236}">
                <a16:creationId xmlns:a16="http://schemas.microsoft.com/office/drawing/2014/main" id="{C32FDDF6-7353-44A5-8CBA-AF6FAA71A05A}"/>
              </a:ext>
            </a:extLst>
          </p:cNvPr>
          <p:cNvSpPr>
            <a:spLocks noGrp="1"/>
          </p:cNvSpPr>
          <p:nvPr>
            <p:ph type="title" hasCustomPrompt="1"/>
          </p:nvPr>
        </p:nvSpPr>
        <p:spPr>
          <a:xfrm>
            <a:off x="515937" y="685998"/>
            <a:ext cx="10583863" cy="554400"/>
          </a:xfrm>
        </p:spPr>
        <p:txBody>
          <a:bodyPr anchor="t" anchorCtr="0">
            <a:noAutofit/>
          </a:bodyPr>
          <a:lstStyle>
            <a:lvl1pPr>
              <a:defRPr sz="3600">
                <a:solidFill>
                  <a:schemeClr val="tx2"/>
                </a:solidFill>
              </a:defRPr>
            </a:lvl1pPr>
          </a:lstStyle>
          <a:p>
            <a:r>
              <a:rPr lang="en-GB" noProof="0"/>
              <a:t>Add agenda headline</a:t>
            </a:r>
          </a:p>
        </p:txBody>
      </p:sp>
      <p:sp>
        <p:nvSpPr>
          <p:cNvPr id="9" name="Pladsholder til tekst 8">
            <a:extLst>
              <a:ext uri="{FF2B5EF4-FFF2-40B4-BE49-F238E27FC236}">
                <a16:creationId xmlns:a16="http://schemas.microsoft.com/office/drawing/2014/main" id="{9059F79E-73C5-4AE5-967E-1E91C79540CD}"/>
              </a:ext>
            </a:extLst>
          </p:cNvPr>
          <p:cNvSpPr>
            <a:spLocks noGrp="1"/>
          </p:cNvSpPr>
          <p:nvPr>
            <p:ph type="body" sz="quarter" idx="13" hasCustomPrompt="1"/>
          </p:nvPr>
        </p:nvSpPr>
        <p:spPr>
          <a:xfrm>
            <a:off x="529752" y="1746350"/>
            <a:ext cx="576000" cy="576000"/>
          </a:xfrm>
          <a:ln w="34925">
            <a:solidFill>
              <a:schemeClr val="accent3"/>
            </a:solidFill>
            <a:miter lim="800000"/>
          </a:ln>
        </p:spPr>
        <p:txBody>
          <a:bodyPr lIns="72000" tIns="72000" rIns="72000" bIns="72000" anchor="ctr">
            <a:noAutofit/>
          </a:bodyPr>
          <a:lstStyle>
            <a:lvl1pPr marL="0" indent="0" algn="ctr">
              <a:buFontTx/>
              <a:buNone/>
              <a:defRPr sz="2000">
                <a:solidFill>
                  <a:schemeClr val="accent3"/>
                </a:solidFill>
                <a:latin typeface="Roboto Black" panose="02000000000000000000" pitchFamily="2" charset="0"/>
                <a:ea typeface="Roboto Black" panose="02000000000000000000" pitchFamily="2" charset="0"/>
              </a:defRPr>
            </a:lvl1pPr>
          </a:lstStyle>
          <a:p>
            <a:pPr lvl="0"/>
            <a:r>
              <a:rPr lang="en-GB"/>
              <a:t>#</a:t>
            </a:r>
          </a:p>
        </p:txBody>
      </p:sp>
      <p:sp>
        <p:nvSpPr>
          <p:cNvPr id="11" name="Pladsholder til tekst 10">
            <a:extLst>
              <a:ext uri="{FF2B5EF4-FFF2-40B4-BE49-F238E27FC236}">
                <a16:creationId xmlns:a16="http://schemas.microsoft.com/office/drawing/2014/main" id="{18876CB6-7AC4-4DBB-9E9F-5176278B3767}"/>
              </a:ext>
            </a:extLst>
          </p:cNvPr>
          <p:cNvSpPr>
            <a:spLocks noGrp="1"/>
          </p:cNvSpPr>
          <p:nvPr>
            <p:ph type="body" sz="quarter" idx="14" hasCustomPrompt="1"/>
          </p:nvPr>
        </p:nvSpPr>
        <p:spPr>
          <a:xfrm>
            <a:off x="1381500" y="1828283"/>
            <a:ext cx="3885825" cy="439738"/>
          </a:xfrm>
        </p:spPr>
        <p:txBody>
          <a:bodyPr wrap="none">
            <a:noAutofit/>
          </a:bodyPr>
          <a:lstStyle>
            <a:lvl1pPr marL="0" indent="0">
              <a:buFontTx/>
              <a:buNone/>
              <a:defRPr>
                <a:solidFill>
                  <a:schemeClr val="tx1"/>
                </a:solidFill>
              </a:defRPr>
            </a:lvl1pPr>
            <a:lvl2pPr marL="239400" indent="0">
              <a:buFontTx/>
              <a:buNone/>
              <a:defRPr>
                <a:solidFill>
                  <a:schemeClr val="bg1"/>
                </a:solidFill>
              </a:defRPr>
            </a:lvl2pPr>
            <a:lvl3pPr marL="473400" indent="0">
              <a:buFontTx/>
              <a:buNone/>
              <a:defRPr>
                <a:solidFill>
                  <a:schemeClr val="bg1"/>
                </a:solidFill>
              </a:defRPr>
            </a:lvl3pPr>
            <a:lvl4pPr marL="707400" indent="0">
              <a:buFontTx/>
              <a:buNone/>
              <a:defRPr>
                <a:solidFill>
                  <a:schemeClr val="bg1"/>
                </a:solidFill>
              </a:defRPr>
            </a:lvl4pPr>
            <a:lvl5pPr marL="923400" indent="0">
              <a:buFontTx/>
              <a:buNone/>
              <a:defRPr>
                <a:solidFill>
                  <a:schemeClr val="bg1"/>
                </a:solidFill>
              </a:defRPr>
            </a:lvl5pPr>
          </a:lstStyle>
          <a:p>
            <a:pPr lvl="0"/>
            <a:r>
              <a:rPr lang="en-GB" noProof="0"/>
              <a:t>Add text</a:t>
            </a:r>
          </a:p>
        </p:txBody>
      </p:sp>
      <p:sp>
        <p:nvSpPr>
          <p:cNvPr id="12" name="Pladsholder til tekst 8">
            <a:extLst>
              <a:ext uri="{FF2B5EF4-FFF2-40B4-BE49-F238E27FC236}">
                <a16:creationId xmlns:a16="http://schemas.microsoft.com/office/drawing/2014/main" id="{CEEFFFAF-4582-485E-9B37-42AE4F635523}"/>
              </a:ext>
            </a:extLst>
          </p:cNvPr>
          <p:cNvSpPr>
            <a:spLocks noGrp="1"/>
          </p:cNvSpPr>
          <p:nvPr>
            <p:ph type="body" sz="quarter" idx="15" hasCustomPrompt="1"/>
          </p:nvPr>
        </p:nvSpPr>
        <p:spPr>
          <a:xfrm>
            <a:off x="529752" y="2607581"/>
            <a:ext cx="576000" cy="576000"/>
          </a:xfrm>
          <a:ln w="34925">
            <a:solidFill>
              <a:schemeClr val="accent3"/>
            </a:solidFill>
            <a:miter lim="800000"/>
          </a:ln>
        </p:spPr>
        <p:txBody>
          <a:bodyPr lIns="72000" tIns="72000" rIns="72000" bIns="72000" anchor="ctr">
            <a:noAutofit/>
          </a:bodyPr>
          <a:lstStyle>
            <a:lvl1pPr marL="0" indent="0" algn="ctr">
              <a:buFontTx/>
              <a:buNone/>
              <a:defRPr sz="2000">
                <a:solidFill>
                  <a:schemeClr val="accent3"/>
                </a:solidFill>
                <a:latin typeface="Roboto Black" panose="02000000000000000000" pitchFamily="2" charset="0"/>
                <a:ea typeface="Roboto Black" panose="02000000000000000000" pitchFamily="2" charset="0"/>
              </a:defRPr>
            </a:lvl1pPr>
          </a:lstStyle>
          <a:p>
            <a:pPr lvl="0"/>
            <a:r>
              <a:rPr lang="da-DK"/>
              <a:t>#</a:t>
            </a:r>
            <a:endParaRPr lang="en-GB"/>
          </a:p>
        </p:txBody>
      </p:sp>
      <p:sp>
        <p:nvSpPr>
          <p:cNvPr id="13" name="Pladsholder til tekst 10">
            <a:extLst>
              <a:ext uri="{FF2B5EF4-FFF2-40B4-BE49-F238E27FC236}">
                <a16:creationId xmlns:a16="http://schemas.microsoft.com/office/drawing/2014/main" id="{E44E390F-379A-4567-B39F-648D179ED593}"/>
              </a:ext>
            </a:extLst>
          </p:cNvPr>
          <p:cNvSpPr>
            <a:spLocks noGrp="1"/>
          </p:cNvSpPr>
          <p:nvPr>
            <p:ph type="body" sz="quarter" idx="16" hasCustomPrompt="1"/>
          </p:nvPr>
        </p:nvSpPr>
        <p:spPr>
          <a:xfrm>
            <a:off x="1381500" y="2689514"/>
            <a:ext cx="3885825" cy="439738"/>
          </a:xfrm>
        </p:spPr>
        <p:txBody>
          <a:bodyPr wrap="none">
            <a:noAutofit/>
          </a:bodyPr>
          <a:lstStyle>
            <a:lvl1pPr marL="0" indent="0">
              <a:buFontTx/>
              <a:buNone/>
              <a:defRPr>
                <a:solidFill>
                  <a:schemeClr val="tx1"/>
                </a:solidFill>
              </a:defRPr>
            </a:lvl1pPr>
            <a:lvl2pPr marL="239400" indent="0">
              <a:buFontTx/>
              <a:buNone/>
              <a:defRPr>
                <a:solidFill>
                  <a:schemeClr val="bg1"/>
                </a:solidFill>
              </a:defRPr>
            </a:lvl2pPr>
            <a:lvl3pPr marL="473400" indent="0">
              <a:buFontTx/>
              <a:buNone/>
              <a:defRPr>
                <a:solidFill>
                  <a:schemeClr val="bg1"/>
                </a:solidFill>
              </a:defRPr>
            </a:lvl3pPr>
            <a:lvl4pPr marL="707400" indent="0">
              <a:buFontTx/>
              <a:buNone/>
              <a:defRPr>
                <a:solidFill>
                  <a:schemeClr val="bg1"/>
                </a:solidFill>
              </a:defRPr>
            </a:lvl4pPr>
            <a:lvl5pPr marL="923400" indent="0">
              <a:buFontTx/>
              <a:buNone/>
              <a:defRPr>
                <a:solidFill>
                  <a:schemeClr val="bg1"/>
                </a:solidFill>
              </a:defRPr>
            </a:lvl5pPr>
          </a:lstStyle>
          <a:p>
            <a:pPr lvl="0"/>
            <a:r>
              <a:rPr lang="en-GB" noProof="0"/>
              <a:t>Add text</a:t>
            </a:r>
          </a:p>
        </p:txBody>
      </p:sp>
      <p:sp>
        <p:nvSpPr>
          <p:cNvPr id="14" name="Pladsholder til tekst 8">
            <a:extLst>
              <a:ext uri="{FF2B5EF4-FFF2-40B4-BE49-F238E27FC236}">
                <a16:creationId xmlns:a16="http://schemas.microsoft.com/office/drawing/2014/main" id="{C87B3630-829B-4CB4-A701-D93A850754B5}"/>
              </a:ext>
            </a:extLst>
          </p:cNvPr>
          <p:cNvSpPr>
            <a:spLocks noGrp="1"/>
          </p:cNvSpPr>
          <p:nvPr>
            <p:ph type="body" sz="quarter" idx="17" hasCustomPrompt="1"/>
          </p:nvPr>
        </p:nvSpPr>
        <p:spPr>
          <a:xfrm>
            <a:off x="529752" y="3468812"/>
            <a:ext cx="576000" cy="576000"/>
          </a:xfrm>
          <a:ln w="34925">
            <a:solidFill>
              <a:schemeClr val="accent3"/>
            </a:solidFill>
            <a:miter lim="800000"/>
          </a:ln>
        </p:spPr>
        <p:txBody>
          <a:bodyPr lIns="72000" tIns="72000" rIns="72000" bIns="72000" anchor="ctr">
            <a:noAutofit/>
          </a:bodyPr>
          <a:lstStyle>
            <a:lvl1pPr marL="0" indent="0" algn="ctr">
              <a:buFontTx/>
              <a:buNone/>
              <a:defRPr sz="2000">
                <a:solidFill>
                  <a:schemeClr val="accent3"/>
                </a:solidFill>
                <a:latin typeface="Roboto Black" panose="02000000000000000000" pitchFamily="2" charset="0"/>
                <a:ea typeface="Roboto Black" panose="02000000000000000000" pitchFamily="2" charset="0"/>
              </a:defRPr>
            </a:lvl1pPr>
          </a:lstStyle>
          <a:p>
            <a:pPr lvl="0"/>
            <a:r>
              <a:rPr lang="da-DK"/>
              <a:t>#</a:t>
            </a:r>
            <a:endParaRPr lang="en-GB"/>
          </a:p>
        </p:txBody>
      </p:sp>
      <p:sp>
        <p:nvSpPr>
          <p:cNvPr id="15" name="Pladsholder til tekst 10">
            <a:extLst>
              <a:ext uri="{FF2B5EF4-FFF2-40B4-BE49-F238E27FC236}">
                <a16:creationId xmlns:a16="http://schemas.microsoft.com/office/drawing/2014/main" id="{D9B0E734-F44A-4DEC-A77B-4B038B4D6817}"/>
              </a:ext>
            </a:extLst>
          </p:cNvPr>
          <p:cNvSpPr>
            <a:spLocks noGrp="1"/>
          </p:cNvSpPr>
          <p:nvPr>
            <p:ph type="body" sz="quarter" idx="18" hasCustomPrompt="1"/>
          </p:nvPr>
        </p:nvSpPr>
        <p:spPr>
          <a:xfrm>
            <a:off x="1381500" y="3550745"/>
            <a:ext cx="3885825" cy="439738"/>
          </a:xfrm>
        </p:spPr>
        <p:txBody>
          <a:bodyPr wrap="none">
            <a:noAutofit/>
          </a:bodyPr>
          <a:lstStyle>
            <a:lvl1pPr marL="0" indent="0">
              <a:buFontTx/>
              <a:buNone/>
              <a:defRPr>
                <a:solidFill>
                  <a:schemeClr val="tx1"/>
                </a:solidFill>
              </a:defRPr>
            </a:lvl1pPr>
            <a:lvl2pPr marL="239400" indent="0">
              <a:buFontTx/>
              <a:buNone/>
              <a:defRPr>
                <a:solidFill>
                  <a:schemeClr val="bg1"/>
                </a:solidFill>
              </a:defRPr>
            </a:lvl2pPr>
            <a:lvl3pPr marL="473400" indent="0">
              <a:buFontTx/>
              <a:buNone/>
              <a:defRPr>
                <a:solidFill>
                  <a:schemeClr val="bg1"/>
                </a:solidFill>
              </a:defRPr>
            </a:lvl3pPr>
            <a:lvl4pPr marL="707400" indent="0">
              <a:buFontTx/>
              <a:buNone/>
              <a:defRPr>
                <a:solidFill>
                  <a:schemeClr val="bg1"/>
                </a:solidFill>
              </a:defRPr>
            </a:lvl4pPr>
            <a:lvl5pPr marL="923400" indent="0">
              <a:buFontTx/>
              <a:buNone/>
              <a:defRPr>
                <a:solidFill>
                  <a:schemeClr val="bg1"/>
                </a:solidFill>
              </a:defRPr>
            </a:lvl5pPr>
          </a:lstStyle>
          <a:p>
            <a:pPr lvl="0"/>
            <a:r>
              <a:rPr lang="en-GB" noProof="0"/>
              <a:t>Add text</a:t>
            </a:r>
          </a:p>
        </p:txBody>
      </p:sp>
      <p:sp>
        <p:nvSpPr>
          <p:cNvPr id="16" name="Pladsholder til tekst 8">
            <a:extLst>
              <a:ext uri="{FF2B5EF4-FFF2-40B4-BE49-F238E27FC236}">
                <a16:creationId xmlns:a16="http://schemas.microsoft.com/office/drawing/2014/main" id="{CBF0C377-235B-499E-8AD1-21A069A59AD5}"/>
              </a:ext>
            </a:extLst>
          </p:cNvPr>
          <p:cNvSpPr>
            <a:spLocks noGrp="1"/>
          </p:cNvSpPr>
          <p:nvPr>
            <p:ph type="body" sz="quarter" idx="19" hasCustomPrompt="1"/>
          </p:nvPr>
        </p:nvSpPr>
        <p:spPr>
          <a:xfrm>
            <a:off x="529752" y="4325839"/>
            <a:ext cx="576000" cy="576000"/>
          </a:xfrm>
          <a:ln w="34925">
            <a:solidFill>
              <a:schemeClr val="accent3"/>
            </a:solidFill>
            <a:miter lim="800000"/>
          </a:ln>
        </p:spPr>
        <p:txBody>
          <a:bodyPr lIns="72000" tIns="72000" rIns="72000" bIns="72000" anchor="ctr">
            <a:noAutofit/>
          </a:bodyPr>
          <a:lstStyle>
            <a:lvl1pPr marL="0" indent="0" algn="ctr">
              <a:buFontTx/>
              <a:buNone/>
              <a:defRPr sz="2000">
                <a:solidFill>
                  <a:schemeClr val="accent3"/>
                </a:solidFill>
                <a:latin typeface="Roboto Black" panose="02000000000000000000" pitchFamily="2" charset="0"/>
                <a:ea typeface="Roboto Black" panose="02000000000000000000" pitchFamily="2" charset="0"/>
              </a:defRPr>
            </a:lvl1pPr>
          </a:lstStyle>
          <a:p>
            <a:pPr lvl="0"/>
            <a:r>
              <a:rPr lang="da-DK"/>
              <a:t>#</a:t>
            </a:r>
            <a:endParaRPr lang="en-GB"/>
          </a:p>
        </p:txBody>
      </p:sp>
      <p:sp>
        <p:nvSpPr>
          <p:cNvPr id="17" name="Pladsholder til tekst 10">
            <a:extLst>
              <a:ext uri="{FF2B5EF4-FFF2-40B4-BE49-F238E27FC236}">
                <a16:creationId xmlns:a16="http://schemas.microsoft.com/office/drawing/2014/main" id="{BDFFD334-C23C-46AE-A8B8-CE8DC4B3F384}"/>
              </a:ext>
            </a:extLst>
          </p:cNvPr>
          <p:cNvSpPr>
            <a:spLocks noGrp="1"/>
          </p:cNvSpPr>
          <p:nvPr>
            <p:ph type="body" sz="quarter" idx="20" hasCustomPrompt="1"/>
          </p:nvPr>
        </p:nvSpPr>
        <p:spPr>
          <a:xfrm>
            <a:off x="1381500" y="4407772"/>
            <a:ext cx="3885825" cy="439738"/>
          </a:xfrm>
        </p:spPr>
        <p:txBody>
          <a:bodyPr wrap="none">
            <a:noAutofit/>
          </a:bodyPr>
          <a:lstStyle>
            <a:lvl1pPr marL="0" indent="0">
              <a:buFontTx/>
              <a:buNone/>
              <a:defRPr>
                <a:solidFill>
                  <a:schemeClr val="tx1"/>
                </a:solidFill>
              </a:defRPr>
            </a:lvl1pPr>
            <a:lvl2pPr marL="239400" indent="0">
              <a:buFontTx/>
              <a:buNone/>
              <a:defRPr>
                <a:solidFill>
                  <a:schemeClr val="bg1"/>
                </a:solidFill>
              </a:defRPr>
            </a:lvl2pPr>
            <a:lvl3pPr marL="473400" indent="0">
              <a:buFontTx/>
              <a:buNone/>
              <a:defRPr>
                <a:solidFill>
                  <a:schemeClr val="bg1"/>
                </a:solidFill>
              </a:defRPr>
            </a:lvl3pPr>
            <a:lvl4pPr marL="707400" indent="0">
              <a:buFontTx/>
              <a:buNone/>
              <a:defRPr>
                <a:solidFill>
                  <a:schemeClr val="bg1"/>
                </a:solidFill>
              </a:defRPr>
            </a:lvl4pPr>
            <a:lvl5pPr marL="923400" indent="0">
              <a:buFontTx/>
              <a:buNone/>
              <a:defRPr>
                <a:solidFill>
                  <a:schemeClr val="bg1"/>
                </a:solidFill>
              </a:defRPr>
            </a:lvl5pPr>
          </a:lstStyle>
          <a:p>
            <a:pPr lvl="0"/>
            <a:r>
              <a:rPr lang="en-GB" noProof="0"/>
              <a:t>Add text</a:t>
            </a:r>
          </a:p>
        </p:txBody>
      </p:sp>
      <p:sp>
        <p:nvSpPr>
          <p:cNvPr id="18" name="Pladsholder til tekst 8">
            <a:extLst>
              <a:ext uri="{FF2B5EF4-FFF2-40B4-BE49-F238E27FC236}">
                <a16:creationId xmlns:a16="http://schemas.microsoft.com/office/drawing/2014/main" id="{54E5BC0C-F80A-4AAF-81E4-DB6EE59BE0F1}"/>
              </a:ext>
            </a:extLst>
          </p:cNvPr>
          <p:cNvSpPr>
            <a:spLocks noGrp="1"/>
          </p:cNvSpPr>
          <p:nvPr>
            <p:ph type="body" sz="quarter" idx="21" hasCustomPrompt="1"/>
          </p:nvPr>
        </p:nvSpPr>
        <p:spPr>
          <a:xfrm>
            <a:off x="6254905" y="1746350"/>
            <a:ext cx="576000" cy="576000"/>
          </a:xfrm>
          <a:ln w="34925">
            <a:solidFill>
              <a:schemeClr val="accent3"/>
            </a:solidFill>
            <a:miter lim="800000"/>
          </a:ln>
        </p:spPr>
        <p:txBody>
          <a:bodyPr lIns="72000" tIns="72000" rIns="72000" bIns="72000" anchor="ctr">
            <a:noAutofit/>
          </a:bodyPr>
          <a:lstStyle>
            <a:lvl1pPr marL="0" indent="0" algn="ctr">
              <a:buFontTx/>
              <a:buNone/>
              <a:defRPr sz="2000">
                <a:solidFill>
                  <a:schemeClr val="accent3"/>
                </a:solidFill>
                <a:latin typeface="Roboto Black" panose="02000000000000000000" pitchFamily="2" charset="0"/>
                <a:ea typeface="Roboto Black" panose="02000000000000000000" pitchFamily="2" charset="0"/>
              </a:defRPr>
            </a:lvl1pPr>
          </a:lstStyle>
          <a:p>
            <a:pPr lvl="0"/>
            <a:r>
              <a:rPr lang="en-GB"/>
              <a:t>#</a:t>
            </a:r>
          </a:p>
        </p:txBody>
      </p:sp>
      <p:sp>
        <p:nvSpPr>
          <p:cNvPr id="19" name="Pladsholder til tekst 10">
            <a:extLst>
              <a:ext uri="{FF2B5EF4-FFF2-40B4-BE49-F238E27FC236}">
                <a16:creationId xmlns:a16="http://schemas.microsoft.com/office/drawing/2014/main" id="{14842888-E77C-4A6A-B7E1-A79089B883BE}"/>
              </a:ext>
            </a:extLst>
          </p:cNvPr>
          <p:cNvSpPr>
            <a:spLocks noGrp="1"/>
          </p:cNvSpPr>
          <p:nvPr>
            <p:ph type="body" sz="quarter" idx="22" hasCustomPrompt="1"/>
          </p:nvPr>
        </p:nvSpPr>
        <p:spPr>
          <a:xfrm>
            <a:off x="7108252" y="1828575"/>
            <a:ext cx="3887787" cy="439738"/>
          </a:xfrm>
        </p:spPr>
        <p:txBody>
          <a:bodyPr wrap="none">
            <a:noAutofit/>
          </a:bodyPr>
          <a:lstStyle>
            <a:lvl1pPr marL="0" indent="0">
              <a:buFontTx/>
              <a:buNone/>
              <a:defRPr>
                <a:solidFill>
                  <a:schemeClr val="tx1"/>
                </a:solidFill>
              </a:defRPr>
            </a:lvl1pPr>
            <a:lvl2pPr marL="239400" indent="0">
              <a:buFontTx/>
              <a:buNone/>
              <a:defRPr>
                <a:solidFill>
                  <a:schemeClr val="bg1"/>
                </a:solidFill>
              </a:defRPr>
            </a:lvl2pPr>
            <a:lvl3pPr marL="473400" indent="0">
              <a:buFontTx/>
              <a:buNone/>
              <a:defRPr>
                <a:solidFill>
                  <a:schemeClr val="bg1"/>
                </a:solidFill>
              </a:defRPr>
            </a:lvl3pPr>
            <a:lvl4pPr marL="707400" indent="0">
              <a:buFontTx/>
              <a:buNone/>
              <a:defRPr>
                <a:solidFill>
                  <a:schemeClr val="bg1"/>
                </a:solidFill>
              </a:defRPr>
            </a:lvl4pPr>
            <a:lvl5pPr marL="923400" indent="0">
              <a:buFontTx/>
              <a:buNone/>
              <a:defRPr>
                <a:solidFill>
                  <a:schemeClr val="bg1"/>
                </a:solidFill>
              </a:defRPr>
            </a:lvl5pPr>
          </a:lstStyle>
          <a:p>
            <a:pPr lvl="0"/>
            <a:r>
              <a:rPr lang="en-GB" noProof="0"/>
              <a:t>Add text</a:t>
            </a:r>
          </a:p>
        </p:txBody>
      </p:sp>
      <p:sp>
        <p:nvSpPr>
          <p:cNvPr id="20" name="Pladsholder til tekst 8">
            <a:extLst>
              <a:ext uri="{FF2B5EF4-FFF2-40B4-BE49-F238E27FC236}">
                <a16:creationId xmlns:a16="http://schemas.microsoft.com/office/drawing/2014/main" id="{99B4AEF2-8B93-4F92-9464-EE48F105FD18}"/>
              </a:ext>
            </a:extLst>
          </p:cNvPr>
          <p:cNvSpPr>
            <a:spLocks noGrp="1"/>
          </p:cNvSpPr>
          <p:nvPr>
            <p:ph type="body" sz="quarter" idx="23" hasCustomPrompt="1"/>
          </p:nvPr>
        </p:nvSpPr>
        <p:spPr>
          <a:xfrm>
            <a:off x="6254905" y="2607581"/>
            <a:ext cx="576000" cy="576000"/>
          </a:xfrm>
          <a:ln w="34925">
            <a:solidFill>
              <a:schemeClr val="accent3"/>
            </a:solidFill>
            <a:miter lim="800000"/>
          </a:ln>
        </p:spPr>
        <p:txBody>
          <a:bodyPr lIns="72000" tIns="72000" rIns="72000" bIns="72000" anchor="ctr">
            <a:noAutofit/>
          </a:bodyPr>
          <a:lstStyle>
            <a:lvl1pPr marL="0" indent="0" algn="ctr">
              <a:buFontTx/>
              <a:buNone/>
              <a:defRPr sz="2000">
                <a:solidFill>
                  <a:schemeClr val="accent3"/>
                </a:solidFill>
                <a:latin typeface="Roboto Black" panose="02000000000000000000" pitchFamily="2" charset="0"/>
                <a:ea typeface="Roboto Black" panose="02000000000000000000" pitchFamily="2" charset="0"/>
              </a:defRPr>
            </a:lvl1pPr>
          </a:lstStyle>
          <a:p>
            <a:pPr lvl="0"/>
            <a:r>
              <a:rPr lang="da-DK"/>
              <a:t>#</a:t>
            </a:r>
            <a:endParaRPr lang="en-GB"/>
          </a:p>
        </p:txBody>
      </p:sp>
      <p:sp>
        <p:nvSpPr>
          <p:cNvPr id="21" name="Pladsholder til tekst 10">
            <a:extLst>
              <a:ext uri="{FF2B5EF4-FFF2-40B4-BE49-F238E27FC236}">
                <a16:creationId xmlns:a16="http://schemas.microsoft.com/office/drawing/2014/main" id="{565218D0-355E-4701-AE28-B134D69BC40F}"/>
              </a:ext>
            </a:extLst>
          </p:cNvPr>
          <p:cNvSpPr>
            <a:spLocks noGrp="1"/>
          </p:cNvSpPr>
          <p:nvPr>
            <p:ph type="body" sz="quarter" idx="24" hasCustomPrompt="1"/>
          </p:nvPr>
        </p:nvSpPr>
        <p:spPr>
          <a:xfrm>
            <a:off x="7106652" y="2689806"/>
            <a:ext cx="3887787" cy="439738"/>
          </a:xfrm>
        </p:spPr>
        <p:txBody>
          <a:bodyPr wrap="none">
            <a:noAutofit/>
          </a:bodyPr>
          <a:lstStyle>
            <a:lvl1pPr marL="0" indent="0">
              <a:buFontTx/>
              <a:buNone/>
              <a:defRPr>
                <a:solidFill>
                  <a:schemeClr val="tx1"/>
                </a:solidFill>
              </a:defRPr>
            </a:lvl1pPr>
            <a:lvl2pPr marL="239400" indent="0">
              <a:buFontTx/>
              <a:buNone/>
              <a:defRPr>
                <a:solidFill>
                  <a:schemeClr val="bg1"/>
                </a:solidFill>
              </a:defRPr>
            </a:lvl2pPr>
            <a:lvl3pPr marL="473400" indent="0">
              <a:buFontTx/>
              <a:buNone/>
              <a:defRPr>
                <a:solidFill>
                  <a:schemeClr val="bg1"/>
                </a:solidFill>
              </a:defRPr>
            </a:lvl3pPr>
            <a:lvl4pPr marL="707400" indent="0">
              <a:buFontTx/>
              <a:buNone/>
              <a:defRPr>
                <a:solidFill>
                  <a:schemeClr val="bg1"/>
                </a:solidFill>
              </a:defRPr>
            </a:lvl4pPr>
            <a:lvl5pPr marL="923400" indent="0">
              <a:buFontTx/>
              <a:buNone/>
              <a:defRPr>
                <a:solidFill>
                  <a:schemeClr val="bg1"/>
                </a:solidFill>
              </a:defRPr>
            </a:lvl5pPr>
          </a:lstStyle>
          <a:p>
            <a:pPr lvl="0"/>
            <a:r>
              <a:rPr lang="en-GB" noProof="0"/>
              <a:t>Add text</a:t>
            </a:r>
          </a:p>
        </p:txBody>
      </p:sp>
      <p:sp>
        <p:nvSpPr>
          <p:cNvPr id="22" name="Pladsholder til tekst 8">
            <a:extLst>
              <a:ext uri="{FF2B5EF4-FFF2-40B4-BE49-F238E27FC236}">
                <a16:creationId xmlns:a16="http://schemas.microsoft.com/office/drawing/2014/main" id="{E7171DE5-22C9-4D43-9BA5-609881F079FD}"/>
              </a:ext>
            </a:extLst>
          </p:cNvPr>
          <p:cNvSpPr>
            <a:spLocks noGrp="1"/>
          </p:cNvSpPr>
          <p:nvPr>
            <p:ph type="body" sz="quarter" idx="25" hasCustomPrompt="1"/>
          </p:nvPr>
        </p:nvSpPr>
        <p:spPr>
          <a:xfrm>
            <a:off x="6254905" y="3468812"/>
            <a:ext cx="576000" cy="576000"/>
          </a:xfrm>
          <a:ln w="34925">
            <a:solidFill>
              <a:schemeClr val="accent3"/>
            </a:solidFill>
            <a:miter lim="800000"/>
          </a:ln>
        </p:spPr>
        <p:txBody>
          <a:bodyPr lIns="72000" tIns="72000" rIns="72000" bIns="72000" anchor="ctr">
            <a:noAutofit/>
          </a:bodyPr>
          <a:lstStyle>
            <a:lvl1pPr marL="0" indent="0" algn="ctr">
              <a:buFontTx/>
              <a:buNone/>
              <a:defRPr sz="2000">
                <a:solidFill>
                  <a:schemeClr val="accent3"/>
                </a:solidFill>
                <a:latin typeface="Roboto Black" panose="02000000000000000000" pitchFamily="2" charset="0"/>
                <a:ea typeface="Roboto Black" panose="02000000000000000000" pitchFamily="2" charset="0"/>
              </a:defRPr>
            </a:lvl1pPr>
          </a:lstStyle>
          <a:p>
            <a:pPr lvl="0"/>
            <a:r>
              <a:rPr lang="da-DK"/>
              <a:t>#</a:t>
            </a:r>
            <a:endParaRPr lang="en-GB"/>
          </a:p>
        </p:txBody>
      </p:sp>
      <p:sp>
        <p:nvSpPr>
          <p:cNvPr id="23" name="Pladsholder til tekst 10">
            <a:extLst>
              <a:ext uri="{FF2B5EF4-FFF2-40B4-BE49-F238E27FC236}">
                <a16:creationId xmlns:a16="http://schemas.microsoft.com/office/drawing/2014/main" id="{7728CEE1-2E46-4314-AB04-F4EF054FF0B1}"/>
              </a:ext>
            </a:extLst>
          </p:cNvPr>
          <p:cNvSpPr>
            <a:spLocks noGrp="1"/>
          </p:cNvSpPr>
          <p:nvPr>
            <p:ph type="body" sz="quarter" idx="26" hasCustomPrompt="1"/>
          </p:nvPr>
        </p:nvSpPr>
        <p:spPr>
          <a:xfrm>
            <a:off x="7106652" y="3551037"/>
            <a:ext cx="3887787" cy="439738"/>
          </a:xfrm>
        </p:spPr>
        <p:txBody>
          <a:bodyPr wrap="none">
            <a:noAutofit/>
          </a:bodyPr>
          <a:lstStyle>
            <a:lvl1pPr marL="0" indent="0">
              <a:buFontTx/>
              <a:buNone/>
              <a:defRPr>
                <a:solidFill>
                  <a:schemeClr val="tx1"/>
                </a:solidFill>
              </a:defRPr>
            </a:lvl1pPr>
            <a:lvl2pPr marL="239400" indent="0">
              <a:buFontTx/>
              <a:buNone/>
              <a:defRPr>
                <a:solidFill>
                  <a:schemeClr val="bg1"/>
                </a:solidFill>
              </a:defRPr>
            </a:lvl2pPr>
            <a:lvl3pPr marL="473400" indent="0">
              <a:buFontTx/>
              <a:buNone/>
              <a:defRPr>
                <a:solidFill>
                  <a:schemeClr val="bg1"/>
                </a:solidFill>
              </a:defRPr>
            </a:lvl3pPr>
            <a:lvl4pPr marL="707400" indent="0">
              <a:buFontTx/>
              <a:buNone/>
              <a:defRPr>
                <a:solidFill>
                  <a:schemeClr val="bg1"/>
                </a:solidFill>
              </a:defRPr>
            </a:lvl4pPr>
            <a:lvl5pPr marL="923400" indent="0">
              <a:buFontTx/>
              <a:buNone/>
              <a:defRPr>
                <a:solidFill>
                  <a:schemeClr val="bg1"/>
                </a:solidFill>
              </a:defRPr>
            </a:lvl5pPr>
          </a:lstStyle>
          <a:p>
            <a:pPr lvl="0"/>
            <a:r>
              <a:rPr lang="en-GB" noProof="0"/>
              <a:t>Add text</a:t>
            </a:r>
          </a:p>
        </p:txBody>
      </p:sp>
      <p:sp>
        <p:nvSpPr>
          <p:cNvPr id="24" name="Pladsholder til tekst 8">
            <a:extLst>
              <a:ext uri="{FF2B5EF4-FFF2-40B4-BE49-F238E27FC236}">
                <a16:creationId xmlns:a16="http://schemas.microsoft.com/office/drawing/2014/main" id="{FD4E614A-D240-448F-8D61-A91D12534D2E}"/>
              </a:ext>
            </a:extLst>
          </p:cNvPr>
          <p:cNvSpPr>
            <a:spLocks noGrp="1"/>
          </p:cNvSpPr>
          <p:nvPr>
            <p:ph type="body" sz="quarter" idx="27" hasCustomPrompt="1"/>
          </p:nvPr>
        </p:nvSpPr>
        <p:spPr>
          <a:xfrm>
            <a:off x="6254905" y="4325839"/>
            <a:ext cx="576000" cy="576000"/>
          </a:xfrm>
          <a:ln w="34925">
            <a:solidFill>
              <a:schemeClr val="accent3"/>
            </a:solidFill>
            <a:miter lim="800000"/>
          </a:ln>
        </p:spPr>
        <p:txBody>
          <a:bodyPr lIns="72000" tIns="72000" rIns="72000" bIns="72000" anchor="ctr">
            <a:noAutofit/>
          </a:bodyPr>
          <a:lstStyle>
            <a:lvl1pPr marL="0" indent="0" algn="ctr">
              <a:buFontTx/>
              <a:buNone/>
              <a:defRPr sz="2000">
                <a:solidFill>
                  <a:schemeClr val="accent3"/>
                </a:solidFill>
                <a:latin typeface="Roboto Black" panose="02000000000000000000" pitchFamily="2" charset="0"/>
                <a:ea typeface="Roboto Black" panose="02000000000000000000" pitchFamily="2" charset="0"/>
              </a:defRPr>
            </a:lvl1pPr>
          </a:lstStyle>
          <a:p>
            <a:pPr lvl="0"/>
            <a:r>
              <a:rPr lang="da-DK"/>
              <a:t>#</a:t>
            </a:r>
            <a:endParaRPr lang="en-GB"/>
          </a:p>
        </p:txBody>
      </p:sp>
      <p:sp>
        <p:nvSpPr>
          <p:cNvPr id="25" name="Pladsholder til tekst 10">
            <a:extLst>
              <a:ext uri="{FF2B5EF4-FFF2-40B4-BE49-F238E27FC236}">
                <a16:creationId xmlns:a16="http://schemas.microsoft.com/office/drawing/2014/main" id="{9EA8F55E-E347-437B-9915-DB54B8EEA1D2}"/>
              </a:ext>
            </a:extLst>
          </p:cNvPr>
          <p:cNvSpPr>
            <a:spLocks noGrp="1"/>
          </p:cNvSpPr>
          <p:nvPr>
            <p:ph type="body" sz="quarter" idx="28" hasCustomPrompt="1"/>
          </p:nvPr>
        </p:nvSpPr>
        <p:spPr>
          <a:xfrm>
            <a:off x="7106652" y="4408064"/>
            <a:ext cx="3887787" cy="439738"/>
          </a:xfrm>
        </p:spPr>
        <p:txBody>
          <a:bodyPr wrap="none">
            <a:noAutofit/>
          </a:bodyPr>
          <a:lstStyle>
            <a:lvl1pPr marL="0" indent="0">
              <a:buFontTx/>
              <a:buNone/>
              <a:defRPr>
                <a:solidFill>
                  <a:schemeClr val="tx1"/>
                </a:solidFill>
              </a:defRPr>
            </a:lvl1pPr>
            <a:lvl2pPr marL="239400" indent="0">
              <a:buFontTx/>
              <a:buNone/>
              <a:defRPr>
                <a:solidFill>
                  <a:schemeClr val="bg1"/>
                </a:solidFill>
              </a:defRPr>
            </a:lvl2pPr>
            <a:lvl3pPr marL="473400" indent="0">
              <a:buFontTx/>
              <a:buNone/>
              <a:defRPr>
                <a:solidFill>
                  <a:schemeClr val="bg1"/>
                </a:solidFill>
              </a:defRPr>
            </a:lvl3pPr>
            <a:lvl4pPr marL="707400" indent="0">
              <a:buFontTx/>
              <a:buNone/>
              <a:defRPr>
                <a:solidFill>
                  <a:schemeClr val="bg1"/>
                </a:solidFill>
              </a:defRPr>
            </a:lvl4pPr>
            <a:lvl5pPr marL="923400" indent="0">
              <a:buFontTx/>
              <a:buNone/>
              <a:defRPr>
                <a:solidFill>
                  <a:schemeClr val="bg1"/>
                </a:solidFill>
              </a:defRPr>
            </a:lvl5pPr>
          </a:lstStyle>
          <a:p>
            <a:pPr lvl="0"/>
            <a:r>
              <a:rPr lang="en-GB" noProof="0"/>
              <a:t>Add text</a:t>
            </a:r>
          </a:p>
        </p:txBody>
      </p:sp>
      <p:pic>
        <p:nvPicPr>
          <p:cNvPr id="8" name="Picture 7" descr="Logo, icon&#10;&#10;Description automatically generated">
            <a:extLst>
              <a:ext uri="{FF2B5EF4-FFF2-40B4-BE49-F238E27FC236}">
                <a16:creationId xmlns:a16="http://schemas.microsoft.com/office/drawing/2014/main" id="{4613144A-2ECE-13F1-F313-650598D3F28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887958" y="6560348"/>
            <a:ext cx="863707" cy="195758"/>
          </a:xfrm>
          <a:prstGeom prst="rect">
            <a:avLst/>
          </a:prstGeom>
        </p:spPr>
      </p:pic>
      <p:sp>
        <p:nvSpPr>
          <p:cNvPr id="4" name="Pladsholder til tekst 8">
            <a:extLst>
              <a:ext uri="{FF2B5EF4-FFF2-40B4-BE49-F238E27FC236}">
                <a16:creationId xmlns:a16="http://schemas.microsoft.com/office/drawing/2014/main" id="{8166D8FD-DF3A-3D80-07A2-98758EAC5C10}"/>
              </a:ext>
            </a:extLst>
          </p:cNvPr>
          <p:cNvSpPr>
            <a:spLocks noGrp="1"/>
          </p:cNvSpPr>
          <p:nvPr>
            <p:ph type="body" sz="quarter" idx="29" hasCustomPrompt="1"/>
          </p:nvPr>
        </p:nvSpPr>
        <p:spPr>
          <a:xfrm>
            <a:off x="529752" y="5182866"/>
            <a:ext cx="576000" cy="576000"/>
          </a:xfrm>
          <a:ln w="34925">
            <a:solidFill>
              <a:schemeClr val="accent3"/>
            </a:solidFill>
            <a:miter lim="800000"/>
          </a:ln>
        </p:spPr>
        <p:txBody>
          <a:bodyPr lIns="72000" tIns="72000" rIns="72000" bIns="72000" anchor="ctr">
            <a:noAutofit/>
          </a:bodyPr>
          <a:lstStyle>
            <a:lvl1pPr marL="0" indent="0" algn="ctr">
              <a:buFontTx/>
              <a:buNone/>
              <a:defRPr sz="2000">
                <a:solidFill>
                  <a:schemeClr val="accent3"/>
                </a:solidFill>
                <a:latin typeface="Roboto Black" panose="02000000000000000000" pitchFamily="2" charset="0"/>
                <a:ea typeface="Roboto Black" panose="02000000000000000000" pitchFamily="2" charset="0"/>
              </a:defRPr>
            </a:lvl1pPr>
          </a:lstStyle>
          <a:p>
            <a:pPr lvl="0"/>
            <a:r>
              <a:rPr lang="da-DK"/>
              <a:t>#</a:t>
            </a:r>
            <a:endParaRPr lang="en-GB"/>
          </a:p>
        </p:txBody>
      </p:sp>
      <p:sp>
        <p:nvSpPr>
          <p:cNvPr id="7" name="Pladsholder til tekst 10">
            <a:extLst>
              <a:ext uri="{FF2B5EF4-FFF2-40B4-BE49-F238E27FC236}">
                <a16:creationId xmlns:a16="http://schemas.microsoft.com/office/drawing/2014/main" id="{48A0181E-EDD8-0CE8-B8C0-D265E0ED522A}"/>
              </a:ext>
            </a:extLst>
          </p:cNvPr>
          <p:cNvSpPr>
            <a:spLocks noGrp="1"/>
          </p:cNvSpPr>
          <p:nvPr>
            <p:ph type="body" sz="quarter" idx="30" hasCustomPrompt="1"/>
          </p:nvPr>
        </p:nvSpPr>
        <p:spPr>
          <a:xfrm>
            <a:off x="1381500" y="5264799"/>
            <a:ext cx="3885825" cy="439738"/>
          </a:xfrm>
        </p:spPr>
        <p:txBody>
          <a:bodyPr wrap="none">
            <a:noAutofit/>
          </a:bodyPr>
          <a:lstStyle>
            <a:lvl1pPr marL="0" indent="0">
              <a:buFontTx/>
              <a:buNone/>
              <a:defRPr>
                <a:solidFill>
                  <a:schemeClr val="tx1"/>
                </a:solidFill>
              </a:defRPr>
            </a:lvl1pPr>
            <a:lvl2pPr marL="239400" indent="0">
              <a:buFontTx/>
              <a:buNone/>
              <a:defRPr>
                <a:solidFill>
                  <a:schemeClr val="bg1"/>
                </a:solidFill>
              </a:defRPr>
            </a:lvl2pPr>
            <a:lvl3pPr marL="473400" indent="0">
              <a:buFontTx/>
              <a:buNone/>
              <a:defRPr>
                <a:solidFill>
                  <a:schemeClr val="bg1"/>
                </a:solidFill>
              </a:defRPr>
            </a:lvl3pPr>
            <a:lvl4pPr marL="707400" indent="0">
              <a:buFontTx/>
              <a:buNone/>
              <a:defRPr>
                <a:solidFill>
                  <a:schemeClr val="bg1"/>
                </a:solidFill>
              </a:defRPr>
            </a:lvl4pPr>
            <a:lvl5pPr marL="923400" indent="0">
              <a:buFontTx/>
              <a:buNone/>
              <a:defRPr>
                <a:solidFill>
                  <a:schemeClr val="bg1"/>
                </a:solidFill>
              </a:defRPr>
            </a:lvl5pPr>
          </a:lstStyle>
          <a:p>
            <a:pPr lvl="0"/>
            <a:r>
              <a:rPr lang="en-GB" noProof="0"/>
              <a:t>Add text</a:t>
            </a:r>
          </a:p>
        </p:txBody>
      </p:sp>
      <p:sp>
        <p:nvSpPr>
          <p:cNvPr id="10" name="Pladsholder til tekst 8">
            <a:extLst>
              <a:ext uri="{FF2B5EF4-FFF2-40B4-BE49-F238E27FC236}">
                <a16:creationId xmlns:a16="http://schemas.microsoft.com/office/drawing/2014/main" id="{81024D2F-B722-7B7C-0F3F-BAB009DA086E}"/>
              </a:ext>
            </a:extLst>
          </p:cNvPr>
          <p:cNvSpPr>
            <a:spLocks noGrp="1"/>
          </p:cNvSpPr>
          <p:nvPr>
            <p:ph type="body" sz="quarter" idx="31" hasCustomPrompt="1"/>
          </p:nvPr>
        </p:nvSpPr>
        <p:spPr>
          <a:xfrm>
            <a:off x="6254905" y="5128537"/>
            <a:ext cx="576000" cy="576000"/>
          </a:xfrm>
          <a:ln w="34925">
            <a:solidFill>
              <a:schemeClr val="accent3"/>
            </a:solidFill>
            <a:miter lim="800000"/>
          </a:ln>
        </p:spPr>
        <p:txBody>
          <a:bodyPr lIns="72000" tIns="72000" rIns="72000" bIns="72000" anchor="ctr">
            <a:noAutofit/>
          </a:bodyPr>
          <a:lstStyle>
            <a:lvl1pPr marL="0" indent="0" algn="ctr">
              <a:buFontTx/>
              <a:buNone/>
              <a:defRPr sz="2000">
                <a:solidFill>
                  <a:schemeClr val="accent3"/>
                </a:solidFill>
                <a:latin typeface="Roboto Black" panose="02000000000000000000" pitchFamily="2" charset="0"/>
                <a:ea typeface="Roboto Black" panose="02000000000000000000" pitchFamily="2" charset="0"/>
              </a:defRPr>
            </a:lvl1pPr>
          </a:lstStyle>
          <a:p>
            <a:pPr lvl="0"/>
            <a:r>
              <a:rPr lang="en-GB"/>
              <a:t>#</a:t>
            </a:r>
          </a:p>
        </p:txBody>
      </p:sp>
      <p:sp>
        <p:nvSpPr>
          <p:cNvPr id="26" name="Pladsholder til tekst 10">
            <a:extLst>
              <a:ext uri="{FF2B5EF4-FFF2-40B4-BE49-F238E27FC236}">
                <a16:creationId xmlns:a16="http://schemas.microsoft.com/office/drawing/2014/main" id="{CB34F366-06B1-E5C4-E449-450C80FADBA0}"/>
              </a:ext>
            </a:extLst>
          </p:cNvPr>
          <p:cNvSpPr>
            <a:spLocks noGrp="1"/>
          </p:cNvSpPr>
          <p:nvPr>
            <p:ph type="body" sz="quarter" idx="32" hasCustomPrompt="1"/>
          </p:nvPr>
        </p:nvSpPr>
        <p:spPr>
          <a:xfrm>
            <a:off x="7108252" y="5210762"/>
            <a:ext cx="3887787" cy="439738"/>
          </a:xfrm>
        </p:spPr>
        <p:txBody>
          <a:bodyPr wrap="none">
            <a:noAutofit/>
          </a:bodyPr>
          <a:lstStyle>
            <a:lvl1pPr marL="0" indent="0">
              <a:buFontTx/>
              <a:buNone/>
              <a:defRPr>
                <a:solidFill>
                  <a:schemeClr val="tx1"/>
                </a:solidFill>
              </a:defRPr>
            </a:lvl1pPr>
            <a:lvl2pPr marL="239400" indent="0">
              <a:buFontTx/>
              <a:buNone/>
              <a:defRPr>
                <a:solidFill>
                  <a:schemeClr val="bg1"/>
                </a:solidFill>
              </a:defRPr>
            </a:lvl2pPr>
            <a:lvl3pPr marL="473400" indent="0">
              <a:buFontTx/>
              <a:buNone/>
              <a:defRPr>
                <a:solidFill>
                  <a:schemeClr val="bg1"/>
                </a:solidFill>
              </a:defRPr>
            </a:lvl3pPr>
            <a:lvl4pPr marL="707400" indent="0">
              <a:buFontTx/>
              <a:buNone/>
              <a:defRPr>
                <a:solidFill>
                  <a:schemeClr val="bg1"/>
                </a:solidFill>
              </a:defRPr>
            </a:lvl4pPr>
            <a:lvl5pPr marL="923400" indent="0">
              <a:buFontTx/>
              <a:buNone/>
              <a:defRPr>
                <a:solidFill>
                  <a:schemeClr val="bg1"/>
                </a:solidFill>
              </a:defRPr>
            </a:lvl5pPr>
          </a:lstStyle>
          <a:p>
            <a:pPr lvl="0"/>
            <a:r>
              <a:rPr lang="en-GB" noProof="0"/>
              <a:t>Add text</a:t>
            </a:r>
          </a:p>
        </p:txBody>
      </p:sp>
    </p:spTree>
    <p:extLst>
      <p:ext uri="{BB962C8B-B14F-4D97-AF65-F5344CB8AC3E}">
        <p14:creationId xmlns:p14="http://schemas.microsoft.com/office/powerpoint/2010/main" val="41055100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2/12/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Agenda + Image - Light">
    <p:bg>
      <p:bgPr>
        <a:solidFill>
          <a:srgbClr val="ECECED"/>
        </a:solidFill>
        <a:effectLst/>
      </p:bgPr>
    </p:bg>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214B11AB-8749-416D-8468-470F1B5C9291}"/>
              </a:ext>
            </a:extLst>
          </p:cNvPr>
          <p:cNvSpPr/>
          <p:nvPr/>
        </p:nvSpPr>
        <p:spPr>
          <a:xfrm>
            <a:off x="0" y="6453188"/>
            <a:ext cx="12192000" cy="404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el 1">
            <a:extLst>
              <a:ext uri="{FF2B5EF4-FFF2-40B4-BE49-F238E27FC236}">
                <a16:creationId xmlns:a16="http://schemas.microsoft.com/office/drawing/2014/main" id="{C32FDDF6-7353-44A5-8CBA-AF6FAA71A05A}"/>
              </a:ext>
            </a:extLst>
          </p:cNvPr>
          <p:cNvSpPr>
            <a:spLocks noGrp="1"/>
          </p:cNvSpPr>
          <p:nvPr>
            <p:ph type="title" hasCustomPrompt="1"/>
          </p:nvPr>
        </p:nvSpPr>
        <p:spPr>
          <a:xfrm>
            <a:off x="515937" y="685998"/>
            <a:ext cx="4751387" cy="554400"/>
          </a:xfrm>
        </p:spPr>
        <p:txBody>
          <a:bodyPr anchor="t" anchorCtr="0">
            <a:noAutofit/>
          </a:bodyPr>
          <a:lstStyle>
            <a:lvl1pPr>
              <a:defRPr sz="3600">
                <a:solidFill>
                  <a:schemeClr val="tx2"/>
                </a:solidFill>
              </a:defRPr>
            </a:lvl1pPr>
          </a:lstStyle>
          <a:p>
            <a:r>
              <a:rPr lang="en-GB" noProof="0"/>
              <a:t>Add agenda headline</a:t>
            </a:r>
          </a:p>
        </p:txBody>
      </p:sp>
      <p:sp>
        <p:nvSpPr>
          <p:cNvPr id="5" name="Pladsholder til slidenummer 4">
            <a:extLst>
              <a:ext uri="{FF2B5EF4-FFF2-40B4-BE49-F238E27FC236}">
                <a16:creationId xmlns:a16="http://schemas.microsoft.com/office/drawing/2014/main" id="{63FEBC18-3815-4CCC-86EB-8B4DFD8C8C6D}"/>
              </a:ext>
            </a:extLst>
          </p:cNvPr>
          <p:cNvSpPr>
            <a:spLocks noGrp="1"/>
          </p:cNvSpPr>
          <p:nvPr>
            <p:ph type="sldNum" sz="quarter" idx="12"/>
          </p:nvPr>
        </p:nvSpPr>
        <p:spPr>
          <a:xfrm>
            <a:off x="515938" y="6498478"/>
            <a:ext cx="324000" cy="324000"/>
          </a:xfrm>
          <a:prstGeom prst="rect">
            <a:avLst/>
          </a:prstGeom>
        </p:spPr>
        <p:txBody>
          <a:bodyPr/>
          <a:lstStyle/>
          <a:p>
            <a:fld id="{EA97C5ED-C1DE-4316-8FCE-7E084E7B171C}" type="slidenum">
              <a:rPr lang="en-GB" smtClean="0"/>
              <a:pPr/>
              <a:t>‹#›</a:t>
            </a:fld>
            <a:endParaRPr lang="en-GB"/>
          </a:p>
        </p:txBody>
      </p:sp>
      <p:sp>
        <p:nvSpPr>
          <p:cNvPr id="9" name="Pladsholder til tekst 8">
            <a:extLst>
              <a:ext uri="{FF2B5EF4-FFF2-40B4-BE49-F238E27FC236}">
                <a16:creationId xmlns:a16="http://schemas.microsoft.com/office/drawing/2014/main" id="{9059F79E-73C5-4AE5-967E-1E91C79540CD}"/>
              </a:ext>
            </a:extLst>
          </p:cNvPr>
          <p:cNvSpPr>
            <a:spLocks noGrp="1"/>
          </p:cNvSpPr>
          <p:nvPr>
            <p:ph type="body" sz="quarter" idx="13" hasCustomPrompt="1"/>
          </p:nvPr>
        </p:nvSpPr>
        <p:spPr>
          <a:xfrm>
            <a:off x="529200" y="2013048"/>
            <a:ext cx="576000" cy="576000"/>
          </a:xfrm>
          <a:ln w="34925">
            <a:solidFill>
              <a:schemeClr val="accent3"/>
            </a:solidFill>
            <a:miter lim="800000"/>
          </a:ln>
        </p:spPr>
        <p:txBody>
          <a:bodyPr lIns="72000" tIns="72000" rIns="72000" bIns="72000" anchor="ctr">
            <a:noAutofit/>
          </a:bodyPr>
          <a:lstStyle>
            <a:lvl1pPr marL="0" indent="0" algn="ctr">
              <a:buFontTx/>
              <a:buNone/>
              <a:defRPr sz="2000">
                <a:solidFill>
                  <a:schemeClr val="accent3"/>
                </a:solidFill>
                <a:latin typeface="Roboto Black" panose="02000000000000000000" pitchFamily="2" charset="0"/>
                <a:ea typeface="Roboto Black" panose="02000000000000000000" pitchFamily="2" charset="0"/>
              </a:defRPr>
            </a:lvl1pPr>
          </a:lstStyle>
          <a:p>
            <a:pPr lvl="0"/>
            <a:r>
              <a:rPr lang="en-GB"/>
              <a:t>#</a:t>
            </a:r>
          </a:p>
        </p:txBody>
      </p:sp>
      <p:sp>
        <p:nvSpPr>
          <p:cNvPr id="11" name="Pladsholder til tekst 10">
            <a:extLst>
              <a:ext uri="{FF2B5EF4-FFF2-40B4-BE49-F238E27FC236}">
                <a16:creationId xmlns:a16="http://schemas.microsoft.com/office/drawing/2014/main" id="{18876CB6-7AC4-4DBB-9E9F-5176278B3767}"/>
              </a:ext>
            </a:extLst>
          </p:cNvPr>
          <p:cNvSpPr>
            <a:spLocks noGrp="1"/>
          </p:cNvSpPr>
          <p:nvPr>
            <p:ph type="body" sz="quarter" idx="14" hasCustomPrompt="1"/>
          </p:nvPr>
        </p:nvSpPr>
        <p:spPr>
          <a:xfrm>
            <a:off x="1382400" y="2149310"/>
            <a:ext cx="3887787" cy="439738"/>
          </a:xfrm>
        </p:spPr>
        <p:txBody>
          <a:bodyPr wrap="none">
            <a:noAutofit/>
          </a:bodyPr>
          <a:lstStyle>
            <a:lvl1pPr marL="0" indent="0">
              <a:buFontTx/>
              <a:buNone/>
              <a:defRPr>
                <a:solidFill>
                  <a:schemeClr val="tx1"/>
                </a:solidFill>
              </a:defRPr>
            </a:lvl1pPr>
            <a:lvl2pPr marL="239400" indent="0">
              <a:buFontTx/>
              <a:buNone/>
              <a:defRPr>
                <a:solidFill>
                  <a:schemeClr val="bg1"/>
                </a:solidFill>
              </a:defRPr>
            </a:lvl2pPr>
            <a:lvl3pPr marL="473400" indent="0">
              <a:buFontTx/>
              <a:buNone/>
              <a:defRPr>
                <a:solidFill>
                  <a:schemeClr val="bg1"/>
                </a:solidFill>
              </a:defRPr>
            </a:lvl3pPr>
            <a:lvl4pPr marL="707400" indent="0">
              <a:buFontTx/>
              <a:buNone/>
              <a:defRPr>
                <a:solidFill>
                  <a:schemeClr val="bg1"/>
                </a:solidFill>
              </a:defRPr>
            </a:lvl4pPr>
            <a:lvl5pPr marL="923400" indent="0">
              <a:buFontTx/>
              <a:buNone/>
              <a:defRPr>
                <a:solidFill>
                  <a:schemeClr val="bg1"/>
                </a:solidFill>
              </a:defRPr>
            </a:lvl5pPr>
          </a:lstStyle>
          <a:p>
            <a:pPr lvl="0"/>
            <a:r>
              <a:rPr lang="en-GB" noProof="0"/>
              <a:t>Add text</a:t>
            </a:r>
          </a:p>
        </p:txBody>
      </p:sp>
      <p:sp>
        <p:nvSpPr>
          <p:cNvPr id="12" name="Pladsholder til tekst 8">
            <a:extLst>
              <a:ext uri="{FF2B5EF4-FFF2-40B4-BE49-F238E27FC236}">
                <a16:creationId xmlns:a16="http://schemas.microsoft.com/office/drawing/2014/main" id="{CEEFFFAF-4582-485E-9B37-42AE4F635523}"/>
              </a:ext>
            </a:extLst>
          </p:cNvPr>
          <p:cNvSpPr>
            <a:spLocks noGrp="1"/>
          </p:cNvSpPr>
          <p:nvPr>
            <p:ph type="body" sz="quarter" idx="15" hasCustomPrompt="1"/>
          </p:nvPr>
        </p:nvSpPr>
        <p:spPr>
          <a:xfrm>
            <a:off x="529200" y="2874279"/>
            <a:ext cx="576000" cy="576000"/>
          </a:xfrm>
          <a:ln w="34925">
            <a:solidFill>
              <a:schemeClr val="accent3"/>
            </a:solidFill>
            <a:miter lim="800000"/>
          </a:ln>
        </p:spPr>
        <p:txBody>
          <a:bodyPr lIns="72000" tIns="72000" rIns="72000" bIns="72000" anchor="ctr">
            <a:noAutofit/>
          </a:bodyPr>
          <a:lstStyle>
            <a:lvl1pPr marL="0" indent="0" algn="ctr">
              <a:buFontTx/>
              <a:buNone/>
              <a:defRPr sz="2000">
                <a:solidFill>
                  <a:schemeClr val="accent3"/>
                </a:solidFill>
                <a:latin typeface="Roboto Black" panose="02000000000000000000" pitchFamily="2" charset="0"/>
                <a:ea typeface="Roboto Black" panose="02000000000000000000" pitchFamily="2" charset="0"/>
              </a:defRPr>
            </a:lvl1pPr>
          </a:lstStyle>
          <a:p>
            <a:pPr lvl="0"/>
            <a:r>
              <a:rPr lang="da-DK"/>
              <a:t>#</a:t>
            </a:r>
            <a:endParaRPr lang="en-GB"/>
          </a:p>
        </p:txBody>
      </p:sp>
      <p:sp>
        <p:nvSpPr>
          <p:cNvPr id="13" name="Pladsholder til tekst 10">
            <a:extLst>
              <a:ext uri="{FF2B5EF4-FFF2-40B4-BE49-F238E27FC236}">
                <a16:creationId xmlns:a16="http://schemas.microsoft.com/office/drawing/2014/main" id="{E44E390F-379A-4567-B39F-648D179ED593}"/>
              </a:ext>
            </a:extLst>
          </p:cNvPr>
          <p:cNvSpPr>
            <a:spLocks noGrp="1"/>
          </p:cNvSpPr>
          <p:nvPr>
            <p:ph type="body" sz="quarter" idx="16" hasCustomPrompt="1"/>
          </p:nvPr>
        </p:nvSpPr>
        <p:spPr>
          <a:xfrm>
            <a:off x="1382400" y="3010541"/>
            <a:ext cx="3887787" cy="439738"/>
          </a:xfrm>
        </p:spPr>
        <p:txBody>
          <a:bodyPr wrap="none">
            <a:noAutofit/>
          </a:bodyPr>
          <a:lstStyle>
            <a:lvl1pPr marL="0" indent="0">
              <a:buFontTx/>
              <a:buNone/>
              <a:defRPr>
                <a:solidFill>
                  <a:schemeClr val="tx1"/>
                </a:solidFill>
              </a:defRPr>
            </a:lvl1pPr>
            <a:lvl2pPr marL="239400" indent="0">
              <a:buFontTx/>
              <a:buNone/>
              <a:defRPr>
                <a:solidFill>
                  <a:schemeClr val="bg1"/>
                </a:solidFill>
              </a:defRPr>
            </a:lvl2pPr>
            <a:lvl3pPr marL="473400" indent="0">
              <a:buFontTx/>
              <a:buNone/>
              <a:defRPr>
                <a:solidFill>
                  <a:schemeClr val="bg1"/>
                </a:solidFill>
              </a:defRPr>
            </a:lvl3pPr>
            <a:lvl4pPr marL="707400" indent="0">
              <a:buFontTx/>
              <a:buNone/>
              <a:defRPr>
                <a:solidFill>
                  <a:schemeClr val="bg1"/>
                </a:solidFill>
              </a:defRPr>
            </a:lvl4pPr>
            <a:lvl5pPr marL="923400" indent="0">
              <a:buFontTx/>
              <a:buNone/>
              <a:defRPr>
                <a:solidFill>
                  <a:schemeClr val="bg1"/>
                </a:solidFill>
              </a:defRPr>
            </a:lvl5pPr>
          </a:lstStyle>
          <a:p>
            <a:pPr lvl="0"/>
            <a:r>
              <a:rPr lang="en-GB" noProof="0"/>
              <a:t>Add text</a:t>
            </a:r>
          </a:p>
        </p:txBody>
      </p:sp>
      <p:sp>
        <p:nvSpPr>
          <p:cNvPr id="14" name="Pladsholder til tekst 8">
            <a:extLst>
              <a:ext uri="{FF2B5EF4-FFF2-40B4-BE49-F238E27FC236}">
                <a16:creationId xmlns:a16="http://schemas.microsoft.com/office/drawing/2014/main" id="{C87B3630-829B-4CB4-A701-D93A850754B5}"/>
              </a:ext>
            </a:extLst>
          </p:cNvPr>
          <p:cNvSpPr>
            <a:spLocks noGrp="1"/>
          </p:cNvSpPr>
          <p:nvPr>
            <p:ph type="body" sz="quarter" idx="17" hasCustomPrompt="1"/>
          </p:nvPr>
        </p:nvSpPr>
        <p:spPr>
          <a:xfrm>
            <a:off x="529200" y="3735510"/>
            <a:ext cx="576000" cy="576000"/>
          </a:xfrm>
          <a:ln w="34925">
            <a:solidFill>
              <a:schemeClr val="accent3"/>
            </a:solidFill>
            <a:miter lim="800000"/>
          </a:ln>
        </p:spPr>
        <p:txBody>
          <a:bodyPr lIns="72000" tIns="72000" rIns="72000" bIns="72000" anchor="ctr">
            <a:noAutofit/>
          </a:bodyPr>
          <a:lstStyle>
            <a:lvl1pPr marL="0" indent="0" algn="ctr">
              <a:buFontTx/>
              <a:buNone/>
              <a:defRPr sz="2000">
                <a:solidFill>
                  <a:schemeClr val="accent3"/>
                </a:solidFill>
                <a:latin typeface="Roboto Black" panose="02000000000000000000" pitchFamily="2" charset="0"/>
                <a:ea typeface="Roboto Black" panose="02000000000000000000" pitchFamily="2" charset="0"/>
              </a:defRPr>
            </a:lvl1pPr>
          </a:lstStyle>
          <a:p>
            <a:pPr lvl="0"/>
            <a:r>
              <a:rPr lang="da-DK"/>
              <a:t>#</a:t>
            </a:r>
            <a:endParaRPr lang="en-GB"/>
          </a:p>
        </p:txBody>
      </p:sp>
      <p:sp>
        <p:nvSpPr>
          <p:cNvPr id="15" name="Pladsholder til tekst 10">
            <a:extLst>
              <a:ext uri="{FF2B5EF4-FFF2-40B4-BE49-F238E27FC236}">
                <a16:creationId xmlns:a16="http://schemas.microsoft.com/office/drawing/2014/main" id="{D9B0E734-F44A-4DEC-A77B-4B038B4D6817}"/>
              </a:ext>
            </a:extLst>
          </p:cNvPr>
          <p:cNvSpPr>
            <a:spLocks noGrp="1"/>
          </p:cNvSpPr>
          <p:nvPr>
            <p:ph type="body" sz="quarter" idx="18" hasCustomPrompt="1"/>
          </p:nvPr>
        </p:nvSpPr>
        <p:spPr>
          <a:xfrm>
            <a:off x="1382400" y="3871772"/>
            <a:ext cx="3887787" cy="439738"/>
          </a:xfrm>
        </p:spPr>
        <p:txBody>
          <a:bodyPr wrap="none">
            <a:noAutofit/>
          </a:bodyPr>
          <a:lstStyle>
            <a:lvl1pPr marL="0" indent="0">
              <a:buFontTx/>
              <a:buNone/>
              <a:defRPr>
                <a:solidFill>
                  <a:schemeClr val="tx1"/>
                </a:solidFill>
              </a:defRPr>
            </a:lvl1pPr>
            <a:lvl2pPr marL="239400" indent="0">
              <a:buFontTx/>
              <a:buNone/>
              <a:defRPr>
                <a:solidFill>
                  <a:schemeClr val="bg1"/>
                </a:solidFill>
              </a:defRPr>
            </a:lvl2pPr>
            <a:lvl3pPr marL="473400" indent="0">
              <a:buFontTx/>
              <a:buNone/>
              <a:defRPr>
                <a:solidFill>
                  <a:schemeClr val="bg1"/>
                </a:solidFill>
              </a:defRPr>
            </a:lvl3pPr>
            <a:lvl4pPr marL="707400" indent="0">
              <a:buFontTx/>
              <a:buNone/>
              <a:defRPr>
                <a:solidFill>
                  <a:schemeClr val="bg1"/>
                </a:solidFill>
              </a:defRPr>
            </a:lvl4pPr>
            <a:lvl5pPr marL="923400" indent="0">
              <a:buFontTx/>
              <a:buNone/>
              <a:defRPr>
                <a:solidFill>
                  <a:schemeClr val="bg1"/>
                </a:solidFill>
              </a:defRPr>
            </a:lvl5pPr>
          </a:lstStyle>
          <a:p>
            <a:pPr lvl="0"/>
            <a:r>
              <a:rPr lang="en-GB" noProof="0"/>
              <a:t>Add text</a:t>
            </a:r>
          </a:p>
        </p:txBody>
      </p:sp>
      <p:sp>
        <p:nvSpPr>
          <p:cNvPr id="16" name="Pladsholder til tekst 8">
            <a:extLst>
              <a:ext uri="{FF2B5EF4-FFF2-40B4-BE49-F238E27FC236}">
                <a16:creationId xmlns:a16="http://schemas.microsoft.com/office/drawing/2014/main" id="{CBF0C377-235B-499E-8AD1-21A069A59AD5}"/>
              </a:ext>
            </a:extLst>
          </p:cNvPr>
          <p:cNvSpPr>
            <a:spLocks noGrp="1"/>
          </p:cNvSpPr>
          <p:nvPr>
            <p:ph type="body" sz="quarter" idx="19" hasCustomPrompt="1"/>
          </p:nvPr>
        </p:nvSpPr>
        <p:spPr>
          <a:xfrm>
            <a:off x="529200" y="4592537"/>
            <a:ext cx="576000" cy="576000"/>
          </a:xfrm>
          <a:ln w="34925">
            <a:solidFill>
              <a:schemeClr val="accent3"/>
            </a:solidFill>
            <a:miter lim="800000"/>
          </a:ln>
        </p:spPr>
        <p:txBody>
          <a:bodyPr lIns="72000" tIns="72000" rIns="72000" bIns="72000" anchor="ctr">
            <a:noAutofit/>
          </a:bodyPr>
          <a:lstStyle>
            <a:lvl1pPr marL="0" indent="0" algn="ctr">
              <a:buFontTx/>
              <a:buNone/>
              <a:defRPr sz="2000">
                <a:solidFill>
                  <a:schemeClr val="accent3"/>
                </a:solidFill>
                <a:latin typeface="Roboto Black" panose="02000000000000000000" pitchFamily="2" charset="0"/>
                <a:ea typeface="Roboto Black" panose="02000000000000000000" pitchFamily="2" charset="0"/>
              </a:defRPr>
            </a:lvl1pPr>
          </a:lstStyle>
          <a:p>
            <a:pPr lvl="0"/>
            <a:r>
              <a:rPr lang="da-DK"/>
              <a:t>#</a:t>
            </a:r>
            <a:endParaRPr lang="en-GB"/>
          </a:p>
        </p:txBody>
      </p:sp>
      <p:sp>
        <p:nvSpPr>
          <p:cNvPr id="17" name="Pladsholder til tekst 10">
            <a:extLst>
              <a:ext uri="{FF2B5EF4-FFF2-40B4-BE49-F238E27FC236}">
                <a16:creationId xmlns:a16="http://schemas.microsoft.com/office/drawing/2014/main" id="{BDFFD334-C23C-46AE-A8B8-CE8DC4B3F384}"/>
              </a:ext>
            </a:extLst>
          </p:cNvPr>
          <p:cNvSpPr>
            <a:spLocks noGrp="1"/>
          </p:cNvSpPr>
          <p:nvPr>
            <p:ph type="body" sz="quarter" idx="20" hasCustomPrompt="1"/>
          </p:nvPr>
        </p:nvSpPr>
        <p:spPr>
          <a:xfrm>
            <a:off x="1382400" y="4674470"/>
            <a:ext cx="3887787" cy="439738"/>
          </a:xfrm>
        </p:spPr>
        <p:txBody>
          <a:bodyPr wrap="none">
            <a:noAutofit/>
          </a:bodyPr>
          <a:lstStyle>
            <a:lvl1pPr marL="0" indent="0">
              <a:buFontTx/>
              <a:buNone/>
              <a:defRPr>
                <a:solidFill>
                  <a:schemeClr val="tx1"/>
                </a:solidFill>
              </a:defRPr>
            </a:lvl1pPr>
            <a:lvl2pPr marL="239400" indent="0">
              <a:buFontTx/>
              <a:buNone/>
              <a:defRPr>
                <a:solidFill>
                  <a:schemeClr val="bg1"/>
                </a:solidFill>
              </a:defRPr>
            </a:lvl2pPr>
            <a:lvl3pPr marL="473400" indent="0">
              <a:buFontTx/>
              <a:buNone/>
              <a:defRPr>
                <a:solidFill>
                  <a:schemeClr val="bg1"/>
                </a:solidFill>
              </a:defRPr>
            </a:lvl3pPr>
            <a:lvl4pPr marL="707400" indent="0">
              <a:buFontTx/>
              <a:buNone/>
              <a:defRPr>
                <a:solidFill>
                  <a:schemeClr val="bg1"/>
                </a:solidFill>
              </a:defRPr>
            </a:lvl4pPr>
            <a:lvl5pPr marL="923400" indent="0">
              <a:buFontTx/>
              <a:buNone/>
              <a:defRPr>
                <a:solidFill>
                  <a:schemeClr val="bg1"/>
                </a:solidFill>
              </a:defRPr>
            </a:lvl5pPr>
          </a:lstStyle>
          <a:p>
            <a:pPr lvl="0"/>
            <a:r>
              <a:rPr lang="en-GB" noProof="0"/>
              <a:t>Add text</a:t>
            </a:r>
          </a:p>
        </p:txBody>
      </p:sp>
      <p:sp>
        <p:nvSpPr>
          <p:cNvPr id="10" name="Pladsholder til billede 9">
            <a:extLst>
              <a:ext uri="{FF2B5EF4-FFF2-40B4-BE49-F238E27FC236}">
                <a16:creationId xmlns:a16="http://schemas.microsoft.com/office/drawing/2014/main" id="{ABDBC750-419C-40B2-AD52-176528C4E050}"/>
              </a:ext>
            </a:extLst>
          </p:cNvPr>
          <p:cNvSpPr>
            <a:spLocks noGrp="1"/>
          </p:cNvSpPr>
          <p:nvPr>
            <p:ph type="pic" sz="quarter" idx="21" hasCustomPrompt="1"/>
          </p:nvPr>
        </p:nvSpPr>
        <p:spPr>
          <a:xfrm>
            <a:off x="6240463" y="0"/>
            <a:ext cx="5951537" cy="6453188"/>
          </a:xfrm>
        </p:spPr>
        <p:txBody>
          <a:bodyPr tIns="792000" anchor="ctr" anchorCtr="1"/>
          <a:lstStyle>
            <a:lvl1pPr marL="0" indent="0">
              <a:buFontTx/>
              <a:buNone/>
              <a:defRPr>
                <a:solidFill>
                  <a:schemeClr val="bg1"/>
                </a:solidFill>
              </a:defRPr>
            </a:lvl1pPr>
          </a:lstStyle>
          <a:p>
            <a:r>
              <a:rPr lang="en-GB"/>
              <a:t>Click to insert image</a:t>
            </a:r>
          </a:p>
        </p:txBody>
      </p:sp>
      <p:pic>
        <p:nvPicPr>
          <p:cNvPr id="19" name="Picture 18" descr="Logo, icon&#10;&#10;Description automatically generated">
            <a:extLst>
              <a:ext uri="{FF2B5EF4-FFF2-40B4-BE49-F238E27FC236}">
                <a16:creationId xmlns:a16="http://schemas.microsoft.com/office/drawing/2014/main" id="{8962AD3E-2D73-287D-2CEB-3CED353ACD4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887958" y="6560348"/>
            <a:ext cx="863707" cy="195758"/>
          </a:xfrm>
          <a:prstGeom prst="rect">
            <a:avLst/>
          </a:prstGeom>
        </p:spPr>
      </p:pic>
    </p:spTree>
    <p:extLst>
      <p:ext uri="{BB962C8B-B14F-4D97-AF65-F5344CB8AC3E}">
        <p14:creationId xmlns:p14="http://schemas.microsoft.com/office/powerpoint/2010/main" val="419790877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ntent - Subhead - Light">
    <p:bg>
      <p:bgPr>
        <a:solidFill>
          <a:srgbClr val="ECECED"/>
        </a:solidFill>
        <a:effectLst/>
      </p:bgPr>
    </p:bg>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68237672-EA13-4736-A70B-E52AB4AD066C}"/>
              </a:ext>
            </a:extLst>
          </p:cNvPr>
          <p:cNvSpPr/>
          <p:nvPr/>
        </p:nvSpPr>
        <p:spPr>
          <a:xfrm>
            <a:off x="0" y="6453188"/>
            <a:ext cx="12192000" cy="404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el 1">
            <a:extLst>
              <a:ext uri="{FF2B5EF4-FFF2-40B4-BE49-F238E27FC236}">
                <a16:creationId xmlns:a16="http://schemas.microsoft.com/office/drawing/2014/main" id="{7CB936AD-B99A-4CBD-8357-6A393A1540DF}"/>
              </a:ext>
            </a:extLst>
          </p:cNvPr>
          <p:cNvSpPr>
            <a:spLocks noGrp="1"/>
          </p:cNvSpPr>
          <p:nvPr>
            <p:ph type="title" hasCustomPrompt="1"/>
          </p:nvPr>
        </p:nvSpPr>
        <p:spPr>
          <a:xfrm>
            <a:off x="514800" y="333375"/>
            <a:ext cx="11161263" cy="554400"/>
          </a:xfrm>
        </p:spPr>
        <p:txBody>
          <a:bodyPr>
            <a:noAutofit/>
          </a:bodyPr>
          <a:lstStyle>
            <a:lvl1pPr>
              <a:defRPr sz="3600" b="1"/>
            </a:lvl1pPr>
          </a:lstStyle>
          <a:p>
            <a:r>
              <a:rPr lang="en-GB" noProof="0"/>
              <a:t>Add heading</a:t>
            </a:r>
          </a:p>
        </p:txBody>
      </p:sp>
      <p:sp>
        <p:nvSpPr>
          <p:cNvPr id="3" name="Pladsholder til indhold 2">
            <a:extLst>
              <a:ext uri="{FF2B5EF4-FFF2-40B4-BE49-F238E27FC236}">
                <a16:creationId xmlns:a16="http://schemas.microsoft.com/office/drawing/2014/main" id="{1236430A-BA34-4FAC-83B6-11BC4B15979F}"/>
              </a:ext>
            </a:extLst>
          </p:cNvPr>
          <p:cNvSpPr>
            <a:spLocks noGrp="1"/>
          </p:cNvSpPr>
          <p:nvPr>
            <p:ph idx="1" hasCustomPrompt="1"/>
          </p:nvPr>
        </p:nvSpPr>
        <p:spPr>
          <a:xfrm>
            <a:off x="514799" y="1376362"/>
            <a:ext cx="7344915" cy="4968876"/>
          </a:xfrm>
        </p:spPr>
        <p:txBody>
          <a:bodyPr/>
          <a:lstStyle>
            <a:lvl1pPr>
              <a:defRPr/>
            </a:lvl1pPr>
            <a:lvl2pPr>
              <a:defRPr/>
            </a:lvl2pPr>
            <a:lvl3pPr>
              <a:defRPr/>
            </a:lvl3pPr>
            <a:lvl4pPr>
              <a:defRPr/>
            </a:lvl4pPr>
            <a:lvl5pPr>
              <a:defRPr/>
            </a:lvl5pPr>
          </a:lstStyle>
          <a:p>
            <a:pPr lvl="0"/>
            <a:r>
              <a:rPr lang="en-GB" noProof="0"/>
              <a:t>Add content. Deactivate lists and bullets if not needed.</a:t>
            </a:r>
          </a:p>
          <a:p>
            <a:pPr lvl="1"/>
            <a:r>
              <a:rPr lang="en-GB" noProof="0"/>
              <a:t>Second level content</a:t>
            </a:r>
          </a:p>
          <a:p>
            <a:pPr lvl="2"/>
            <a:r>
              <a:rPr lang="en-GB" noProof="0"/>
              <a:t>Third level content</a:t>
            </a:r>
          </a:p>
          <a:p>
            <a:pPr lvl="3"/>
            <a:r>
              <a:rPr lang="en-GB" noProof="0"/>
              <a:t>Fourth level content</a:t>
            </a:r>
          </a:p>
          <a:p>
            <a:pPr lvl="4"/>
            <a:r>
              <a:rPr lang="en-GB" noProof="0"/>
              <a:t>Fifth level content</a:t>
            </a:r>
          </a:p>
        </p:txBody>
      </p:sp>
      <p:sp>
        <p:nvSpPr>
          <p:cNvPr id="10" name="Pladsholder til tekst 9">
            <a:extLst>
              <a:ext uri="{FF2B5EF4-FFF2-40B4-BE49-F238E27FC236}">
                <a16:creationId xmlns:a16="http://schemas.microsoft.com/office/drawing/2014/main" id="{9AFA0120-57A0-4D2B-8C07-01264457CB70}"/>
              </a:ext>
            </a:extLst>
          </p:cNvPr>
          <p:cNvSpPr>
            <a:spLocks noGrp="1"/>
          </p:cNvSpPr>
          <p:nvPr>
            <p:ph type="body" sz="quarter" idx="13" hasCustomPrompt="1"/>
          </p:nvPr>
        </p:nvSpPr>
        <p:spPr>
          <a:xfrm>
            <a:off x="515938" y="900000"/>
            <a:ext cx="11160125" cy="368412"/>
          </a:xfrm>
        </p:spPr>
        <p:txBody>
          <a:bodyPr wrap="none" tIns="0" bIns="0" anchor="t" anchorCtr="0">
            <a:noAutofit/>
          </a:bodyPr>
          <a:lstStyle>
            <a:lvl1pPr marL="0" indent="0">
              <a:buFontTx/>
              <a:buNone/>
              <a:defRPr sz="1800" b="1">
                <a:solidFill>
                  <a:schemeClr val="tx2"/>
                </a:solidFill>
                <a:latin typeface="Roboto" panose="02000000000000000000" pitchFamily="2" charset="0"/>
                <a:ea typeface="Roboto" panose="02000000000000000000" pitchFamily="2" charset="0"/>
                <a:cs typeface="Roboto Black" panose="02000000000000000000" pitchFamily="2" charset="0"/>
              </a:defRPr>
            </a:lvl1pPr>
            <a:lvl2pPr marL="457200" indent="0">
              <a:buFontTx/>
              <a:buNone/>
              <a:defRPr>
                <a:solidFill>
                  <a:schemeClr val="tx2"/>
                </a:solidFill>
              </a:defRPr>
            </a:lvl2pPr>
            <a:lvl3pPr marL="914400" indent="0">
              <a:buFontTx/>
              <a:buNone/>
              <a:defRPr>
                <a:solidFill>
                  <a:schemeClr val="tx2"/>
                </a:solidFill>
              </a:defRPr>
            </a:lvl3pPr>
            <a:lvl4pPr marL="1371600" indent="0">
              <a:buFontTx/>
              <a:buNone/>
              <a:defRPr>
                <a:solidFill>
                  <a:schemeClr val="tx2"/>
                </a:solidFill>
              </a:defRPr>
            </a:lvl4pPr>
            <a:lvl5pPr marL="1828800" indent="0">
              <a:buFontTx/>
              <a:buNone/>
              <a:defRPr>
                <a:solidFill>
                  <a:schemeClr val="tx2"/>
                </a:solidFill>
              </a:defRPr>
            </a:lvl5pPr>
          </a:lstStyle>
          <a:p>
            <a:pPr lvl="0"/>
            <a:r>
              <a:rPr lang="en-GB" noProof="0"/>
              <a:t>Add subheading</a:t>
            </a:r>
          </a:p>
        </p:txBody>
      </p:sp>
      <p:pic>
        <p:nvPicPr>
          <p:cNvPr id="9" name="Picture 8" descr="Logo, icon&#10;&#10;Description automatically generated">
            <a:extLst>
              <a:ext uri="{FF2B5EF4-FFF2-40B4-BE49-F238E27FC236}">
                <a16:creationId xmlns:a16="http://schemas.microsoft.com/office/drawing/2014/main" id="{D2FEFAEF-F121-307E-819D-CB014ECD4AD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887958" y="6560348"/>
            <a:ext cx="863707" cy="195758"/>
          </a:xfrm>
          <a:prstGeom prst="rect">
            <a:avLst/>
          </a:prstGeom>
        </p:spPr>
      </p:pic>
    </p:spTree>
    <p:extLst>
      <p:ext uri="{BB962C8B-B14F-4D97-AF65-F5344CB8AC3E}">
        <p14:creationId xmlns:p14="http://schemas.microsoft.com/office/powerpoint/2010/main" val="116980347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ntent - Subhead - no footer - Light">
    <p:bg>
      <p:bgPr>
        <a:solidFill>
          <a:srgbClr val="ECECE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B936AD-B99A-4CBD-8357-6A393A1540DF}"/>
              </a:ext>
            </a:extLst>
          </p:cNvPr>
          <p:cNvSpPr>
            <a:spLocks noGrp="1"/>
          </p:cNvSpPr>
          <p:nvPr>
            <p:ph type="title" hasCustomPrompt="1"/>
          </p:nvPr>
        </p:nvSpPr>
        <p:spPr>
          <a:xfrm>
            <a:off x="514800" y="333375"/>
            <a:ext cx="11161263" cy="554400"/>
          </a:xfrm>
        </p:spPr>
        <p:txBody>
          <a:bodyPr/>
          <a:lstStyle>
            <a:lvl1pPr>
              <a:defRPr>
                <a:solidFill>
                  <a:schemeClr val="tx2"/>
                </a:solidFill>
              </a:defRPr>
            </a:lvl1pPr>
          </a:lstStyle>
          <a:p>
            <a:r>
              <a:rPr lang="en-GB" noProof="0"/>
              <a:t>Add heading</a:t>
            </a:r>
          </a:p>
        </p:txBody>
      </p:sp>
      <p:sp>
        <p:nvSpPr>
          <p:cNvPr id="3" name="Pladsholder til indhold 2">
            <a:extLst>
              <a:ext uri="{FF2B5EF4-FFF2-40B4-BE49-F238E27FC236}">
                <a16:creationId xmlns:a16="http://schemas.microsoft.com/office/drawing/2014/main" id="{1236430A-BA34-4FAC-83B6-11BC4B15979F}"/>
              </a:ext>
            </a:extLst>
          </p:cNvPr>
          <p:cNvSpPr>
            <a:spLocks noGrp="1"/>
          </p:cNvSpPr>
          <p:nvPr>
            <p:ph idx="1" hasCustomPrompt="1"/>
          </p:nvPr>
        </p:nvSpPr>
        <p:spPr>
          <a:xfrm>
            <a:off x="514799" y="1376363"/>
            <a:ext cx="7344915" cy="4968875"/>
          </a:xfrm>
        </p:spPr>
        <p:txBody>
          <a:bodyPr/>
          <a:lstStyle>
            <a:lvl1pPr>
              <a:buClr>
                <a:schemeClr val="accent3"/>
              </a:buClr>
              <a:defRPr>
                <a:solidFill>
                  <a:schemeClr val="tx1"/>
                </a:solidFill>
              </a:defRPr>
            </a:lvl1pPr>
            <a:lvl2pPr>
              <a:buClr>
                <a:schemeClr val="accent3"/>
              </a:buClr>
              <a:defRPr>
                <a:solidFill>
                  <a:schemeClr val="tx1"/>
                </a:solidFill>
              </a:defRPr>
            </a:lvl2pPr>
            <a:lvl3pPr>
              <a:buClr>
                <a:schemeClr val="accent3"/>
              </a:buClr>
              <a:defRPr>
                <a:solidFill>
                  <a:schemeClr val="tx1"/>
                </a:solidFill>
              </a:defRPr>
            </a:lvl3pPr>
            <a:lvl4pPr>
              <a:buClr>
                <a:schemeClr val="accent3"/>
              </a:buClr>
              <a:defRPr>
                <a:solidFill>
                  <a:schemeClr val="tx1"/>
                </a:solidFill>
              </a:defRPr>
            </a:lvl4pPr>
            <a:lvl5pPr>
              <a:buClr>
                <a:schemeClr val="accent3"/>
              </a:buClr>
              <a:defRPr>
                <a:solidFill>
                  <a:schemeClr val="tx1"/>
                </a:solidFill>
              </a:defRPr>
            </a:lvl5pPr>
          </a:lstStyle>
          <a:p>
            <a:pPr lvl="0"/>
            <a:r>
              <a:rPr lang="en-GB" noProof="0"/>
              <a:t>Add content. Deactivate lists and bullets if not needed.</a:t>
            </a:r>
          </a:p>
          <a:p>
            <a:pPr lvl="1"/>
            <a:r>
              <a:rPr lang="en-GB" noProof="0"/>
              <a:t>Second level content</a:t>
            </a:r>
          </a:p>
          <a:p>
            <a:pPr lvl="2"/>
            <a:r>
              <a:rPr lang="en-GB" noProof="0"/>
              <a:t>Third level content</a:t>
            </a:r>
          </a:p>
          <a:p>
            <a:pPr lvl="3"/>
            <a:r>
              <a:rPr lang="en-GB" noProof="0"/>
              <a:t>Fourth level content</a:t>
            </a:r>
          </a:p>
          <a:p>
            <a:pPr lvl="4"/>
            <a:r>
              <a:rPr lang="en-GB" noProof="0"/>
              <a:t>Fifth level content</a:t>
            </a:r>
          </a:p>
        </p:txBody>
      </p:sp>
      <p:pic>
        <p:nvPicPr>
          <p:cNvPr id="7" name="Picture 6" descr="Logo, icon&#10;&#10;Description automatically generated">
            <a:extLst>
              <a:ext uri="{FF2B5EF4-FFF2-40B4-BE49-F238E27FC236}">
                <a16:creationId xmlns:a16="http://schemas.microsoft.com/office/drawing/2014/main" id="{E44DDAEB-2849-BB2D-BA4E-FA411626C0B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887958" y="6560348"/>
            <a:ext cx="863707" cy="195758"/>
          </a:xfrm>
          <a:prstGeom prst="rect">
            <a:avLst/>
          </a:prstGeom>
        </p:spPr>
      </p:pic>
      <p:sp>
        <p:nvSpPr>
          <p:cNvPr id="5" name="Text Placeholder 4">
            <a:extLst>
              <a:ext uri="{FF2B5EF4-FFF2-40B4-BE49-F238E27FC236}">
                <a16:creationId xmlns:a16="http://schemas.microsoft.com/office/drawing/2014/main" id="{F44A8EA4-61B5-BB0F-0091-0FE6FC462F5B}"/>
              </a:ext>
            </a:extLst>
          </p:cNvPr>
          <p:cNvSpPr>
            <a:spLocks noGrp="1"/>
          </p:cNvSpPr>
          <p:nvPr>
            <p:ph type="body" sz="quarter" idx="13"/>
          </p:nvPr>
        </p:nvSpPr>
        <p:spPr>
          <a:xfrm>
            <a:off x="515938" y="900000"/>
            <a:ext cx="11160125" cy="368412"/>
          </a:xfrm>
        </p:spPr>
        <p:txBody>
          <a:bodyPr tIns="0" bIns="0"/>
          <a:lstStyle>
            <a:lvl1pPr marL="0" indent="0">
              <a:buFontTx/>
              <a:buNone/>
              <a:defRPr b="1">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190632273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ontent - Subhead + Image - Light">
    <p:bg>
      <p:bgPr>
        <a:solidFill>
          <a:srgbClr val="ECECED"/>
        </a:solidFill>
        <a:effectLst/>
      </p:bgPr>
    </p:bg>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F6425D13-9A1B-4760-9173-66541B3DE401}"/>
              </a:ext>
            </a:extLst>
          </p:cNvPr>
          <p:cNvSpPr/>
          <p:nvPr/>
        </p:nvSpPr>
        <p:spPr>
          <a:xfrm>
            <a:off x="0" y="6453188"/>
            <a:ext cx="12192000" cy="404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el 1">
            <a:extLst>
              <a:ext uri="{FF2B5EF4-FFF2-40B4-BE49-F238E27FC236}">
                <a16:creationId xmlns:a16="http://schemas.microsoft.com/office/drawing/2014/main" id="{20DD5FC8-A4F2-4F9F-A6C1-F40DB3F38D2D}"/>
              </a:ext>
            </a:extLst>
          </p:cNvPr>
          <p:cNvSpPr>
            <a:spLocks noGrp="1"/>
          </p:cNvSpPr>
          <p:nvPr>
            <p:ph type="title" hasCustomPrompt="1"/>
          </p:nvPr>
        </p:nvSpPr>
        <p:spPr>
          <a:xfrm>
            <a:off x="514800" y="334800"/>
            <a:ext cx="5436738" cy="554400"/>
          </a:xfrm>
        </p:spPr>
        <p:txBody>
          <a:bodyPr anchor="t" anchorCtr="0">
            <a:noAutofit/>
          </a:bodyPr>
          <a:lstStyle>
            <a:lvl1pPr>
              <a:defRPr sz="3600"/>
            </a:lvl1pPr>
          </a:lstStyle>
          <a:p>
            <a:r>
              <a:rPr lang="en-GB" noProof="0"/>
              <a:t>Add heading</a:t>
            </a:r>
          </a:p>
        </p:txBody>
      </p:sp>
      <p:sp>
        <p:nvSpPr>
          <p:cNvPr id="3" name="Pladsholder til billede 2">
            <a:extLst>
              <a:ext uri="{FF2B5EF4-FFF2-40B4-BE49-F238E27FC236}">
                <a16:creationId xmlns:a16="http://schemas.microsoft.com/office/drawing/2014/main" id="{5BDAB1EB-D25D-4C31-8262-45394195B7D8}"/>
              </a:ext>
            </a:extLst>
          </p:cNvPr>
          <p:cNvSpPr>
            <a:spLocks noGrp="1"/>
          </p:cNvSpPr>
          <p:nvPr>
            <p:ph type="pic" idx="1" hasCustomPrompt="1"/>
          </p:nvPr>
        </p:nvSpPr>
        <p:spPr>
          <a:xfrm>
            <a:off x="6240464" y="0"/>
            <a:ext cx="5951536" cy="6453188"/>
          </a:xfrm>
        </p:spPr>
        <p:txBody>
          <a:bodyPr tIns="792000" anchor="ctr" anchorCtr="1">
            <a:normAutofit/>
          </a:bodyPr>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to insert image</a:t>
            </a:r>
          </a:p>
        </p:txBody>
      </p:sp>
      <p:sp>
        <p:nvSpPr>
          <p:cNvPr id="4" name="Pladsholder til tekst 3">
            <a:extLst>
              <a:ext uri="{FF2B5EF4-FFF2-40B4-BE49-F238E27FC236}">
                <a16:creationId xmlns:a16="http://schemas.microsoft.com/office/drawing/2014/main" id="{835DAC81-9607-4A0D-87D2-0691ECE02B42}"/>
              </a:ext>
            </a:extLst>
          </p:cNvPr>
          <p:cNvSpPr>
            <a:spLocks noGrp="1"/>
          </p:cNvSpPr>
          <p:nvPr>
            <p:ph type="body" sz="half" idx="2" hasCustomPrompt="1"/>
          </p:nvPr>
        </p:nvSpPr>
        <p:spPr>
          <a:xfrm>
            <a:off x="514800" y="1376362"/>
            <a:ext cx="5436738" cy="4968876"/>
          </a:xfrm>
        </p:spPr>
        <p:txBody>
          <a:bodyPr>
            <a:no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noProof="0"/>
              <a:t>Add content</a:t>
            </a:r>
          </a:p>
        </p:txBody>
      </p:sp>
      <p:pic>
        <p:nvPicPr>
          <p:cNvPr id="10" name="Picture 9" descr="Logo, icon&#10;&#10;Description automatically generated">
            <a:extLst>
              <a:ext uri="{FF2B5EF4-FFF2-40B4-BE49-F238E27FC236}">
                <a16:creationId xmlns:a16="http://schemas.microsoft.com/office/drawing/2014/main" id="{2D6C80CE-1A05-09E7-A60F-EB8257CB234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887958" y="6560348"/>
            <a:ext cx="863707" cy="195758"/>
          </a:xfrm>
          <a:prstGeom prst="rect">
            <a:avLst/>
          </a:prstGeom>
        </p:spPr>
      </p:pic>
      <p:sp>
        <p:nvSpPr>
          <p:cNvPr id="6" name="Text Placeholder 5">
            <a:extLst>
              <a:ext uri="{FF2B5EF4-FFF2-40B4-BE49-F238E27FC236}">
                <a16:creationId xmlns:a16="http://schemas.microsoft.com/office/drawing/2014/main" id="{59362F38-C9A8-7A30-996E-F6B72F33CCD4}"/>
              </a:ext>
            </a:extLst>
          </p:cNvPr>
          <p:cNvSpPr>
            <a:spLocks noGrp="1"/>
          </p:cNvSpPr>
          <p:nvPr>
            <p:ph type="body" sz="quarter" idx="13"/>
          </p:nvPr>
        </p:nvSpPr>
        <p:spPr>
          <a:xfrm>
            <a:off x="515938" y="900000"/>
            <a:ext cx="5435599" cy="368412"/>
          </a:xfrm>
        </p:spPr>
        <p:txBody>
          <a:bodyPr tIns="0" bIns="0"/>
          <a:lstStyle>
            <a:lvl1pPr marL="0" indent="0">
              <a:buFontTx/>
              <a:buNone/>
              <a:defRPr b="1">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79101639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 Subhead - Light">
    <p:bg>
      <p:bgPr>
        <a:solidFill>
          <a:srgbClr val="ECECED"/>
        </a:solidFill>
        <a:effectLst/>
      </p:bgPr>
    </p:bg>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2C9C8A44-FDC0-475D-BC2B-A15569175EA1}"/>
              </a:ext>
            </a:extLst>
          </p:cNvPr>
          <p:cNvSpPr/>
          <p:nvPr/>
        </p:nvSpPr>
        <p:spPr>
          <a:xfrm>
            <a:off x="0" y="6453188"/>
            <a:ext cx="12192000" cy="404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el 1">
            <a:extLst>
              <a:ext uri="{FF2B5EF4-FFF2-40B4-BE49-F238E27FC236}">
                <a16:creationId xmlns:a16="http://schemas.microsoft.com/office/drawing/2014/main" id="{B810521B-284B-4FCD-B0CF-87DE041A7121}"/>
              </a:ext>
            </a:extLst>
          </p:cNvPr>
          <p:cNvSpPr>
            <a:spLocks noGrp="1"/>
          </p:cNvSpPr>
          <p:nvPr>
            <p:ph type="title" hasCustomPrompt="1"/>
          </p:nvPr>
        </p:nvSpPr>
        <p:spPr>
          <a:xfrm>
            <a:off x="514800" y="333375"/>
            <a:ext cx="11161263" cy="554400"/>
          </a:xfrm>
        </p:spPr>
        <p:txBody>
          <a:bodyPr/>
          <a:lstStyle>
            <a:lvl1pPr>
              <a:defRPr/>
            </a:lvl1pPr>
          </a:lstStyle>
          <a:p>
            <a:r>
              <a:rPr lang="en-GB" noProof="0"/>
              <a:t>Add heading</a:t>
            </a:r>
          </a:p>
        </p:txBody>
      </p:sp>
      <p:pic>
        <p:nvPicPr>
          <p:cNvPr id="8" name="Picture 7" descr="Logo, icon&#10;&#10;Description automatically generated">
            <a:extLst>
              <a:ext uri="{FF2B5EF4-FFF2-40B4-BE49-F238E27FC236}">
                <a16:creationId xmlns:a16="http://schemas.microsoft.com/office/drawing/2014/main" id="{C846069B-D02F-0BCC-3219-36F534460F5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887958" y="6560348"/>
            <a:ext cx="863707" cy="195758"/>
          </a:xfrm>
          <a:prstGeom prst="rect">
            <a:avLst/>
          </a:prstGeom>
        </p:spPr>
      </p:pic>
      <p:sp>
        <p:nvSpPr>
          <p:cNvPr id="4" name="Text Placeholder 3">
            <a:extLst>
              <a:ext uri="{FF2B5EF4-FFF2-40B4-BE49-F238E27FC236}">
                <a16:creationId xmlns:a16="http://schemas.microsoft.com/office/drawing/2014/main" id="{94888FD7-02E3-5F5B-D00B-110B1973DD89}"/>
              </a:ext>
            </a:extLst>
          </p:cNvPr>
          <p:cNvSpPr>
            <a:spLocks noGrp="1"/>
          </p:cNvSpPr>
          <p:nvPr>
            <p:ph type="body" sz="quarter" idx="13"/>
          </p:nvPr>
        </p:nvSpPr>
        <p:spPr>
          <a:xfrm>
            <a:off x="515938" y="900000"/>
            <a:ext cx="11160125" cy="368412"/>
          </a:xfrm>
        </p:spPr>
        <p:txBody>
          <a:bodyPr tIns="0" bIns="0"/>
          <a:lstStyle>
            <a:lvl1pPr marL="0" indent="0">
              <a:buFontTx/>
              <a:buNone/>
              <a:defRPr b="1">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360739728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Content - Subhead - no footer - ribbon Light">
    <p:bg>
      <p:bgPr>
        <a:solidFill>
          <a:srgbClr val="ECECED"/>
        </a:solidFill>
        <a:effectLst/>
      </p:bgPr>
    </p:bg>
    <p:spTree>
      <p:nvGrpSpPr>
        <p:cNvPr id="1" name=""/>
        <p:cNvGrpSpPr/>
        <p:nvPr/>
      </p:nvGrpSpPr>
      <p:grpSpPr>
        <a:xfrm>
          <a:off x="0" y="0"/>
          <a:ext cx="0" cy="0"/>
          <a:chOff x="0" y="0"/>
          <a:chExt cx="0" cy="0"/>
        </a:xfrm>
      </p:grpSpPr>
      <p:pic>
        <p:nvPicPr>
          <p:cNvPr id="10" name="Picture 9" descr="A white rectangular object with a triangle&#10;&#10;Description automatically generated">
            <a:extLst>
              <a:ext uri="{FF2B5EF4-FFF2-40B4-BE49-F238E27FC236}">
                <a16:creationId xmlns:a16="http://schemas.microsoft.com/office/drawing/2014/main" id="{3C2A2D34-085C-C3ED-A1D1-EF6BC6B6EAD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708356" y="11905"/>
            <a:ext cx="2483644" cy="6858000"/>
          </a:xfrm>
          <a:prstGeom prst="rect">
            <a:avLst/>
          </a:prstGeom>
        </p:spPr>
      </p:pic>
      <p:pic>
        <p:nvPicPr>
          <p:cNvPr id="13" name="Picture 12" descr="A black and white grid&#10;&#10;Description automatically generated">
            <a:extLst>
              <a:ext uri="{FF2B5EF4-FFF2-40B4-BE49-F238E27FC236}">
                <a16:creationId xmlns:a16="http://schemas.microsoft.com/office/drawing/2014/main" id="{981FD182-C26B-669E-34F4-63DECBE88C12}"/>
              </a:ext>
            </a:extLst>
          </p:cNvPr>
          <p:cNvPicPr>
            <a:picLocks/>
          </p:cNvPicPr>
          <p:nvPr/>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2" name="Picture 11" descr="Logo, icon&#10;&#10;Description automatically generated">
            <a:extLst>
              <a:ext uri="{FF2B5EF4-FFF2-40B4-BE49-F238E27FC236}">
                <a16:creationId xmlns:a16="http://schemas.microsoft.com/office/drawing/2014/main" id="{04D2E324-5F4A-4542-4B9B-0969B8E80A1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887958" y="6560348"/>
            <a:ext cx="863707" cy="195758"/>
          </a:xfrm>
          <a:prstGeom prst="rect">
            <a:avLst/>
          </a:prstGeom>
        </p:spPr>
      </p:pic>
      <p:sp>
        <p:nvSpPr>
          <p:cNvPr id="2" name="Titel 1">
            <a:extLst>
              <a:ext uri="{FF2B5EF4-FFF2-40B4-BE49-F238E27FC236}">
                <a16:creationId xmlns:a16="http://schemas.microsoft.com/office/drawing/2014/main" id="{7CB936AD-B99A-4CBD-8357-6A393A1540DF}"/>
              </a:ext>
            </a:extLst>
          </p:cNvPr>
          <p:cNvSpPr>
            <a:spLocks noGrp="1"/>
          </p:cNvSpPr>
          <p:nvPr>
            <p:ph type="title" hasCustomPrompt="1"/>
          </p:nvPr>
        </p:nvSpPr>
        <p:spPr>
          <a:xfrm>
            <a:off x="514801" y="333375"/>
            <a:ext cx="9251500" cy="554400"/>
          </a:xfrm>
        </p:spPr>
        <p:txBody>
          <a:bodyPr/>
          <a:lstStyle>
            <a:lvl1pPr>
              <a:defRPr>
                <a:solidFill>
                  <a:schemeClr val="tx2"/>
                </a:solidFill>
              </a:defRPr>
            </a:lvl1pPr>
          </a:lstStyle>
          <a:p>
            <a:r>
              <a:rPr lang="en-GB" noProof="0"/>
              <a:t>Add heading</a:t>
            </a:r>
          </a:p>
        </p:txBody>
      </p:sp>
      <p:sp>
        <p:nvSpPr>
          <p:cNvPr id="3" name="Pladsholder til indhold 2">
            <a:extLst>
              <a:ext uri="{FF2B5EF4-FFF2-40B4-BE49-F238E27FC236}">
                <a16:creationId xmlns:a16="http://schemas.microsoft.com/office/drawing/2014/main" id="{1236430A-BA34-4FAC-83B6-11BC4B15979F}"/>
              </a:ext>
            </a:extLst>
          </p:cNvPr>
          <p:cNvSpPr>
            <a:spLocks noGrp="1"/>
          </p:cNvSpPr>
          <p:nvPr>
            <p:ph idx="1" hasCustomPrompt="1"/>
          </p:nvPr>
        </p:nvSpPr>
        <p:spPr>
          <a:xfrm>
            <a:off x="514799" y="1376363"/>
            <a:ext cx="7344915" cy="4968875"/>
          </a:xfrm>
        </p:spPr>
        <p:txBody>
          <a:bodyPr/>
          <a:lstStyle>
            <a:lvl1pPr>
              <a:buClr>
                <a:schemeClr val="accent3"/>
              </a:buClr>
              <a:defRPr>
                <a:solidFill>
                  <a:schemeClr val="tx1"/>
                </a:solidFill>
              </a:defRPr>
            </a:lvl1pPr>
            <a:lvl2pPr>
              <a:buClr>
                <a:schemeClr val="accent3"/>
              </a:buClr>
              <a:defRPr>
                <a:solidFill>
                  <a:schemeClr val="tx1"/>
                </a:solidFill>
              </a:defRPr>
            </a:lvl2pPr>
            <a:lvl3pPr>
              <a:buClr>
                <a:schemeClr val="accent3"/>
              </a:buClr>
              <a:defRPr>
                <a:solidFill>
                  <a:schemeClr val="tx1"/>
                </a:solidFill>
              </a:defRPr>
            </a:lvl3pPr>
            <a:lvl4pPr>
              <a:buClr>
                <a:schemeClr val="accent3"/>
              </a:buClr>
              <a:defRPr>
                <a:solidFill>
                  <a:schemeClr val="tx1"/>
                </a:solidFill>
              </a:defRPr>
            </a:lvl4pPr>
            <a:lvl5pPr>
              <a:buClr>
                <a:schemeClr val="accent3"/>
              </a:buClr>
              <a:defRPr>
                <a:solidFill>
                  <a:schemeClr val="tx1"/>
                </a:solidFill>
              </a:defRPr>
            </a:lvl5pPr>
          </a:lstStyle>
          <a:p>
            <a:pPr lvl="0"/>
            <a:r>
              <a:rPr lang="en-GB" noProof="0"/>
              <a:t>Add content. Deactivate lists and bullets if not needed.</a:t>
            </a:r>
          </a:p>
          <a:p>
            <a:pPr lvl="1"/>
            <a:r>
              <a:rPr lang="en-GB" noProof="0"/>
              <a:t>Second level content</a:t>
            </a:r>
          </a:p>
          <a:p>
            <a:pPr lvl="2"/>
            <a:r>
              <a:rPr lang="en-GB" noProof="0"/>
              <a:t>Third level content</a:t>
            </a:r>
          </a:p>
          <a:p>
            <a:pPr lvl="3"/>
            <a:r>
              <a:rPr lang="en-GB" noProof="0"/>
              <a:t>Fourth level content</a:t>
            </a:r>
          </a:p>
          <a:p>
            <a:pPr lvl="4"/>
            <a:r>
              <a:rPr lang="en-GB" noProof="0"/>
              <a:t>Fifth level content</a:t>
            </a:r>
          </a:p>
        </p:txBody>
      </p:sp>
      <p:sp>
        <p:nvSpPr>
          <p:cNvPr id="5" name="Text Placeholder 4">
            <a:extLst>
              <a:ext uri="{FF2B5EF4-FFF2-40B4-BE49-F238E27FC236}">
                <a16:creationId xmlns:a16="http://schemas.microsoft.com/office/drawing/2014/main" id="{12816DD9-07C4-39EA-9E28-9AB3BEC34321}"/>
              </a:ext>
            </a:extLst>
          </p:cNvPr>
          <p:cNvSpPr>
            <a:spLocks noGrp="1"/>
          </p:cNvSpPr>
          <p:nvPr>
            <p:ph type="body" sz="quarter" idx="13"/>
          </p:nvPr>
        </p:nvSpPr>
        <p:spPr>
          <a:xfrm>
            <a:off x="515938" y="900000"/>
            <a:ext cx="9250557" cy="368412"/>
          </a:xfrm>
        </p:spPr>
        <p:txBody>
          <a:bodyPr tIns="0" bIns="0"/>
          <a:lstStyle>
            <a:lvl1pPr marL="0" indent="0">
              <a:buFontTx/>
              <a:buNone/>
              <a:defRPr b="1">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389469571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Ribbon - Light">
    <p:bg>
      <p:bgPr>
        <a:solidFill>
          <a:srgbClr val="ECECED"/>
        </a:solidFill>
        <a:effectLst/>
      </p:bgPr>
    </p:bg>
    <p:spTree>
      <p:nvGrpSpPr>
        <p:cNvPr id="1" name=""/>
        <p:cNvGrpSpPr/>
        <p:nvPr/>
      </p:nvGrpSpPr>
      <p:grpSpPr>
        <a:xfrm>
          <a:off x="0" y="0"/>
          <a:ext cx="0" cy="0"/>
          <a:chOff x="0" y="0"/>
          <a:chExt cx="0" cy="0"/>
        </a:xfrm>
      </p:grpSpPr>
      <p:pic>
        <p:nvPicPr>
          <p:cNvPr id="5" name="Picture 4" descr="A white rectangular object with a triangle&#10;&#10;Description automatically generated">
            <a:extLst>
              <a:ext uri="{FF2B5EF4-FFF2-40B4-BE49-F238E27FC236}">
                <a16:creationId xmlns:a16="http://schemas.microsoft.com/office/drawing/2014/main" id="{F4BCF47D-5F03-F409-40A5-F45EC3053D6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708356" y="11905"/>
            <a:ext cx="2483644" cy="6858000"/>
          </a:xfrm>
          <a:prstGeom prst="rect">
            <a:avLst/>
          </a:prstGeom>
        </p:spPr>
      </p:pic>
      <p:pic>
        <p:nvPicPr>
          <p:cNvPr id="3" name="Picture 2" descr="A black and white grid&#10;&#10;Description automatically generated">
            <a:extLst>
              <a:ext uri="{FF2B5EF4-FFF2-40B4-BE49-F238E27FC236}">
                <a16:creationId xmlns:a16="http://schemas.microsoft.com/office/drawing/2014/main" id="{BAFD8FE7-3FA6-0C32-FAEB-A87CDDEB2837}"/>
              </a:ext>
            </a:extLst>
          </p:cNvPr>
          <p:cNvPicPr>
            <a:picLocks/>
          </p:cNvPicPr>
          <p:nvPr/>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 descr="Logo, icon&#10;&#10;Description automatically generated">
            <a:extLst>
              <a:ext uri="{FF2B5EF4-FFF2-40B4-BE49-F238E27FC236}">
                <a16:creationId xmlns:a16="http://schemas.microsoft.com/office/drawing/2014/main" id="{27E3AA62-9F89-E49E-75D4-55405936633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887958" y="6560348"/>
            <a:ext cx="863707" cy="195758"/>
          </a:xfrm>
          <a:prstGeom prst="rect">
            <a:avLst/>
          </a:prstGeom>
        </p:spPr>
      </p:pic>
      <p:pic>
        <p:nvPicPr>
          <p:cNvPr id="6" name="Picture 5" descr="A white rectangular object with a triangle&#10;&#10;Description automatically generated">
            <a:extLst>
              <a:ext uri="{FF2B5EF4-FFF2-40B4-BE49-F238E27FC236}">
                <a16:creationId xmlns:a16="http://schemas.microsoft.com/office/drawing/2014/main" id="{05E65BE2-E010-A61B-486F-BFE93D2A6CB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766300" y="0"/>
            <a:ext cx="2425700" cy="6858000"/>
          </a:xfrm>
          <a:prstGeom prst="rect">
            <a:avLst/>
          </a:prstGeom>
        </p:spPr>
      </p:pic>
      <p:pic>
        <p:nvPicPr>
          <p:cNvPr id="7" name="Picture 6" descr="A black and white grid&#10;&#10;Description automatically generated">
            <a:extLst>
              <a:ext uri="{FF2B5EF4-FFF2-40B4-BE49-F238E27FC236}">
                <a16:creationId xmlns:a16="http://schemas.microsoft.com/office/drawing/2014/main" id="{F31E6FD0-1890-FA5D-E71D-85288777977C}"/>
              </a:ext>
            </a:extLst>
          </p:cNvPr>
          <p:cNvPicPr>
            <a:picLocks/>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738620798"/>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Image">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26F634A4-34EA-BF89-1AFC-DB156DA6EA9B}"/>
              </a:ext>
            </a:extLst>
          </p:cNvPr>
          <p:cNvSpPr>
            <a:spLocks noGrp="1"/>
          </p:cNvSpPr>
          <p:nvPr>
            <p:ph type="pic" sz="quarter" idx="10"/>
          </p:nvPr>
        </p:nvSpPr>
        <p:spPr>
          <a:xfrm>
            <a:off x="0" y="1"/>
            <a:ext cx="11290300" cy="6858000"/>
          </a:xfrm>
          <a:custGeom>
            <a:avLst/>
            <a:gdLst>
              <a:gd name="connsiteX0" fmla="*/ 0 w 11290300"/>
              <a:gd name="connsiteY0" fmla="*/ 0 h 6921507"/>
              <a:gd name="connsiteX1" fmla="*/ 7618728 w 11290300"/>
              <a:gd name="connsiteY1" fmla="*/ 0 h 6921507"/>
              <a:gd name="connsiteX2" fmla="*/ 7618728 w 11290300"/>
              <a:gd name="connsiteY2" fmla="*/ 4914234 h 6921507"/>
              <a:gd name="connsiteX3" fmla="*/ 11290300 w 11290300"/>
              <a:gd name="connsiteY3" fmla="*/ 6921507 h 6921507"/>
              <a:gd name="connsiteX4" fmla="*/ 0 w 11290300"/>
              <a:gd name="connsiteY4" fmla="*/ 6920797 h 6921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90300" h="6921507">
                <a:moveTo>
                  <a:pt x="0" y="0"/>
                </a:moveTo>
                <a:lnTo>
                  <a:pt x="7618728" y="0"/>
                </a:lnTo>
                <a:lnTo>
                  <a:pt x="7618728" y="4914234"/>
                </a:lnTo>
                <a:lnTo>
                  <a:pt x="11290300" y="6921507"/>
                </a:lnTo>
                <a:lnTo>
                  <a:pt x="0" y="6920797"/>
                </a:lnTo>
                <a:close/>
              </a:path>
            </a:pathLst>
          </a:custGeom>
          <a:ln>
            <a:noFill/>
          </a:ln>
        </p:spPr>
        <p:txBody>
          <a:bodyPr wrap="square">
            <a:noAutofit/>
          </a:bodyPr>
          <a:lstStyle>
            <a:lvl1pPr marL="0" indent="0">
              <a:buFontTx/>
              <a:buNone/>
              <a:defRPr/>
            </a:lvl1pPr>
          </a:lstStyle>
          <a:p>
            <a:r>
              <a:rPr lang="en-US"/>
              <a:t>Click icon to add picture</a:t>
            </a:r>
            <a:endParaRPr lang="en-GB"/>
          </a:p>
        </p:txBody>
      </p:sp>
    </p:spTree>
    <p:extLst>
      <p:ext uri="{BB962C8B-B14F-4D97-AF65-F5344CB8AC3E}">
        <p14:creationId xmlns:p14="http://schemas.microsoft.com/office/powerpoint/2010/main" val="3370855931"/>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2_Image">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5C651451-0C04-EFEE-796A-0A024B6B3790}"/>
              </a:ext>
            </a:extLst>
          </p:cNvPr>
          <p:cNvSpPr>
            <a:spLocks noGrp="1"/>
          </p:cNvSpPr>
          <p:nvPr>
            <p:ph type="pic" sz="quarter" idx="10"/>
          </p:nvPr>
        </p:nvSpPr>
        <p:spPr>
          <a:xfrm>
            <a:off x="1" y="0"/>
            <a:ext cx="12191999" cy="6855617"/>
          </a:xfrm>
          <a:custGeom>
            <a:avLst/>
            <a:gdLst>
              <a:gd name="connsiteX0" fmla="*/ 3481596 w 12191999"/>
              <a:gd name="connsiteY0" fmla="*/ 0 h 6855617"/>
              <a:gd name="connsiteX1" fmla="*/ 9353549 w 12191999"/>
              <a:gd name="connsiteY1" fmla="*/ 0 h 6855617"/>
              <a:gd name="connsiteX2" fmla="*/ 10744199 w 12191999"/>
              <a:gd name="connsiteY2" fmla="*/ 0 h 6855617"/>
              <a:gd name="connsiteX3" fmla="*/ 12191999 w 12191999"/>
              <a:gd name="connsiteY3" fmla="*/ 0 h 6855617"/>
              <a:gd name="connsiteX4" fmla="*/ 12191999 w 12191999"/>
              <a:gd name="connsiteY4" fmla="*/ 6855617 h 6855617"/>
              <a:gd name="connsiteX5" fmla="*/ 9353549 w 12191999"/>
              <a:gd name="connsiteY5" fmla="*/ 6855617 h 6855617"/>
              <a:gd name="connsiteX6" fmla="*/ 9353549 w 12191999"/>
              <a:gd name="connsiteY6" fmla="*/ 6855069 h 6855617"/>
              <a:gd name="connsiteX7" fmla="*/ 0 w 12191999"/>
              <a:gd name="connsiteY7" fmla="*/ 6855617 h 6855617"/>
              <a:gd name="connsiteX8" fmla="*/ 3481596 w 12191999"/>
              <a:gd name="connsiteY8" fmla="*/ 4867452 h 6855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6855617">
                <a:moveTo>
                  <a:pt x="3481596" y="0"/>
                </a:moveTo>
                <a:lnTo>
                  <a:pt x="9353549" y="0"/>
                </a:lnTo>
                <a:lnTo>
                  <a:pt x="10744199" y="0"/>
                </a:lnTo>
                <a:lnTo>
                  <a:pt x="12191999" y="0"/>
                </a:lnTo>
                <a:lnTo>
                  <a:pt x="12191999" y="6855617"/>
                </a:lnTo>
                <a:lnTo>
                  <a:pt x="9353549" y="6855617"/>
                </a:lnTo>
                <a:lnTo>
                  <a:pt x="9353549" y="6855069"/>
                </a:lnTo>
                <a:lnTo>
                  <a:pt x="0" y="6855617"/>
                </a:lnTo>
                <a:lnTo>
                  <a:pt x="3481596" y="4867452"/>
                </a:lnTo>
                <a:close/>
              </a:path>
            </a:pathLst>
          </a:custGeom>
        </p:spPr>
        <p:txBody>
          <a:bodyPr wrap="square">
            <a:noAutofit/>
          </a:bodyPr>
          <a:lstStyle/>
          <a:p>
            <a:r>
              <a:rPr lang="en-US"/>
              <a:t>Click icon to add picture</a:t>
            </a:r>
            <a:endParaRPr lang="en-GB"/>
          </a:p>
        </p:txBody>
      </p:sp>
    </p:spTree>
    <p:extLst>
      <p:ext uri="{BB962C8B-B14F-4D97-AF65-F5344CB8AC3E}">
        <p14:creationId xmlns:p14="http://schemas.microsoft.com/office/powerpoint/2010/main" val="2207349677"/>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3_Imag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B523F6E-FAAC-E85D-AF1F-49F5A79A2107}"/>
              </a:ext>
            </a:extLst>
          </p:cNvPr>
          <p:cNvSpPr>
            <a:spLocks noGrp="1"/>
          </p:cNvSpPr>
          <p:nvPr>
            <p:ph type="pic" sz="quarter" idx="10"/>
          </p:nvPr>
        </p:nvSpPr>
        <p:spPr>
          <a:xfrm>
            <a:off x="5713445" y="0"/>
            <a:ext cx="6478555" cy="6855617"/>
          </a:xfrm>
          <a:custGeom>
            <a:avLst/>
            <a:gdLst>
              <a:gd name="connsiteX0" fmla="*/ 3428523 w 6478555"/>
              <a:gd name="connsiteY0" fmla="*/ 0 h 6855617"/>
              <a:gd name="connsiteX1" fmla="*/ 6478555 w 6478555"/>
              <a:gd name="connsiteY1" fmla="*/ 0 h 6855617"/>
              <a:gd name="connsiteX2" fmla="*/ 6478555 w 6478555"/>
              <a:gd name="connsiteY2" fmla="*/ 6854915 h 6855617"/>
              <a:gd name="connsiteX3" fmla="*/ 0 w 6478555"/>
              <a:gd name="connsiteY3" fmla="*/ 6855617 h 6855617"/>
              <a:gd name="connsiteX4" fmla="*/ 3428523 w 6478555"/>
              <a:gd name="connsiteY4" fmla="*/ 4867452 h 6855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8555" h="6855617">
                <a:moveTo>
                  <a:pt x="3428523" y="0"/>
                </a:moveTo>
                <a:lnTo>
                  <a:pt x="6478555" y="0"/>
                </a:lnTo>
                <a:lnTo>
                  <a:pt x="6478555" y="6854915"/>
                </a:lnTo>
                <a:lnTo>
                  <a:pt x="0" y="6855617"/>
                </a:lnTo>
                <a:lnTo>
                  <a:pt x="3428523" y="4867452"/>
                </a:lnTo>
                <a:close/>
              </a:path>
            </a:pathLst>
          </a:custGeom>
        </p:spPr>
        <p:txBody>
          <a:bodyPr wrap="square">
            <a:noAutofit/>
          </a:bodyPr>
          <a:lstStyle/>
          <a:p>
            <a:r>
              <a:rPr lang="en-US"/>
              <a:t>Click icon to add picture</a:t>
            </a:r>
            <a:endParaRPr lang="en-GB"/>
          </a:p>
        </p:txBody>
      </p:sp>
    </p:spTree>
    <p:extLst>
      <p:ext uri="{BB962C8B-B14F-4D97-AF65-F5344CB8AC3E}">
        <p14:creationId xmlns:p14="http://schemas.microsoft.com/office/powerpoint/2010/main" val="2461116961"/>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2/12/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4_Image">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63331E60-CEBD-7274-FAB8-70966FADF500}"/>
              </a:ext>
            </a:extLst>
          </p:cNvPr>
          <p:cNvSpPr>
            <a:spLocks noGrp="1"/>
          </p:cNvSpPr>
          <p:nvPr>
            <p:ph type="pic" sz="quarter" idx="10"/>
          </p:nvPr>
        </p:nvSpPr>
        <p:spPr>
          <a:xfrm>
            <a:off x="0" y="0"/>
            <a:ext cx="11323974" cy="6858000"/>
          </a:xfrm>
          <a:custGeom>
            <a:avLst/>
            <a:gdLst>
              <a:gd name="connsiteX0" fmla="*/ 0 w 11454603"/>
              <a:gd name="connsiteY0" fmla="*/ 0 h 6858000"/>
              <a:gd name="connsiteX1" fmla="*/ 6937828 w 11454603"/>
              <a:gd name="connsiteY1" fmla="*/ 0 h 6858000"/>
              <a:gd name="connsiteX2" fmla="*/ 8026081 w 11454603"/>
              <a:gd name="connsiteY2" fmla="*/ 0 h 6858000"/>
              <a:gd name="connsiteX3" fmla="*/ 11454276 w 11454603"/>
              <a:gd name="connsiteY3" fmla="*/ 0 h 6858000"/>
              <a:gd name="connsiteX4" fmla="*/ 11454276 w 11454603"/>
              <a:gd name="connsiteY4" fmla="*/ 4867452 h 6858000"/>
              <a:gd name="connsiteX5" fmla="*/ 8025753 w 11454603"/>
              <a:gd name="connsiteY5" fmla="*/ 6855617 h 6858000"/>
              <a:gd name="connsiteX6" fmla="*/ 11454603 w 11454603"/>
              <a:gd name="connsiteY6" fmla="*/ 6855246 h 6858000"/>
              <a:gd name="connsiteX7" fmla="*/ 11454603 w 11454603"/>
              <a:gd name="connsiteY7" fmla="*/ 6855617 h 6858000"/>
              <a:gd name="connsiteX8" fmla="*/ 11454603 w 11454603"/>
              <a:gd name="connsiteY8" fmla="*/ 6858000 h 6858000"/>
              <a:gd name="connsiteX9" fmla="*/ 6937828 w 11454603"/>
              <a:gd name="connsiteY9" fmla="*/ 6858000 h 6858000"/>
              <a:gd name="connsiteX10" fmla="*/ 6937828 w 11454603"/>
              <a:gd name="connsiteY10" fmla="*/ 6855348 h 6858000"/>
              <a:gd name="connsiteX11" fmla="*/ 0 w 11454603"/>
              <a:gd name="connsiteY11" fmla="*/ 68549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454603" h="6858000">
                <a:moveTo>
                  <a:pt x="0" y="0"/>
                </a:moveTo>
                <a:lnTo>
                  <a:pt x="6937828" y="0"/>
                </a:lnTo>
                <a:lnTo>
                  <a:pt x="8026081" y="0"/>
                </a:lnTo>
                <a:lnTo>
                  <a:pt x="11454276" y="0"/>
                </a:lnTo>
                <a:lnTo>
                  <a:pt x="11454276" y="4867452"/>
                </a:lnTo>
                <a:lnTo>
                  <a:pt x="8025753" y="6855617"/>
                </a:lnTo>
                <a:lnTo>
                  <a:pt x="11454603" y="6855246"/>
                </a:lnTo>
                <a:lnTo>
                  <a:pt x="11454603" y="6855617"/>
                </a:lnTo>
                <a:lnTo>
                  <a:pt x="11454603" y="6858000"/>
                </a:lnTo>
                <a:lnTo>
                  <a:pt x="6937828" y="6858000"/>
                </a:lnTo>
                <a:lnTo>
                  <a:pt x="6937828" y="6855348"/>
                </a:lnTo>
                <a:lnTo>
                  <a:pt x="0" y="6854935"/>
                </a:lnTo>
                <a:close/>
              </a:path>
            </a:pathLst>
          </a:custGeom>
        </p:spPr>
        <p:txBody>
          <a:bodyPr wrap="square">
            <a:noAutofit/>
          </a:bodyPr>
          <a:lstStyle/>
          <a:p>
            <a:r>
              <a:rPr lang="en-US"/>
              <a:t>Click icon to add picture</a:t>
            </a:r>
            <a:endParaRPr lang="en-GB"/>
          </a:p>
        </p:txBody>
      </p:sp>
    </p:spTree>
    <p:extLst>
      <p:ext uri="{BB962C8B-B14F-4D97-AF65-F5344CB8AC3E}">
        <p14:creationId xmlns:p14="http://schemas.microsoft.com/office/powerpoint/2010/main" val="37012733"/>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5_Image">
    <p:bg>
      <p:bgPr>
        <a:solidFill>
          <a:schemeClr val="tx2"/>
        </a:solidFill>
        <a:effectLst/>
      </p:bgPr>
    </p:bg>
    <p:spTree>
      <p:nvGrpSpPr>
        <p:cNvPr id="1" name=""/>
        <p:cNvGrpSpPr/>
        <p:nvPr/>
      </p:nvGrpSpPr>
      <p:grpSpPr>
        <a:xfrm>
          <a:off x="0" y="0"/>
          <a:ext cx="0" cy="0"/>
          <a:chOff x="0" y="0"/>
          <a:chExt cx="0" cy="0"/>
        </a:xfrm>
      </p:grpSpPr>
      <p:pic>
        <p:nvPicPr>
          <p:cNvPr id="9" name="Picture 8" descr="A black and white grid&#10;&#10;Description automatically generated">
            <a:extLst>
              <a:ext uri="{FF2B5EF4-FFF2-40B4-BE49-F238E27FC236}">
                <a16:creationId xmlns:a16="http://schemas.microsoft.com/office/drawing/2014/main" id="{8DAC419C-4E22-175F-033C-E1564CB75407}"/>
              </a:ext>
            </a:extLst>
          </p:cNvPr>
          <p:cNvPicPr>
            <a:picLocks/>
          </p:cNvPicPr>
          <p:nvPr/>
        </p:nvPicPr>
        <p:blipFill>
          <a:blip r:embed="rId2" cstate="email">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2" name="Freeform: Shape 11">
            <a:extLst>
              <a:ext uri="{FF2B5EF4-FFF2-40B4-BE49-F238E27FC236}">
                <a16:creationId xmlns:a16="http://schemas.microsoft.com/office/drawing/2014/main" id="{3ECD1E6C-DD58-117F-DDFF-25F8827F730C}"/>
              </a:ext>
            </a:extLst>
          </p:cNvPr>
          <p:cNvSpPr/>
          <p:nvPr/>
        </p:nvSpPr>
        <p:spPr>
          <a:xfrm>
            <a:off x="0" y="0"/>
            <a:ext cx="11290300" cy="6858000"/>
          </a:xfrm>
          <a:custGeom>
            <a:avLst/>
            <a:gdLst>
              <a:gd name="connsiteX0" fmla="*/ 0 w 11290300"/>
              <a:gd name="connsiteY0" fmla="*/ 0 h 6858000"/>
              <a:gd name="connsiteX1" fmla="*/ 7618728 w 11290300"/>
              <a:gd name="connsiteY1" fmla="*/ 0 h 6858000"/>
              <a:gd name="connsiteX2" fmla="*/ 7618728 w 11290300"/>
              <a:gd name="connsiteY2" fmla="*/ 4869145 h 6858000"/>
              <a:gd name="connsiteX3" fmla="*/ 11290300 w 11290300"/>
              <a:gd name="connsiteY3" fmla="*/ 6858000 h 6858000"/>
              <a:gd name="connsiteX4" fmla="*/ 0 w 11290300"/>
              <a:gd name="connsiteY4" fmla="*/ 6857297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90300" h="6858000">
                <a:moveTo>
                  <a:pt x="0" y="0"/>
                </a:moveTo>
                <a:lnTo>
                  <a:pt x="7618728" y="0"/>
                </a:lnTo>
                <a:lnTo>
                  <a:pt x="7618728" y="4869145"/>
                </a:lnTo>
                <a:lnTo>
                  <a:pt x="11290300" y="6858000"/>
                </a:lnTo>
                <a:lnTo>
                  <a:pt x="0" y="6857297"/>
                </a:lnTo>
                <a:close/>
              </a:path>
            </a:pathLst>
          </a:cu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1275517319"/>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6_Image">
    <p:bg>
      <p:bgPr>
        <a:solidFill>
          <a:schemeClr val="bg1"/>
        </a:solidFill>
        <a:effectLst/>
      </p:bgPr>
    </p:bg>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E07DB3C3-378B-FF96-214E-5BF5211D8C28}"/>
              </a:ext>
            </a:extLst>
          </p:cNvPr>
          <p:cNvSpPr>
            <a:spLocks/>
          </p:cNvSpPr>
          <p:nvPr/>
        </p:nvSpPr>
        <p:spPr>
          <a:xfrm>
            <a:off x="0" y="0"/>
            <a:ext cx="12192000" cy="6858000"/>
          </a:xfrm>
          <a:custGeom>
            <a:avLst/>
            <a:gdLst>
              <a:gd name="connsiteX0" fmla="*/ 0 w 12192000"/>
              <a:gd name="connsiteY0" fmla="*/ 6854935 h 6858000"/>
              <a:gd name="connsiteX1" fmla="*/ 6858709 w 12192000"/>
              <a:gd name="connsiteY1" fmla="*/ 6855348 h 6858000"/>
              <a:gd name="connsiteX2" fmla="*/ 6858709 w 12192000"/>
              <a:gd name="connsiteY2" fmla="*/ 6858000 h 6858000"/>
              <a:gd name="connsiteX3" fmla="*/ 0 w 12192000"/>
              <a:gd name="connsiteY3" fmla="*/ 6858000 h 6858000"/>
              <a:gd name="connsiteX4" fmla="*/ 11323651 w 12192000"/>
              <a:gd name="connsiteY4" fmla="*/ 0 h 6858000"/>
              <a:gd name="connsiteX5" fmla="*/ 12192000 w 12192000"/>
              <a:gd name="connsiteY5" fmla="*/ 0 h 6858000"/>
              <a:gd name="connsiteX6" fmla="*/ 12192000 w 12192000"/>
              <a:gd name="connsiteY6" fmla="*/ 6858000 h 6858000"/>
              <a:gd name="connsiteX7" fmla="*/ 11323974 w 12192000"/>
              <a:gd name="connsiteY7" fmla="*/ 6858000 h 6858000"/>
              <a:gd name="connsiteX8" fmla="*/ 11323974 w 12192000"/>
              <a:gd name="connsiteY8" fmla="*/ 6855617 h 6858000"/>
              <a:gd name="connsiteX9" fmla="*/ 11323974 w 12192000"/>
              <a:gd name="connsiteY9" fmla="*/ 6855246 h 6858000"/>
              <a:gd name="connsiteX10" fmla="*/ 7934227 w 12192000"/>
              <a:gd name="connsiteY10" fmla="*/ 6855617 h 6858000"/>
              <a:gd name="connsiteX11" fmla="*/ 11323651 w 12192000"/>
              <a:gd name="connsiteY11" fmla="*/ 486745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6854935"/>
                </a:moveTo>
                <a:lnTo>
                  <a:pt x="6858709" y="6855348"/>
                </a:lnTo>
                <a:lnTo>
                  <a:pt x="6858709" y="6858000"/>
                </a:lnTo>
                <a:lnTo>
                  <a:pt x="0" y="6858000"/>
                </a:lnTo>
                <a:close/>
                <a:moveTo>
                  <a:pt x="11323651" y="0"/>
                </a:moveTo>
                <a:lnTo>
                  <a:pt x="12192000" y="0"/>
                </a:lnTo>
                <a:lnTo>
                  <a:pt x="12192000" y="6858000"/>
                </a:lnTo>
                <a:lnTo>
                  <a:pt x="11323974" y="6858000"/>
                </a:lnTo>
                <a:lnTo>
                  <a:pt x="11323974" y="6855617"/>
                </a:lnTo>
                <a:lnTo>
                  <a:pt x="11323974" y="6855246"/>
                </a:lnTo>
                <a:lnTo>
                  <a:pt x="7934227" y="6855617"/>
                </a:lnTo>
                <a:lnTo>
                  <a:pt x="11323651" y="4867452"/>
                </a:lnTo>
                <a:close/>
              </a:path>
            </a:pathLst>
          </a:cu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1930905834"/>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Blank">
    <p:bg>
      <p:bgPr>
        <a:solidFill>
          <a:srgbClr val="ECECE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7519864"/>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ection - Light">
    <p:bg>
      <p:bgPr>
        <a:solidFill>
          <a:srgbClr val="ECECED"/>
        </a:solidFill>
        <a:effectLst/>
      </p:bgPr>
    </p:bg>
    <p:spTree>
      <p:nvGrpSpPr>
        <p:cNvPr id="1" name=""/>
        <p:cNvGrpSpPr/>
        <p:nvPr/>
      </p:nvGrpSpPr>
      <p:grpSpPr>
        <a:xfrm>
          <a:off x="0" y="0"/>
          <a:ext cx="0" cy="0"/>
          <a:chOff x="0" y="0"/>
          <a:chExt cx="0" cy="0"/>
        </a:xfrm>
      </p:grpSpPr>
      <p:sp>
        <p:nvSpPr>
          <p:cNvPr id="9" name="Rektangel 8">
            <a:extLst>
              <a:ext uri="{FF2B5EF4-FFF2-40B4-BE49-F238E27FC236}">
                <a16:creationId xmlns:a16="http://schemas.microsoft.com/office/drawing/2014/main" id="{B1A78B10-20B6-4EE7-8426-92434380D4A2}"/>
              </a:ext>
            </a:extLst>
          </p:cNvPr>
          <p:cNvSpPr/>
          <p:nvPr/>
        </p:nvSpPr>
        <p:spPr>
          <a:xfrm>
            <a:off x="0" y="6453188"/>
            <a:ext cx="12192000" cy="404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el 1">
            <a:extLst>
              <a:ext uri="{FF2B5EF4-FFF2-40B4-BE49-F238E27FC236}">
                <a16:creationId xmlns:a16="http://schemas.microsoft.com/office/drawing/2014/main" id="{0C821071-8A74-4DC0-9057-83E313D465BF}"/>
              </a:ext>
            </a:extLst>
          </p:cNvPr>
          <p:cNvSpPr>
            <a:spLocks noGrp="1"/>
          </p:cNvSpPr>
          <p:nvPr>
            <p:ph type="title" hasCustomPrompt="1"/>
          </p:nvPr>
        </p:nvSpPr>
        <p:spPr>
          <a:xfrm>
            <a:off x="1936800" y="1298223"/>
            <a:ext cx="9926793" cy="987281"/>
          </a:xfrm>
        </p:spPr>
        <p:txBody>
          <a:bodyPr tIns="0" anchor="ctr" anchorCtr="0">
            <a:noAutofit/>
          </a:bodyPr>
          <a:lstStyle>
            <a:lvl1pPr>
              <a:defRPr sz="6000"/>
            </a:lvl1pPr>
          </a:lstStyle>
          <a:p>
            <a:r>
              <a:rPr lang="en-GB" noProof="0"/>
              <a:t>Section title</a:t>
            </a:r>
          </a:p>
        </p:txBody>
      </p:sp>
      <p:sp>
        <p:nvSpPr>
          <p:cNvPr id="8" name="Pladsholder til tekst 7">
            <a:extLst>
              <a:ext uri="{FF2B5EF4-FFF2-40B4-BE49-F238E27FC236}">
                <a16:creationId xmlns:a16="http://schemas.microsoft.com/office/drawing/2014/main" id="{B2D8C62A-09FC-4E14-8159-9C623394986B}"/>
              </a:ext>
            </a:extLst>
          </p:cNvPr>
          <p:cNvSpPr>
            <a:spLocks noGrp="1"/>
          </p:cNvSpPr>
          <p:nvPr>
            <p:ph type="body" sz="quarter" idx="13" hasCustomPrompt="1"/>
          </p:nvPr>
        </p:nvSpPr>
        <p:spPr>
          <a:xfrm>
            <a:off x="561600" y="1275251"/>
            <a:ext cx="972000" cy="936000"/>
          </a:xfrm>
          <a:ln w="88900">
            <a:solidFill>
              <a:schemeClr val="accent3"/>
            </a:solidFill>
            <a:miter lim="800000"/>
          </a:ln>
        </p:spPr>
        <p:txBody>
          <a:bodyPr lIns="144000" tIns="144000" rIns="144000" bIns="144000" anchor="ctr">
            <a:noAutofit/>
          </a:bodyPr>
          <a:lstStyle>
            <a:lvl1pPr marL="0" indent="0" algn="ctr">
              <a:buFontTx/>
              <a:buNone/>
              <a:defRPr sz="4200" b="0">
                <a:ln>
                  <a:noFill/>
                </a:ln>
                <a:solidFill>
                  <a:schemeClr val="accent3"/>
                </a:solidFill>
                <a:latin typeface="Roboto Black" panose="02000000000000000000" pitchFamily="2" charset="0"/>
                <a:ea typeface="Roboto Black" panose="02000000000000000000" pitchFamily="2" charset="0"/>
              </a:defRPr>
            </a:lvl1pPr>
          </a:lstStyle>
          <a:p>
            <a:pPr lvl="0"/>
            <a:r>
              <a:rPr lang="da-DK"/>
              <a:t>#</a:t>
            </a:r>
            <a:endParaRPr lang="en-GB"/>
          </a:p>
        </p:txBody>
      </p:sp>
      <p:pic>
        <p:nvPicPr>
          <p:cNvPr id="7" name="Picture 6" descr="Logo, icon&#10;&#10;Description automatically generated">
            <a:extLst>
              <a:ext uri="{FF2B5EF4-FFF2-40B4-BE49-F238E27FC236}">
                <a16:creationId xmlns:a16="http://schemas.microsoft.com/office/drawing/2014/main" id="{65C8FF18-FE6B-2323-65A9-66FD56AE1D3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887958" y="6560348"/>
            <a:ext cx="863707" cy="195758"/>
          </a:xfrm>
          <a:prstGeom prst="rect">
            <a:avLst/>
          </a:prstGeom>
        </p:spPr>
      </p:pic>
    </p:spTree>
    <p:extLst>
      <p:ext uri="{BB962C8B-B14F-4D97-AF65-F5344CB8AC3E}">
        <p14:creationId xmlns:p14="http://schemas.microsoft.com/office/powerpoint/2010/main" val="85079224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VT">
    <p:bg>
      <p:bgPr>
        <a:solidFill>
          <a:schemeClr val="tx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B353ACA9-6277-6442-D2A4-01627FC7AF93}"/>
              </a:ext>
            </a:extLst>
          </p:cNvPr>
          <p:cNvSpPr txBox="1">
            <a:spLocks/>
          </p:cNvSpPr>
          <p:nvPr/>
        </p:nvSpPr>
        <p:spPr>
          <a:xfrm>
            <a:off x="6858000" y="952500"/>
            <a:ext cx="4546600" cy="5105400"/>
          </a:xfrm>
          <a:prstGeom prst="rect">
            <a:avLst/>
          </a:prstGeom>
        </p:spPr>
        <p:txBody>
          <a:bodyPr vert="horz" lIns="91440" tIns="216000" rIns="91440" bIns="45720" rtlCol="0" anchor="ctr" anchorCtr="0">
            <a:normAutofit/>
          </a:bodyPr>
          <a:lstStyle>
            <a:lvl1pPr algn="ctr" defTabSz="914400" rtl="0" eaLnBrk="1" latinLnBrk="0" hangingPunct="1">
              <a:lnSpc>
                <a:spcPct val="70000"/>
              </a:lnSpc>
              <a:spcBef>
                <a:spcPct val="0"/>
              </a:spcBef>
              <a:buNone/>
              <a:defRPr sz="6000" b="1" kern="1200" cap="all" baseline="0">
                <a:solidFill>
                  <a:schemeClr val="bg1"/>
                </a:solidFill>
                <a:latin typeface="+mj-lt"/>
                <a:ea typeface="+mj-ea"/>
                <a:cs typeface="+mj-cs"/>
              </a:defRPr>
            </a:lvl1pPr>
          </a:lstStyle>
          <a:p>
            <a:endParaRPr lang="en-GB">
              <a:solidFill>
                <a:schemeClr val="tx1"/>
              </a:solidFill>
            </a:endParaRPr>
          </a:p>
        </p:txBody>
      </p:sp>
      <p:sp>
        <p:nvSpPr>
          <p:cNvPr id="8" name="Title 1">
            <a:extLst>
              <a:ext uri="{FF2B5EF4-FFF2-40B4-BE49-F238E27FC236}">
                <a16:creationId xmlns:a16="http://schemas.microsoft.com/office/drawing/2014/main" id="{DF88F7F5-85EB-DA79-690C-65C244B084DA}"/>
              </a:ext>
            </a:extLst>
          </p:cNvPr>
          <p:cNvSpPr>
            <a:spLocks noGrp="1"/>
          </p:cNvSpPr>
          <p:nvPr>
            <p:ph type="ctrTitle"/>
          </p:nvPr>
        </p:nvSpPr>
        <p:spPr>
          <a:xfrm>
            <a:off x="431165" y="3733800"/>
            <a:ext cx="10452100" cy="2019300"/>
          </a:xfrm>
        </p:spPr>
        <p:txBody>
          <a:bodyPr wrap="square" anchor="ctr" anchorCtr="0">
            <a:noAutofit/>
          </a:bodyPr>
          <a:lstStyle>
            <a:lvl1pPr algn="l">
              <a:defRPr sz="6800">
                <a:solidFill>
                  <a:schemeClr val="bg1"/>
                </a:solidFill>
              </a:defRPr>
            </a:lvl1pPr>
          </a:lstStyle>
          <a:p>
            <a:r>
              <a:rPr lang="en-US"/>
              <a:t>Click to edit Master title style</a:t>
            </a:r>
            <a:endParaRPr lang="en-GB"/>
          </a:p>
        </p:txBody>
      </p:sp>
      <p:sp>
        <p:nvSpPr>
          <p:cNvPr id="5" name="[T2O] TextBox 4">
            <a:extLst>
              <a:ext uri="{FF2B5EF4-FFF2-40B4-BE49-F238E27FC236}">
                <a16:creationId xmlns:a16="http://schemas.microsoft.com/office/drawing/2014/main" id="{1171D304-48BB-4E3E-CF23-52A1B70C8D11}"/>
              </a:ext>
            </a:extLst>
          </p:cNvPr>
          <p:cNvSpPr/>
          <p:nvPr/>
        </p:nvSpPr>
        <p:spPr>
          <a:xfrm>
            <a:off x="431165" y="493527"/>
            <a:ext cx="3874135" cy="2733467"/>
          </a:xfrm>
          <a:custGeom>
            <a:avLst/>
            <a:gdLst/>
            <a:ahLst/>
            <a:cxnLst/>
            <a:rect l="l" t="t" r="r" b="b"/>
            <a:pathLst>
              <a:path w="2876151" h="2029321">
                <a:moveTo>
                  <a:pt x="1566948" y="0"/>
                </a:moveTo>
                <a:lnTo>
                  <a:pt x="2876151" y="0"/>
                </a:lnTo>
                <a:lnTo>
                  <a:pt x="2876151" y="494891"/>
                </a:lnTo>
                <a:lnTo>
                  <a:pt x="2526726" y="494891"/>
                </a:lnTo>
                <a:lnTo>
                  <a:pt x="2526726" y="2029321"/>
                </a:lnTo>
                <a:lnTo>
                  <a:pt x="1916373" y="2029321"/>
                </a:lnTo>
                <a:lnTo>
                  <a:pt x="1916373" y="494891"/>
                </a:lnTo>
                <a:lnTo>
                  <a:pt x="1566948" y="494891"/>
                </a:lnTo>
                <a:close/>
                <a:moveTo>
                  <a:pt x="0" y="0"/>
                </a:moveTo>
                <a:lnTo>
                  <a:pt x="628811" y="0"/>
                </a:lnTo>
                <a:lnTo>
                  <a:pt x="768546" y="1090604"/>
                </a:lnTo>
                <a:lnTo>
                  <a:pt x="777660" y="1090604"/>
                </a:lnTo>
                <a:lnTo>
                  <a:pt x="920433" y="0"/>
                </a:lnTo>
                <a:lnTo>
                  <a:pt x="1534050" y="0"/>
                </a:lnTo>
                <a:lnTo>
                  <a:pt x="1087508" y="2029321"/>
                </a:lnTo>
                <a:lnTo>
                  <a:pt x="452622" y="2029321"/>
                </a:lnTo>
                <a:close/>
              </a:path>
            </a:pathLst>
          </a:custGeom>
          <a:solidFill>
            <a:schemeClr val="bg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66697930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Presentation Title + Hero - Dark">
    <p:bg>
      <p:bgPr>
        <a:solidFill>
          <a:srgbClr val="E9E9E9"/>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009710-6EB2-4931-A331-58D092BCD222}"/>
              </a:ext>
            </a:extLst>
          </p:cNvPr>
          <p:cNvSpPr>
            <a:spLocks noGrp="1"/>
          </p:cNvSpPr>
          <p:nvPr>
            <p:ph type="ctrTitle" hasCustomPrompt="1"/>
          </p:nvPr>
        </p:nvSpPr>
        <p:spPr>
          <a:xfrm>
            <a:off x="931735" y="3089770"/>
            <a:ext cx="5430285" cy="1452705"/>
          </a:xfrm>
          <a:ln>
            <a:noFill/>
          </a:ln>
        </p:spPr>
        <p:txBody>
          <a:bodyPr wrap="square" tIns="0" anchor="t" anchorCtr="0">
            <a:spAutoFit/>
          </a:bodyPr>
          <a:lstStyle>
            <a:lvl1pPr algn="l">
              <a:lnSpc>
                <a:spcPct val="78000"/>
              </a:lnSpc>
              <a:spcBef>
                <a:spcPts val="0"/>
              </a:spcBef>
              <a:defRPr sz="6000" kern="0" cap="all" spc="-150" baseline="0">
                <a:solidFill>
                  <a:schemeClr val="accent1"/>
                </a:solidFill>
              </a:defRPr>
            </a:lvl1pPr>
          </a:lstStyle>
          <a:p>
            <a:r>
              <a:rPr lang="en-GB" noProof="0"/>
              <a:t>Presentation Title</a:t>
            </a:r>
          </a:p>
        </p:txBody>
      </p:sp>
      <p:pic>
        <p:nvPicPr>
          <p:cNvPr id="8" name="Goldeen section" hidden="1">
            <a:extLst>
              <a:ext uri="{FF2B5EF4-FFF2-40B4-BE49-F238E27FC236}">
                <a16:creationId xmlns:a16="http://schemas.microsoft.com/office/drawing/2014/main" id="{1C37A3E4-61AF-6910-488A-078111388755}"/>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flipH="1">
            <a:off x="566351" y="-9184"/>
            <a:ext cx="11074106" cy="6867183"/>
          </a:xfrm>
          <a:prstGeom prst="rect">
            <a:avLst/>
          </a:prstGeom>
        </p:spPr>
      </p:pic>
      <p:pic>
        <p:nvPicPr>
          <p:cNvPr id="7" name="Picture 6">
            <a:extLst>
              <a:ext uri="{FF2B5EF4-FFF2-40B4-BE49-F238E27FC236}">
                <a16:creationId xmlns:a16="http://schemas.microsoft.com/office/drawing/2014/main" id="{CF2AC3B6-50F3-309C-AEA6-995FC3EE6D8E}"/>
              </a:ext>
            </a:extLst>
          </p:cNvPr>
          <p:cNvPicPr>
            <a:picLocks/>
          </p:cNvPicPr>
          <p:nvPr userDrawn="1"/>
        </p:nvPicPr>
        <p:blipFill rotWithShape="1">
          <a:blip r:embed="rId4" cstate="email">
            <a:extLst>
              <a:ext uri="{28A0092B-C50C-407E-A947-70E740481C1C}">
                <a14:useLocalDpi xmlns:a14="http://schemas.microsoft.com/office/drawing/2010/main"/>
              </a:ext>
            </a:extLst>
          </a:blip>
          <a:srcRect/>
          <a:stretch/>
        </p:blipFill>
        <p:spPr>
          <a:xfrm>
            <a:off x="982535" y="0"/>
            <a:ext cx="1612901" cy="711200"/>
          </a:xfrm>
          <a:prstGeom prst="rect">
            <a:avLst/>
          </a:prstGeom>
        </p:spPr>
      </p:pic>
      <p:pic>
        <p:nvPicPr>
          <p:cNvPr id="6" name="Picture 5">
            <a:extLst>
              <a:ext uri="{FF2B5EF4-FFF2-40B4-BE49-F238E27FC236}">
                <a16:creationId xmlns:a16="http://schemas.microsoft.com/office/drawing/2014/main" id="{B1412AA3-84D4-142A-7652-54997F628411}"/>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6493385" y="-1"/>
            <a:ext cx="5698615" cy="6858001"/>
          </a:xfrm>
          <a:prstGeom prst="rect">
            <a:avLst/>
          </a:prstGeom>
        </p:spPr>
      </p:pic>
    </p:spTree>
    <p:extLst>
      <p:ext uri="{BB962C8B-B14F-4D97-AF65-F5344CB8AC3E}">
        <p14:creationId xmlns:p14="http://schemas.microsoft.com/office/powerpoint/2010/main" val="52794305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Thank You - Light">
    <p:spTree>
      <p:nvGrpSpPr>
        <p:cNvPr id="1" name=""/>
        <p:cNvGrpSpPr/>
        <p:nvPr/>
      </p:nvGrpSpPr>
      <p:grpSpPr>
        <a:xfrm>
          <a:off x="0" y="0"/>
          <a:ext cx="0" cy="0"/>
          <a:chOff x="0" y="0"/>
          <a:chExt cx="0" cy="0"/>
        </a:xfrm>
      </p:grpSpPr>
      <p:pic>
        <p:nvPicPr>
          <p:cNvPr id="9" name="Picture 8" descr="A black and white grid&#10;&#10;Description automatically generated">
            <a:extLst>
              <a:ext uri="{FF2B5EF4-FFF2-40B4-BE49-F238E27FC236}">
                <a16:creationId xmlns:a16="http://schemas.microsoft.com/office/drawing/2014/main" id="{4EA2963B-C161-E6B4-6C12-83C678849E09}"/>
              </a:ext>
            </a:extLst>
          </p:cNvPr>
          <p:cNvPicPr>
            <a:picLocks/>
          </p:cNvPicPr>
          <p:nvPr/>
        </p:nvPicPr>
        <p:blipFill>
          <a:blip r:embed="rId2" cstate="email">
            <a:alphaModFix amt="35000"/>
            <a:extLst>
              <a:ext uri="{28A0092B-C50C-407E-A947-70E740481C1C}">
                <a14:useLocalDpi xmlns:a14="http://schemas.microsoft.com/office/drawing/2010/main"/>
              </a:ext>
            </a:extLst>
          </a:blip>
          <a:stretch>
            <a:fillRect/>
          </a:stretch>
        </p:blipFill>
        <p:spPr>
          <a:xfrm>
            <a:off x="12700" y="0"/>
            <a:ext cx="12192000" cy="6858000"/>
          </a:xfrm>
          <a:prstGeom prst="rect">
            <a:avLst/>
          </a:prstGeom>
        </p:spPr>
      </p:pic>
      <p:pic>
        <p:nvPicPr>
          <p:cNvPr id="12" name="Picture 11">
            <a:extLst>
              <a:ext uri="{FF2B5EF4-FFF2-40B4-BE49-F238E27FC236}">
                <a16:creationId xmlns:a16="http://schemas.microsoft.com/office/drawing/2014/main" id="{8CDD1C5F-B3B2-92B4-C1C3-F399276F4B8D}"/>
              </a:ext>
            </a:extLst>
          </p:cNvPr>
          <p:cNvPicPr>
            <a:picLocks/>
          </p:cNvPicPr>
          <p:nvPr/>
        </p:nvPicPr>
        <p:blipFill rotWithShape="1">
          <a:blip r:embed="rId3" cstate="email">
            <a:extLst>
              <a:ext uri="{28A0092B-C50C-407E-A947-70E740481C1C}">
                <a14:useLocalDpi xmlns:a14="http://schemas.microsoft.com/office/drawing/2010/main"/>
              </a:ext>
            </a:extLst>
          </a:blip>
          <a:srcRect/>
          <a:stretch/>
        </p:blipFill>
        <p:spPr>
          <a:xfrm>
            <a:off x="10261599" y="0"/>
            <a:ext cx="1612901" cy="711200"/>
          </a:xfrm>
          <a:prstGeom prst="rect">
            <a:avLst/>
          </a:prstGeom>
        </p:spPr>
      </p:pic>
      <p:sp>
        <p:nvSpPr>
          <p:cNvPr id="14" name="object 4">
            <a:extLst>
              <a:ext uri="{FF2B5EF4-FFF2-40B4-BE49-F238E27FC236}">
                <a16:creationId xmlns:a16="http://schemas.microsoft.com/office/drawing/2014/main" id="{1A0F6E34-4CDC-458F-B40F-A3DDE05F9BC3}"/>
              </a:ext>
            </a:extLst>
          </p:cNvPr>
          <p:cNvSpPr txBox="1">
            <a:spLocks/>
          </p:cNvSpPr>
          <p:nvPr/>
        </p:nvSpPr>
        <p:spPr>
          <a:xfrm>
            <a:off x="3057567" y="2242234"/>
            <a:ext cx="4620656" cy="950041"/>
          </a:xfrm>
          <a:prstGeom prst="rect">
            <a:avLst/>
          </a:prstGeom>
        </p:spPr>
        <p:txBody>
          <a:bodyPr vert="horz" wrap="square" lIns="0" tIns="216000" rIns="0" bIns="0" rtlCol="0">
            <a:noAutofit/>
          </a:bodyPr>
          <a:lstStyle>
            <a:lvl1pPr>
              <a:defRPr>
                <a:latin typeface="+mj-lt"/>
                <a:ea typeface="+mj-ea"/>
                <a:cs typeface="+mj-cs"/>
              </a:defRPr>
            </a:lvl1pPr>
          </a:lstStyle>
          <a:p>
            <a:pPr marL="34925" marR="5080">
              <a:lnSpc>
                <a:spcPct val="70000"/>
              </a:lnSpc>
              <a:spcBef>
                <a:spcPts val="1695"/>
              </a:spcBef>
            </a:pPr>
            <a:r>
              <a:rPr lang="en-GB" sz="9600" b="1" kern="0" spc="-90">
                <a:solidFill>
                  <a:srgbClr val="878786"/>
                </a:solidFill>
                <a:latin typeface="Roboto Condensed" panose="02000000000000000000" pitchFamily="2" charset="0"/>
                <a:ea typeface="Roboto Condensed" panose="02000000000000000000" pitchFamily="2" charset="0"/>
              </a:rPr>
              <a:t>THANK </a:t>
            </a:r>
            <a:r>
              <a:rPr lang="en-GB" sz="9600" b="1" kern="0" spc="-90">
                <a:solidFill>
                  <a:schemeClr val="tx2"/>
                </a:solidFill>
                <a:latin typeface="Roboto Condensed" panose="02000000000000000000" pitchFamily="2" charset="0"/>
                <a:ea typeface="Roboto Condensed" panose="02000000000000000000" pitchFamily="2" charset="0"/>
              </a:rPr>
              <a:t>YOU</a:t>
            </a:r>
            <a:endParaRPr lang="en-GB" sz="1200" kern="0">
              <a:solidFill>
                <a:schemeClr val="tx2"/>
              </a:solidFill>
              <a:latin typeface="Roboto"/>
              <a:cs typeface="Roboto"/>
            </a:endParaRPr>
          </a:p>
        </p:txBody>
      </p:sp>
      <p:sp>
        <p:nvSpPr>
          <p:cNvPr id="11" name="Pladsholder til tekst 10">
            <a:extLst>
              <a:ext uri="{FF2B5EF4-FFF2-40B4-BE49-F238E27FC236}">
                <a16:creationId xmlns:a16="http://schemas.microsoft.com/office/drawing/2014/main" id="{52DFEA04-1E51-4A9D-9F2B-8686E2B6D942}"/>
              </a:ext>
            </a:extLst>
          </p:cNvPr>
          <p:cNvSpPr>
            <a:spLocks noGrp="1"/>
          </p:cNvSpPr>
          <p:nvPr>
            <p:ph type="body" sz="quarter" idx="22" hasCustomPrompt="1"/>
          </p:nvPr>
        </p:nvSpPr>
        <p:spPr>
          <a:xfrm>
            <a:off x="3121067" y="4634843"/>
            <a:ext cx="3838533" cy="717501"/>
          </a:xfrm>
        </p:spPr>
        <p:txBody>
          <a:bodyPr tIns="0" bIns="0" anchor="t" anchorCtr="0">
            <a:noAutofit/>
          </a:bodyPr>
          <a:lstStyle>
            <a:lvl1pPr marL="0" indent="0">
              <a:buNone/>
              <a:defRPr sz="1800" b="1">
                <a:solidFill>
                  <a:schemeClr val="accent3"/>
                </a:solidFill>
              </a:defRPr>
            </a:lvl1pPr>
            <a:lvl2pPr marL="239400" indent="0">
              <a:buNone/>
              <a:defRPr>
                <a:solidFill>
                  <a:schemeClr val="bg1"/>
                </a:solidFill>
              </a:defRPr>
            </a:lvl2pPr>
            <a:lvl3pPr marL="473400" indent="0">
              <a:buNone/>
              <a:defRPr>
                <a:solidFill>
                  <a:schemeClr val="bg1"/>
                </a:solidFill>
              </a:defRPr>
            </a:lvl3pPr>
            <a:lvl4pPr marL="707400" indent="0">
              <a:buNone/>
              <a:defRPr>
                <a:solidFill>
                  <a:schemeClr val="bg1"/>
                </a:solidFill>
              </a:defRPr>
            </a:lvl4pPr>
            <a:lvl5pPr marL="923400" indent="0">
              <a:buNone/>
              <a:defRPr>
                <a:solidFill>
                  <a:schemeClr val="bg1"/>
                </a:solidFill>
              </a:defRPr>
            </a:lvl5pPr>
          </a:lstStyle>
          <a:p>
            <a:pPr lvl="0"/>
            <a:r>
              <a:rPr lang="da-DK" err="1"/>
              <a:t>Add</a:t>
            </a:r>
            <a:r>
              <a:rPr lang="da-DK"/>
              <a:t> </a:t>
            </a:r>
            <a:r>
              <a:rPr lang="da-DK" err="1"/>
              <a:t>contact</a:t>
            </a:r>
            <a:r>
              <a:rPr lang="da-DK"/>
              <a:t> info, </a:t>
            </a:r>
            <a:r>
              <a:rPr lang="da-DK" err="1"/>
              <a:t>address</a:t>
            </a:r>
            <a:r>
              <a:rPr lang="da-DK"/>
              <a:t>, </a:t>
            </a:r>
            <a:r>
              <a:rPr lang="da-DK" err="1"/>
              <a:t>email</a:t>
            </a:r>
            <a:r>
              <a:rPr lang="da-DK"/>
              <a:t> etc.</a:t>
            </a:r>
          </a:p>
        </p:txBody>
      </p:sp>
      <p:pic>
        <p:nvPicPr>
          <p:cNvPr id="5" name="Picture 4" descr="A group of people standing in a doorway&#10;&#10;Description automatically generated">
            <a:extLst>
              <a:ext uri="{FF2B5EF4-FFF2-40B4-BE49-F238E27FC236}">
                <a16:creationId xmlns:a16="http://schemas.microsoft.com/office/drawing/2014/main" id="{828A622D-5040-35AE-81F0-E115AF94128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185777" y="1450720"/>
            <a:ext cx="2326524" cy="3901624"/>
          </a:xfrm>
          <a:prstGeom prst="rect">
            <a:avLst/>
          </a:prstGeom>
        </p:spPr>
      </p:pic>
    </p:spTree>
    <p:extLst>
      <p:ext uri="{BB962C8B-B14F-4D97-AF65-F5344CB8AC3E}">
        <p14:creationId xmlns:p14="http://schemas.microsoft.com/office/powerpoint/2010/main" val="354370002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Content + Image - Light">
    <p:bg>
      <p:bgPr>
        <a:solidFill>
          <a:srgbClr val="ECECED"/>
        </a:solidFill>
        <a:effectLst/>
      </p:bgPr>
    </p:bg>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F6425D13-9A1B-4760-9173-66541B3DE401}"/>
              </a:ext>
            </a:extLst>
          </p:cNvPr>
          <p:cNvSpPr/>
          <p:nvPr userDrawn="1"/>
        </p:nvSpPr>
        <p:spPr>
          <a:xfrm>
            <a:off x="0" y="6453188"/>
            <a:ext cx="12192000" cy="404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el 1">
            <a:extLst>
              <a:ext uri="{FF2B5EF4-FFF2-40B4-BE49-F238E27FC236}">
                <a16:creationId xmlns:a16="http://schemas.microsoft.com/office/drawing/2014/main" id="{20DD5FC8-A4F2-4F9F-A6C1-F40DB3F38D2D}"/>
              </a:ext>
            </a:extLst>
          </p:cNvPr>
          <p:cNvSpPr>
            <a:spLocks noGrp="1"/>
          </p:cNvSpPr>
          <p:nvPr>
            <p:ph type="title" hasCustomPrompt="1"/>
          </p:nvPr>
        </p:nvSpPr>
        <p:spPr>
          <a:xfrm>
            <a:off x="514800" y="334800"/>
            <a:ext cx="5436738" cy="554400"/>
          </a:xfrm>
        </p:spPr>
        <p:txBody>
          <a:bodyPr anchor="t" anchorCtr="0">
            <a:noAutofit/>
          </a:bodyPr>
          <a:lstStyle>
            <a:lvl1pPr>
              <a:defRPr sz="3600"/>
            </a:lvl1pPr>
          </a:lstStyle>
          <a:p>
            <a:r>
              <a:rPr lang="en-GB" noProof="0"/>
              <a:t>Add heading</a:t>
            </a:r>
          </a:p>
        </p:txBody>
      </p:sp>
      <p:sp>
        <p:nvSpPr>
          <p:cNvPr id="3" name="Pladsholder til billede 2">
            <a:extLst>
              <a:ext uri="{FF2B5EF4-FFF2-40B4-BE49-F238E27FC236}">
                <a16:creationId xmlns:a16="http://schemas.microsoft.com/office/drawing/2014/main" id="{5BDAB1EB-D25D-4C31-8262-45394195B7D8}"/>
              </a:ext>
            </a:extLst>
          </p:cNvPr>
          <p:cNvSpPr>
            <a:spLocks noGrp="1"/>
          </p:cNvSpPr>
          <p:nvPr>
            <p:ph type="pic" idx="1" hasCustomPrompt="1"/>
          </p:nvPr>
        </p:nvSpPr>
        <p:spPr>
          <a:xfrm>
            <a:off x="6240464" y="0"/>
            <a:ext cx="5951536" cy="6453188"/>
          </a:xfrm>
        </p:spPr>
        <p:txBody>
          <a:bodyPr tIns="792000" anchor="ctr" anchorCtr="1">
            <a:normAutofit/>
          </a:bodyPr>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to insert image</a:t>
            </a:r>
          </a:p>
        </p:txBody>
      </p:sp>
      <p:sp>
        <p:nvSpPr>
          <p:cNvPr id="4" name="Pladsholder til tekst 3">
            <a:extLst>
              <a:ext uri="{FF2B5EF4-FFF2-40B4-BE49-F238E27FC236}">
                <a16:creationId xmlns:a16="http://schemas.microsoft.com/office/drawing/2014/main" id="{835DAC81-9607-4A0D-87D2-0691ECE02B42}"/>
              </a:ext>
            </a:extLst>
          </p:cNvPr>
          <p:cNvSpPr>
            <a:spLocks noGrp="1"/>
          </p:cNvSpPr>
          <p:nvPr>
            <p:ph type="body" sz="half" idx="2" hasCustomPrompt="1"/>
          </p:nvPr>
        </p:nvSpPr>
        <p:spPr>
          <a:xfrm>
            <a:off x="514800" y="1376362"/>
            <a:ext cx="5436738" cy="4968876"/>
          </a:xfrm>
        </p:spPr>
        <p:txBody>
          <a:bodyP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noProof="0"/>
              <a:t>Add content</a:t>
            </a:r>
          </a:p>
        </p:txBody>
      </p:sp>
      <p:sp>
        <p:nvSpPr>
          <p:cNvPr id="5" name="Pladsholder til dato 4">
            <a:extLst>
              <a:ext uri="{FF2B5EF4-FFF2-40B4-BE49-F238E27FC236}">
                <a16:creationId xmlns:a16="http://schemas.microsoft.com/office/drawing/2014/main" id="{C1063DE5-C438-425D-9D21-D8E9A373DAF8}"/>
              </a:ext>
            </a:extLst>
          </p:cNvPr>
          <p:cNvSpPr>
            <a:spLocks noGrp="1"/>
          </p:cNvSpPr>
          <p:nvPr>
            <p:ph type="dt" sz="half" idx="10"/>
          </p:nvPr>
        </p:nvSpPr>
        <p:spPr/>
        <p:txBody>
          <a:bodyPr/>
          <a:lstStyle/>
          <a:p>
            <a:fld id="{65EFFBCB-3A2E-46AB-9574-82A9AA71B8D7}" type="datetime4">
              <a:rPr lang="en-GB" smtClean="0"/>
              <a:t>12 February 2024</a:t>
            </a:fld>
            <a:endParaRPr lang="en-GB"/>
          </a:p>
        </p:txBody>
      </p:sp>
      <p:sp>
        <p:nvSpPr>
          <p:cNvPr id="7" name="Pladsholder til slidenummer 6">
            <a:extLst>
              <a:ext uri="{FF2B5EF4-FFF2-40B4-BE49-F238E27FC236}">
                <a16:creationId xmlns:a16="http://schemas.microsoft.com/office/drawing/2014/main" id="{70440D71-0929-4526-89FF-11702F1837BA}"/>
              </a:ext>
            </a:extLst>
          </p:cNvPr>
          <p:cNvSpPr>
            <a:spLocks noGrp="1"/>
          </p:cNvSpPr>
          <p:nvPr>
            <p:ph type="sldNum" sz="quarter" idx="12"/>
          </p:nvPr>
        </p:nvSpPr>
        <p:spPr/>
        <p:txBody>
          <a:bodyPr/>
          <a:lstStyle/>
          <a:p>
            <a:fld id="{EA97C5ED-C1DE-4316-8FCE-7E084E7B171C}" type="slidenum">
              <a:rPr lang="en-GB" smtClean="0"/>
              <a:t>‹#›</a:t>
            </a:fld>
            <a:endParaRPr lang="en-GB"/>
          </a:p>
        </p:txBody>
      </p:sp>
      <p:sp>
        <p:nvSpPr>
          <p:cNvPr id="12" name="Pladsholder til tekst 9">
            <a:extLst>
              <a:ext uri="{FF2B5EF4-FFF2-40B4-BE49-F238E27FC236}">
                <a16:creationId xmlns:a16="http://schemas.microsoft.com/office/drawing/2014/main" id="{2DF67386-C449-4773-98FA-E90C87B008C1}"/>
              </a:ext>
            </a:extLst>
          </p:cNvPr>
          <p:cNvSpPr>
            <a:spLocks noGrp="1"/>
          </p:cNvSpPr>
          <p:nvPr>
            <p:ph type="body" sz="quarter" idx="13" hasCustomPrompt="1"/>
          </p:nvPr>
        </p:nvSpPr>
        <p:spPr>
          <a:xfrm>
            <a:off x="514800" y="900000"/>
            <a:ext cx="5436738" cy="223374"/>
          </a:xfrm>
        </p:spPr>
        <p:txBody>
          <a:bodyPr wrap="none" tIns="0" bIns="0" anchor="b">
            <a:noAutofit/>
          </a:bodyPr>
          <a:lstStyle>
            <a:lvl1pPr marL="0" indent="0">
              <a:buFontTx/>
              <a:buNone/>
              <a:defRPr sz="1400" b="1">
                <a:solidFill>
                  <a:schemeClr val="tx2"/>
                </a:solidFill>
                <a:latin typeface="Roboto" panose="02000000000000000000" pitchFamily="2" charset="0"/>
                <a:ea typeface="Roboto" panose="02000000000000000000" pitchFamily="2" charset="0"/>
                <a:cs typeface="Roboto Black" panose="02000000000000000000" pitchFamily="2" charset="0"/>
              </a:defRPr>
            </a:lvl1pPr>
            <a:lvl2pPr marL="457200" indent="0">
              <a:buFontTx/>
              <a:buNone/>
              <a:defRPr>
                <a:solidFill>
                  <a:schemeClr val="tx2"/>
                </a:solidFill>
              </a:defRPr>
            </a:lvl2pPr>
            <a:lvl3pPr marL="914400" indent="0">
              <a:buFontTx/>
              <a:buNone/>
              <a:defRPr>
                <a:solidFill>
                  <a:schemeClr val="tx2"/>
                </a:solidFill>
              </a:defRPr>
            </a:lvl3pPr>
            <a:lvl4pPr marL="1371600" indent="0">
              <a:buFontTx/>
              <a:buNone/>
              <a:defRPr>
                <a:solidFill>
                  <a:schemeClr val="tx2"/>
                </a:solidFill>
              </a:defRPr>
            </a:lvl4pPr>
            <a:lvl5pPr marL="1828800" indent="0">
              <a:buFontTx/>
              <a:buNone/>
              <a:defRPr>
                <a:solidFill>
                  <a:schemeClr val="tx2"/>
                </a:solidFill>
              </a:defRPr>
            </a:lvl5pPr>
          </a:lstStyle>
          <a:p>
            <a:pPr lvl="0"/>
            <a:r>
              <a:rPr lang="en-GB" noProof="0"/>
              <a:t>Add subheading</a:t>
            </a:r>
          </a:p>
        </p:txBody>
      </p:sp>
      <p:pic>
        <p:nvPicPr>
          <p:cNvPr id="10" name="Picture 9" descr="Logo, icon&#10;&#10;Description automatically generated">
            <a:extLst>
              <a:ext uri="{FF2B5EF4-FFF2-40B4-BE49-F238E27FC236}">
                <a16:creationId xmlns:a16="http://schemas.microsoft.com/office/drawing/2014/main" id="{2D6C80CE-1A05-09E7-A60F-EB8257CB234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87958" y="6560348"/>
            <a:ext cx="863707" cy="195758"/>
          </a:xfrm>
          <a:prstGeom prst="rect">
            <a:avLst/>
          </a:prstGeom>
        </p:spPr>
      </p:pic>
    </p:spTree>
    <p:extLst>
      <p:ext uri="{BB962C8B-B14F-4D97-AF65-F5344CB8AC3E}">
        <p14:creationId xmlns:p14="http://schemas.microsoft.com/office/powerpoint/2010/main" val="394937561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Logo - Dark">
    <p:bg>
      <p:bgPr>
        <a:solidFill>
          <a:schemeClr val="tx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DFA92EB-822B-3581-7FB7-FE40ACD3EE1E}"/>
              </a:ext>
            </a:extLst>
          </p:cNvPr>
          <p:cNvPicPr>
            <a:picLocks/>
          </p:cNvPicPr>
          <p:nvPr/>
        </p:nvPicPr>
        <p:blipFill>
          <a:blip r:embed="rId2"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Tree>
    <p:extLst>
      <p:ext uri="{BB962C8B-B14F-4D97-AF65-F5344CB8AC3E}">
        <p14:creationId xmlns:p14="http://schemas.microsoft.com/office/powerpoint/2010/main" val="17582268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2/12/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2_Presentation Title + Image - Light">
    <p:bg>
      <p:bgPr>
        <a:solidFill>
          <a:schemeClr val="tx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009710-6EB2-4931-A331-58D092BCD222}"/>
              </a:ext>
            </a:extLst>
          </p:cNvPr>
          <p:cNvSpPr>
            <a:spLocks noGrp="1"/>
          </p:cNvSpPr>
          <p:nvPr>
            <p:ph type="ctrTitle" hasCustomPrompt="1"/>
          </p:nvPr>
        </p:nvSpPr>
        <p:spPr>
          <a:xfrm>
            <a:off x="919035" y="2619190"/>
            <a:ext cx="5430285" cy="1452705"/>
          </a:xfrm>
          <a:ln>
            <a:noFill/>
          </a:ln>
        </p:spPr>
        <p:txBody>
          <a:bodyPr wrap="square" tIns="0" anchor="t" anchorCtr="0">
            <a:spAutoFit/>
          </a:bodyPr>
          <a:lstStyle>
            <a:lvl1pPr algn="l">
              <a:lnSpc>
                <a:spcPct val="78000"/>
              </a:lnSpc>
              <a:spcBef>
                <a:spcPts val="0"/>
              </a:spcBef>
              <a:defRPr sz="6000" kern="0" cap="all" spc="-150" baseline="0">
                <a:solidFill>
                  <a:schemeClr val="bg1"/>
                </a:solidFill>
              </a:defRPr>
            </a:lvl1pPr>
          </a:lstStyle>
          <a:p>
            <a:r>
              <a:rPr lang="en-GB" noProof="0"/>
              <a:t>Presentation Title</a:t>
            </a:r>
          </a:p>
        </p:txBody>
      </p:sp>
      <p:sp>
        <p:nvSpPr>
          <p:cNvPr id="3" name="Undertitel 2">
            <a:extLst>
              <a:ext uri="{FF2B5EF4-FFF2-40B4-BE49-F238E27FC236}">
                <a16:creationId xmlns:a16="http://schemas.microsoft.com/office/drawing/2014/main" id="{06FD948C-2AC3-4DD4-857A-469378D98AEE}"/>
              </a:ext>
            </a:extLst>
          </p:cNvPr>
          <p:cNvSpPr>
            <a:spLocks noGrp="1"/>
          </p:cNvSpPr>
          <p:nvPr>
            <p:ph type="subTitle" idx="1"/>
          </p:nvPr>
        </p:nvSpPr>
        <p:spPr>
          <a:xfrm>
            <a:off x="804735" y="1908057"/>
            <a:ext cx="5544585" cy="588774"/>
          </a:xfrm>
          <a:ln w="34925">
            <a:noFill/>
            <a:miter lim="800000"/>
          </a:ln>
        </p:spPr>
        <p:txBody>
          <a:bodyPr vert="horz" wrap="square" lIns="0" tIns="36000" rIns="0" bIns="0" rtlCol="0" anchor="ctr" anchorCtr="0">
            <a:noAutofit/>
          </a:bodyPr>
          <a:lstStyle>
            <a:lvl1pPr>
              <a:defRPr lang="en-GB" sz="2000" cap="all" spc="100" baseline="0" noProof="0" dirty="0">
                <a:solidFill>
                  <a:schemeClr val="accent3"/>
                </a:solidFill>
                <a:latin typeface="Roboto Black" panose="02000000000000000000" pitchFamily="2" charset="0"/>
                <a:ea typeface="Roboto Black" panose="02000000000000000000" pitchFamily="2" charset="0"/>
                <a:cs typeface="Roboto Black" panose="02000000000000000000" pitchFamily="2" charset="0"/>
              </a:defRPr>
            </a:lvl1pPr>
          </a:lstStyle>
          <a:p>
            <a:pPr marL="144000" lvl="0" indent="0">
              <a:lnSpc>
                <a:spcPct val="80000"/>
              </a:lnSpc>
              <a:spcBef>
                <a:spcPts val="0"/>
              </a:spcBef>
              <a:buNone/>
            </a:pPr>
            <a:r>
              <a:rPr lang="en-US" noProof="0"/>
              <a:t>Click to edit Master subtitle style</a:t>
            </a:r>
            <a:endParaRPr lang="en-GB" noProof="0"/>
          </a:p>
        </p:txBody>
      </p:sp>
      <p:pic>
        <p:nvPicPr>
          <p:cNvPr id="8" name="Goldeen section" hidden="1">
            <a:extLst>
              <a:ext uri="{FF2B5EF4-FFF2-40B4-BE49-F238E27FC236}">
                <a16:creationId xmlns:a16="http://schemas.microsoft.com/office/drawing/2014/main" id="{1C37A3E4-61AF-6910-488A-078111388755}"/>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flipH="1">
            <a:off x="566351" y="-9184"/>
            <a:ext cx="11074106" cy="6867183"/>
          </a:xfrm>
          <a:prstGeom prst="rect">
            <a:avLst/>
          </a:prstGeom>
        </p:spPr>
      </p:pic>
      <p:pic>
        <p:nvPicPr>
          <p:cNvPr id="10" name="Picture 9">
            <a:extLst>
              <a:ext uri="{FF2B5EF4-FFF2-40B4-BE49-F238E27FC236}">
                <a16:creationId xmlns:a16="http://schemas.microsoft.com/office/drawing/2014/main" id="{92CD2765-1E91-EF86-2A20-3CA0377F50B6}"/>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7545484" y="607319"/>
            <a:ext cx="3264909" cy="5476445"/>
          </a:xfrm>
          <a:prstGeom prst="rect">
            <a:avLst/>
          </a:prstGeom>
        </p:spPr>
      </p:pic>
      <p:pic>
        <p:nvPicPr>
          <p:cNvPr id="9" name="Picture 8">
            <a:extLst>
              <a:ext uri="{FF2B5EF4-FFF2-40B4-BE49-F238E27FC236}">
                <a16:creationId xmlns:a16="http://schemas.microsoft.com/office/drawing/2014/main" id="{097DAF2A-88F9-AD56-66A8-D1FD99E2A27B}"/>
              </a:ext>
            </a:extLst>
          </p:cNvPr>
          <p:cNvPicPr>
            <a:picLocks/>
          </p:cNvPicPr>
          <p:nvPr userDrawn="1"/>
        </p:nvPicPr>
        <p:blipFill rotWithShape="1">
          <a:blip r:embed="rId5" cstate="email">
            <a:extLst>
              <a:ext uri="{28A0092B-C50C-407E-A947-70E740481C1C}">
                <a14:useLocalDpi xmlns:a14="http://schemas.microsoft.com/office/drawing/2010/main"/>
              </a:ext>
            </a:extLst>
          </a:blip>
          <a:srcRect/>
          <a:stretch/>
        </p:blipFill>
        <p:spPr>
          <a:xfrm>
            <a:off x="982535" y="0"/>
            <a:ext cx="1612901" cy="711200"/>
          </a:xfrm>
          <a:prstGeom prst="rect">
            <a:avLst/>
          </a:prstGeom>
        </p:spPr>
      </p:pic>
    </p:spTree>
    <p:extLst>
      <p:ext uri="{BB962C8B-B14F-4D97-AF65-F5344CB8AC3E}">
        <p14:creationId xmlns:p14="http://schemas.microsoft.com/office/powerpoint/2010/main" val="285966245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Presentation Title + Hero - Dark">
    <p:bg>
      <p:bgPr>
        <a:solidFill>
          <a:schemeClr val="tx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009710-6EB2-4931-A331-58D092BCD222}"/>
              </a:ext>
            </a:extLst>
          </p:cNvPr>
          <p:cNvSpPr>
            <a:spLocks noGrp="1"/>
          </p:cNvSpPr>
          <p:nvPr>
            <p:ph type="ctrTitle" hasCustomPrompt="1"/>
          </p:nvPr>
        </p:nvSpPr>
        <p:spPr>
          <a:xfrm>
            <a:off x="919035" y="2619190"/>
            <a:ext cx="5430285" cy="1452705"/>
          </a:xfrm>
          <a:ln>
            <a:noFill/>
          </a:ln>
        </p:spPr>
        <p:txBody>
          <a:bodyPr wrap="square" tIns="0" anchor="t" anchorCtr="0">
            <a:spAutoFit/>
          </a:bodyPr>
          <a:lstStyle>
            <a:lvl1pPr algn="l">
              <a:lnSpc>
                <a:spcPct val="78000"/>
              </a:lnSpc>
              <a:spcBef>
                <a:spcPts val="0"/>
              </a:spcBef>
              <a:defRPr sz="6000" kern="0" cap="all" spc="-150" baseline="0">
                <a:solidFill>
                  <a:schemeClr val="bg1"/>
                </a:solidFill>
              </a:defRPr>
            </a:lvl1pPr>
          </a:lstStyle>
          <a:p>
            <a:r>
              <a:rPr lang="en-GB" noProof="0"/>
              <a:t>Presentation Title</a:t>
            </a:r>
          </a:p>
        </p:txBody>
      </p:sp>
      <p:sp>
        <p:nvSpPr>
          <p:cNvPr id="3" name="Undertitel 2">
            <a:extLst>
              <a:ext uri="{FF2B5EF4-FFF2-40B4-BE49-F238E27FC236}">
                <a16:creationId xmlns:a16="http://schemas.microsoft.com/office/drawing/2014/main" id="{06FD948C-2AC3-4DD4-857A-469378D98AEE}"/>
              </a:ext>
            </a:extLst>
          </p:cNvPr>
          <p:cNvSpPr>
            <a:spLocks noGrp="1"/>
          </p:cNvSpPr>
          <p:nvPr>
            <p:ph type="subTitle" idx="1"/>
          </p:nvPr>
        </p:nvSpPr>
        <p:spPr>
          <a:xfrm>
            <a:off x="804735" y="1908057"/>
            <a:ext cx="5544585" cy="588774"/>
          </a:xfrm>
          <a:ln w="34925">
            <a:noFill/>
            <a:miter lim="800000"/>
          </a:ln>
        </p:spPr>
        <p:txBody>
          <a:bodyPr vert="horz" wrap="square" lIns="0" tIns="36000" rIns="0" bIns="0" rtlCol="0" anchor="ctr" anchorCtr="0">
            <a:noAutofit/>
          </a:bodyPr>
          <a:lstStyle>
            <a:lvl1pPr>
              <a:defRPr lang="en-GB" sz="2000" cap="all" spc="100" baseline="0" noProof="0" dirty="0">
                <a:solidFill>
                  <a:schemeClr val="accent3"/>
                </a:solidFill>
                <a:latin typeface="Roboto Black" panose="02000000000000000000" pitchFamily="2" charset="0"/>
                <a:ea typeface="Roboto Black" panose="02000000000000000000" pitchFamily="2" charset="0"/>
                <a:cs typeface="Roboto Black" panose="02000000000000000000" pitchFamily="2" charset="0"/>
              </a:defRPr>
            </a:lvl1pPr>
          </a:lstStyle>
          <a:p>
            <a:pPr marL="144000" lvl="0" indent="0">
              <a:lnSpc>
                <a:spcPct val="80000"/>
              </a:lnSpc>
              <a:spcBef>
                <a:spcPts val="0"/>
              </a:spcBef>
              <a:buNone/>
            </a:pPr>
            <a:r>
              <a:rPr lang="en-US" noProof="0"/>
              <a:t>Click to edit Master subtitle style</a:t>
            </a:r>
            <a:endParaRPr lang="en-GB" noProof="0"/>
          </a:p>
        </p:txBody>
      </p:sp>
      <p:pic>
        <p:nvPicPr>
          <p:cNvPr id="8" name="Goldeen section" hidden="1">
            <a:extLst>
              <a:ext uri="{FF2B5EF4-FFF2-40B4-BE49-F238E27FC236}">
                <a16:creationId xmlns:a16="http://schemas.microsoft.com/office/drawing/2014/main" id="{1C37A3E4-61AF-6910-488A-078111388755}"/>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flipH="1">
            <a:off x="566351" y="-9184"/>
            <a:ext cx="11074106" cy="6867183"/>
          </a:xfrm>
          <a:prstGeom prst="rect">
            <a:avLst/>
          </a:prstGeom>
        </p:spPr>
      </p:pic>
      <p:pic>
        <p:nvPicPr>
          <p:cNvPr id="10" name="Picture 9">
            <a:extLst>
              <a:ext uri="{FF2B5EF4-FFF2-40B4-BE49-F238E27FC236}">
                <a16:creationId xmlns:a16="http://schemas.microsoft.com/office/drawing/2014/main" id="{92CD2765-1E91-EF86-2A20-3CA0377F50B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493385" y="-1"/>
            <a:ext cx="5698615" cy="6858001"/>
          </a:xfrm>
          <a:prstGeom prst="rect">
            <a:avLst/>
          </a:prstGeom>
        </p:spPr>
      </p:pic>
      <p:pic>
        <p:nvPicPr>
          <p:cNvPr id="9" name="Picture 8">
            <a:extLst>
              <a:ext uri="{FF2B5EF4-FFF2-40B4-BE49-F238E27FC236}">
                <a16:creationId xmlns:a16="http://schemas.microsoft.com/office/drawing/2014/main" id="{CA00C03F-B0C4-0392-11CC-514F48AF7B86}"/>
              </a:ext>
            </a:extLst>
          </p:cNvPr>
          <p:cNvPicPr>
            <a:picLocks/>
          </p:cNvPicPr>
          <p:nvPr userDrawn="1"/>
        </p:nvPicPr>
        <p:blipFill rotWithShape="1">
          <a:blip r:embed="rId5" cstate="email">
            <a:extLst>
              <a:ext uri="{28A0092B-C50C-407E-A947-70E740481C1C}">
                <a14:useLocalDpi xmlns:a14="http://schemas.microsoft.com/office/drawing/2010/main"/>
              </a:ext>
            </a:extLst>
          </a:blip>
          <a:srcRect/>
          <a:stretch/>
        </p:blipFill>
        <p:spPr>
          <a:xfrm>
            <a:off x="982535" y="0"/>
            <a:ext cx="1612901" cy="711200"/>
          </a:xfrm>
          <a:prstGeom prst="rect">
            <a:avLst/>
          </a:prstGeom>
        </p:spPr>
      </p:pic>
    </p:spTree>
    <p:extLst>
      <p:ext uri="{BB962C8B-B14F-4D97-AF65-F5344CB8AC3E}">
        <p14:creationId xmlns:p14="http://schemas.microsoft.com/office/powerpoint/2010/main" val="43349185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Presentation Title + Hero - Dark">
    <p:bg>
      <p:bgPr>
        <a:solidFill>
          <a:schemeClr val="tx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009710-6EB2-4931-A331-58D092BCD222}"/>
              </a:ext>
            </a:extLst>
          </p:cNvPr>
          <p:cNvSpPr>
            <a:spLocks noGrp="1"/>
          </p:cNvSpPr>
          <p:nvPr>
            <p:ph type="ctrTitle" hasCustomPrompt="1"/>
          </p:nvPr>
        </p:nvSpPr>
        <p:spPr>
          <a:xfrm>
            <a:off x="919035" y="2619190"/>
            <a:ext cx="5430285" cy="1452705"/>
          </a:xfrm>
          <a:ln>
            <a:noFill/>
          </a:ln>
        </p:spPr>
        <p:txBody>
          <a:bodyPr wrap="square" tIns="0" anchor="t" anchorCtr="0">
            <a:spAutoFit/>
          </a:bodyPr>
          <a:lstStyle>
            <a:lvl1pPr algn="l">
              <a:lnSpc>
                <a:spcPct val="78000"/>
              </a:lnSpc>
              <a:spcBef>
                <a:spcPts val="0"/>
              </a:spcBef>
              <a:defRPr sz="6000" kern="0" cap="all" spc="-150" baseline="0">
                <a:solidFill>
                  <a:schemeClr val="bg1"/>
                </a:solidFill>
              </a:defRPr>
            </a:lvl1pPr>
          </a:lstStyle>
          <a:p>
            <a:r>
              <a:rPr lang="en-GB" noProof="0"/>
              <a:t>Presentation Title</a:t>
            </a:r>
          </a:p>
        </p:txBody>
      </p:sp>
      <p:sp>
        <p:nvSpPr>
          <p:cNvPr id="3" name="Undertitel 2">
            <a:extLst>
              <a:ext uri="{FF2B5EF4-FFF2-40B4-BE49-F238E27FC236}">
                <a16:creationId xmlns:a16="http://schemas.microsoft.com/office/drawing/2014/main" id="{06FD948C-2AC3-4DD4-857A-469378D98AEE}"/>
              </a:ext>
            </a:extLst>
          </p:cNvPr>
          <p:cNvSpPr>
            <a:spLocks noGrp="1"/>
          </p:cNvSpPr>
          <p:nvPr>
            <p:ph type="subTitle" idx="1"/>
          </p:nvPr>
        </p:nvSpPr>
        <p:spPr>
          <a:xfrm>
            <a:off x="804735" y="1908057"/>
            <a:ext cx="5544585" cy="588774"/>
          </a:xfrm>
          <a:ln w="34925">
            <a:noFill/>
            <a:miter lim="800000"/>
          </a:ln>
        </p:spPr>
        <p:txBody>
          <a:bodyPr vert="horz" wrap="square" lIns="0" tIns="36000" rIns="0" bIns="0" rtlCol="0" anchor="ctr" anchorCtr="0">
            <a:noAutofit/>
          </a:bodyPr>
          <a:lstStyle>
            <a:lvl1pPr>
              <a:defRPr lang="en-GB" sz="2000" cap="all" spc="100" baseline="0" noProof="0" dirty="0">
                <a:solidFill>
                  <a:schemeClr val="accent3"/>
                </a:solidFill>
                <a:latin typeface="Roboto Black" panose="02000000000000000000" pitchFamily="2" charset="0"/>
                <a:ea typeface="Roboto Black" panose="02000000000000000000" pitchFamily="2" charset="0"/>
                <a:cs typeface="Roboto Black" panose="02000000000000000000" pitchFamily="2" charset="0"/>
              </a:defRPr>
            </a:lvl1pPr>
          </a:lstStyle>
          <a:p>
            <a:pPr marL="144000" lvl="0" indent="0">
              <a:lnSpc>
                <a:spcPct val="80000"/>
              </a:lnSpc>
              <a:spcBef>
                <a:spcPts val="0"/>
              </a:spcBef>
              <a:buNone/>
            </a:pPr>
            <a:r>
              <a:rPr lang="en-US" noProof="0"/>
              <a:t>Click to edit Master subtitle style</a:t>
            </a:r>
            <a:endParaRPr lang="en-GB" noProof="0"/>
          </a:p>
        </p:txBody>
      </p:sp>
      <p:pic>
        <p:nvPicPr>
          <p:cNvPr id="8" name="Goldeen section" hidden="1">
            <a:extLst>
              <a:ext uri="{FF2B5EF4-FFF2-40B4-BE49-F238E27FC236}">
                <a16:creationId xmlns:a16="http://schemas.microsoft.com/office/drawing/2014/main" id="{1C37A3E4-61AF-6910-488A-078111388755}"/>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flipH="1">
            <a:off x="566351" y="-9184"/>
            <a:ext cx="11074106" cy="6867183"/>
          </a:xfrm>
          <a:prstGeom prst="rect">
            <a:avLst/>
          </a:prstGeom>
        </p:spPr>
      </p:pic>
      <p:pic>
        <p:nvPicPr>
          <p:cNvPr id="10" name="Picture 9">
            <a:extLst>
              <a:ext uri="{FF2B5EF4-FFF2-40B4-BE49-F238E27FC236}">
                <a16:creationId xmlns:a16="http://schemas.microsoft.com/office/drawing/2014/main" id="{92CD2765-1E91-EF86-2A20-3CA0377F50B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549827" y="-1"/>
            <a:ext cx="5698615" cy="6858001"/>
          </a:xfrm>
          <a:prstGeom prst="rect">
            <a:avLst/>
          </a:prstGeom>
        </p:spPr>
      </p:pic>
      <p:pic>
        <p:nvPicPr>
          <p:cNvPr id="9" name="Picture 8">
            <a:extLst>
              <a:ext uri="{FF2B5EF4-FFF2-40B4-BE49-F238E27FC236}">
                <a16:creationId xmlns:a16="http://schemas.microsoft.com/office/drawing/2014/main" id="{CA00C03F-B0C4-0392-11CC-514F48AF7B86}"/>
              </a:ext>
            </a:extLst>
          </p:cNvPr>
          <p:cNvPicPr>
            <a:picLocks/>
          </p:cNvPicPr>
          <p:nvPr userDrawn="1"/>
        </p:nvPicPr>
        <p:blipFill rotWithShape="1">
          <a:blip r:embed="rId5" cstate="email">
            <a:extLst>
              <a:ext uri="{28A0092B-C50C-407E-A947-70E740481C1C}">
                <a14:useLocalDpi xmlns:a14="http://schemas.microsoft.com/office/drawing/2010/main"/>
              </a:ext>
            </a:extLst>
          </a:blip>
          <a:srcRect/>
          <a:stretch/>
        </p:blipFill>
        <p:spPr>
          <a:xfrm>
            <a:off x="982535" y="0"/>
            <a:ext cx="1612901" cy="711200"/>
          </a:xfrm>
          <a:prstGeom prst="rect">
            <a:avLst/>
          </a:prstGeom>
        </p:spPr>
      </p:pic>
    </p:spTree>
    <p:extLst>
      <p:ext uri="{BB962C8B-B14F-4D97-AF65-F5344CB8AC3E}">
        <p14:creationId xmlns:p14="http://schemas.microsoft.com/office/powerpoint/2010/main" val="292216907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Thank You - Dark">
    <p:spTree>
      <p:nvGrpSpPr>
        <p:cNvPr id="1" name=""/>
        <p:cNvGrpSpPr/>
        <p:nvPr/>
      </p:nvGrpSpPr>
      <p:grpSpPr>
        <a:xfrm>
          <a:off x="0" y="0"/>
          <a:ext cx="0" cy="0"/>
          <a:chOff x="0" y="0"/>
          <a:chExt cx="0" cy="0"/>
        </a:xfrm>
      </p:grpSpPr>
      <p:pic>
        <p:nvPicPr>
          <p:cNvPr id="9" name="Picture 8" descr="A black and white grid&#10;&#10;Description automatically generated">
            <a:extLst>
              <a:ext uri="{FF2B5EF4-FFF2-40B4-BE49-F238E27FC236}">
                <a16:creationId xmlns:a16="http://schemas.microsoft.com/office/drawing/2014/main" id="{4EA2963B-C161-E6B4-6C12-83C678849E09}"/>
              </a:ext>
            </a:extLst>
          </p:cNvPr>
          <p:cNvPicPr>
            <a:picLocks/>
          </p:cNvPicPr>
          <p:nvPr/>
        </p:nvPicPr>
        <p:blipFill>
          <a:blip r:embed="rId2" cstate="email">
            <a:alphaModFix amt="35000"/>
            <a:extLst>
              <a:ext uri="{28A0092B-C50C-407E-A947-70E740481C1C}">
                <a14:useLocalDpi xmlns:a14="http://schemas.microsoft.com/office/drawing/2010/main"/>
              </a:ext>
            </a:extLst>
          </a:blip>
          <a:stretch>
            <a:fillRect/>
          </a:stretch>
        </p:blipFill>
        <p:spPr>
          <a:xfrm>
            <a:off x="12700" y="0"/>
            <a:ext cx="12192000" cy="6858000"/>
          </a:xfrm>
          <a:prstGeom prst="rect">
            <a:avLst/>
          </a:prstGeom>
        </p:spPr>
      </p:pic>
      <p:sp>
        <p:nvSpPr>
          <p:cNvPr id="14" name="object 4">
            <a:extLst>
              <a:ext uri="{FF2B5EF4-FFF2-40B4-BE49-F238E27FC236}">
                <a16:creationId xmlns:a16="http://schemas.microsoft.com/office/drawing/2014/main" id="{1A0F6E34-4CDC-458F-B40F-A3DDE05F9BC3}"/>
              </a:ext>
            </a:extLst>
          </p:cNvPr>
          <p:cNvSpPr txBox="1">
            <a:spLocks/>
          </p:cNvSpPr>
          <p:nvPr/>
        </p:nvSpPr>
        <p:spPr>
          <a:xfrm>
            <a:off x="3057567" y="2242234"/>
            <a:ext cx="4620656" cy="950041"/>
          </a:xfrm>
          <a:prstGeom prst="rect">
            <a:avLst/>
          </a:prstGeom>
        </p:spPr>
        <p:txBody>
          <a:bodyPr vert="horz" wrap="square" lIns="0" tIns="216000" rIns="0" bIns="0" rtlCol="0">
            <a:noAutofit/>
          </a:bodyPr>
          <a:lstStyle>
            <a:lvl1pPr>
              <a:defRPr>
                <a:latin typeface="+mj-lt"/>
                <a:ea typeface="+mj-ea"/>
                <a:cs typeface="+mj-cs"/>
              </a:defRPr>
            </a:lvl1pPr>
          </a:lstStyle>
          <a:p>
            <a:pPr marL="34925" marR="5080">
              <a:lnSpc>
                <a:spcPct val="70000"/>
              </a:lnSpc>
              <a:spcBef>
                <a:spcPts val="1695"/>
              </a:spcBef>
            </a:pPr>
            <a:r>
              <a:rPr lang="en-GB" sz="9600" b="1" kern="0" spc="-90">
                <a:solidFill>
                  <a:srgbClr val="878786"/>
                </a:solidFill>
                <a:latin typeface="Roboto Condensed" panose="02000000000000000000" pitchFamily="2" charset="0"/>
                <a:ea typeface="Roboto Condensed" panose="02000000000000000000" pitchFamily="2" charset="0"/>
              </a:rPr>
              <a:t>THANK </a:t>
            </a:r>
            <a:r>
              <a:rPr lang="en-GB" sz="9600" b="1" kern="0" spc="-90">
                <a:solidFill>
                  <a:schemeClr val="bg1"/>
                </a:solidFill>
                <a:latin typeface="Roboto Condensed" panose="02000000000000000000" pitchFamily="2" charset="0"/>
                <a:ea typeface="Roboto Condensed" panose="02000000000000000000" pitchFamily="2" charset="0"/>
              </a:rPr>
              <a:t>YOU</a:t>
            </a:r>
            <a:endParaRPr lang="en-GB" sz="1200" kern="0">
              <a:solidFill>
                <a:schemeClr val="bg1"/>
              </a:solidFill>
              <a:latin typeface="Roboto"/>
              <a:cs typeface="Roboto"/>
            </a:endParaRPr>
          </a:p>
        </p:txBody>
      </p:sp>
      <p:sp>
        <p:nvSpPr>
          <p:cNvPr id="11" name="Pladsholder til tekst 10">
            <a:extLst>
              <a:ext uri="{FF2B5EF4-FFF2-40B4-BE49-F238E27FC236}">
                <a16:creationId xmlns:a16="http://schemas.microsoft.com/office/drawing/2014/main" id="{52DFEA04-1E51-4A9D-9F2B-8686E2B6D942}"/>
              </a:ext>
            </a:extLst>
          </p:cNvPr>
          <p:cNvSpPr>
            <a:spLocks noGrp="1"/>
          </p:cNvSpPr>
          <p:nvPr>
            <p:ph type="body" sz="quarter" idx="22" hasCustomPrompt="1"/>
          </p:nvPr>
        </p:nvSpPr>
        <p:spPr>
          <a:xfrm>
            <a:off x="3121067" y="4634843"/>
            <a:ext cx="3838533" cy="717501"/>
          </a:xfrm>
        </p:spPr>
        <p:txBody>
          <a:bodyPr tIns="0" bIns="0" anchor="t" anchorCtr="0">
            <a:noAutofit/>
          </a:bodyPr>
          <a:lstStyle>
            <a:lvl1pPr marL="0" indent="0">
              <a:buNone/>
              <a:defRPr sz="1800" b="1">
                <a:solidFill>
                  <a:schemeClr val="accent3"/>
                </a:solidFill>
              </a:defRPr>
            </a:lvl1pPr>
            <a:lvl2pPr marL="239400" indent="0">
              <a:buNone/>
              <a:defRPr>
                <a:solidFill>
                  <a:schemeClr val="bg1"/>
                </a:solidFill>
              </a:defRPr>
            </a:lvl2pPr>
            <a:lvl3pPr marL="473400" indent="0">
              <a:buNone/>
              <a:defRPr>
                <a:solidFill>
                  <a:schemeClr val="bg1"/>
                </a:solidFill>
              </a:defRPr>
            </a:lvl3pPr>
            <a:lvl4pPr marL="707400" indent="0">
              <a:buNone/>
              <a:defRPr>
                <a:solidFill>
                  <a:schemeClr val="bg1"/>
                </a:solidFill>
              </a:defRPr>
            </a:lvl4pPr>
            <a:lvl5pPr marL="923400" indent="0">
              <a:buNone/>
              <a:defRPr>
                <a:solidFill>
                  <a:schemeClr val="bg1"/>
                </a:solidFill>
              </a:defRPr>
            </a:lvl5pPr>
          </a:lstStyle>
          <a:p>
            <a:pPr lvl="0"/>
            <a:r>
              <a:rPr lang="da-DK" err="1"/>
              <a:t>Add</a:t>
            </a:r>
            <a:r>
              <a:rPr lang="da-DK"/>
              <a:t> </a:t>
            </a:r>
            <a:r>
              <a:rPr lang="da-DK" err="1"/>
              <a:t>contact</a:t>
            </a:r>
            <a:r>
              <a:rPr lang="da-DK"/>
              <a:t> info, </a:t>
            </a:r>
            <a:r>
              <a:rPr lang="da-DK" err="1"/>
              <a:t>address</a:t>
            </a:r>
            <a:r>
              <a:rPr lang="da-DK"/>
              <a:t>, </a:t>
            </a:r>
            <a:r>
              <a:rPr lang="da-DK" err="1"/>
              <a:t>email</a:t>
            </a:r>
            <a:r>
              <a:rPr lang="da-DK"/>
              <a:t> etc.</a:t>
            </a:r>
          </a:p>
        </p:txBody>
      </p:sp>
      <p:pic>
        <p:nvPicPr>
          <p:cNvPr id="7" name="Picture 6">
            <a:extLst>
              <a:ext uri="{FF2B5EF4-FFF2-40B4-BE49-F238E27FC236}">
                <a16:creationId xmlns:a16="http://schemas.microsoft.com/office/drawing/2014/main" id="{F2FCE474-FF6C-287C-BAAB-7F1FD2646160}"/>
              </a:ext>
            </a:extLst>
          </p:cNvPr>
          <p:cNvPicPr>
            <a:picLocks/>
          </p:cNvPicPr>
          <p:nvPr userDrawn="1"/>
        </p:nvPicPr>
        <p:blipFill rotWithShape="1">
          <a:blip r:embed="rId3" cstate="email">
            <a:extLst>
              <a:ext uri="{28A0092B-C50C-407E-A947-70E740481C1C}">
                <a14:useLocalDpi xmlns:a14="http://schemas.microsoft.com/office/drawing/2010/main"/>
              </a:ext>
            </a:extLst>
          </a:blip>
          <a:srcRect/>
          <a:stretch/>
        </p:blipFill>
        <p:spPr>
          <a:xfrm>
            <a:off x="10261599" y="0"/>
            <a:ext cx="1612901" cy="742950"/>
          </a:xfrm>
          <a:prstGeom prst="rect">
            <a:avLst/>
          </a:prstGeom>
        </p:spPr>
      </p:pic>
      <p:pic>
        <p:nvPicPr>
          <p:cNvPr id="8" name="Picture 7" descr="A group of people standing in a doorway&#10;&#10;Description automatically generated">
            <a:extLst>
              <a:ext uri="{FF2B5EF4-FFF2-40B4-BE49-F238E27FC236}">
                <a16:creationId xmlns:a16="http://schemas.microsoft.com/office/drawing/2014/main" id="{5C84984C-98CC-6026-F797-384F3CE5FF91}"/>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a:xfrm>
            <a:off x="7200291" y="1479748"/>
            <a:ext cx="2326043" cy="3901624"/>
          </a:xfrm>
          <a:prstGeom prst="rect">
            <a:avLst/>
          </a:prstGeom>
        </p:spPr>
      </p:pic>
    </p:spTree>
    <p:extLst>
      <p:ext uri="{BB962C8B-B14F-4D97-AF65-F5344CB8AC3E}">
        <p14:creationId xmlns:p14="http://schemas.microsoft.com/office/powerpoint/2010/main" val="64459362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Logo - Dark">
    <p:bg>
      <p:bgPr>
        <a:solidFill>
          <a:schemeClr val="tx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DFA92EB-822B-3581-7FB7-FE40ACD3EE1E}"/>
              </a:ext>
            </a:extLst>
          </p:cNvPr>
          <p:cNvPicPr>
            <a:picLocks/>
          </p:cNvPicPr>
          <p:nvPr/>
        </p:nvPicPr>
        <p:blipFill>
          <a:blip r:embed="rId2"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Tree>
    <p:extLst>
      <p:ext uri="{BB962C8B-B14F-4D97-AF65-F5344CB8AC3E}">
        <p14:creationId xmlns:p14="http://schemas.microsoft.com/office/powerpoint/2010/main" val="236331591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2_Presentation Title + Image - Light">
    <p:bg>
      <p:bgPr>
        <a:solidFill>
          <a:schemeClr val="tx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009710-6EB2-4931-A331-58D092BCD222}"/>
              </a:ext>
            </a:extLst>
          </p:cNvPr>
          <p:cNvSpPr>
            <a:spLocks noGrp="1"/>
          </p:cNvSpPr>
          <p:nvPr>
            <p:ph type="ctrTitle" hasCustomPrompt="1"/>
          </p:nvPr>
        </p:nvSpPr>
        <p:spPr>
          <a:xfrm>
            <a:off x="919035" y="2619190"/>
            <a:ext cx="5430285" cy="1452705"/>
          </a:xfrm>
          <a:ln>
            <a:noFill/>
          </a:ln>
        </p:spPr>
        <p:txBody>
          <a:bodyPr wrap="square" tIns="0" anchor="t" anchorCtr="0">
            <a:spAutoFit/>
          </a:bodyPr>
          <a:lstStyle>
            <a:lvl1pPr algn="l">
              <a:lnSpc>
                <a:spcPct val="78000"/>
              </a:lnSpc>
              <a:spcBef>
                <a:spcPts val="0"/>
              </a:spcBef>
              <a:defRPr sz="6000" kern="0" cap="all" spc="-150" baseline="0">
                <a:solidFill>
                  <a:schemeClr val="bg1"/>
                </a:solidFill>
              </a:defRPr>
            </a:lvl1pPr>
          </a:lstStyle>
          <a:p>
            <a:r>
              <a:rPr lang="en-GB" noProof="0"/>
              <a:t>Presentation Title</a:t>
            </a:r>
          </a:p>
        </p:txBody>
      </p:sp>
      <p:sp>
        <p:nvSpPr>
          <p:cNvPr id="3" name="Undertitel 2">
            <a:extLst>
              <a:ext uri="{FF2B5EF4-FFF2-40B4-BE49-F238E27FC236}">
                <a16:creationId xmlns:a16="http://schemas.microsoft.com/office/drawing/2014/main" id="{06FD948C-2AC3-4DD4-857A-469378D98AEE}"/>
              </a:ext>
            </a:extLst>
          </p:cNvPr>
          <p:cNvSpPr>
            <a:spLocks noGrp="1"/>
          </p:cNvSpPr>
          <p:nvPr>
            <p:ph type="subTitle" idx="1"/>
          </p:nvPr>
        </p:nvSpPr>
        <p:spPr>
          <a:xfrm>
            <a:off x="804735" y="1908057"/>
            <a:ext cx="5544585" cy="588774"/>
          </a:xfrm>
          <a:ln w="34925">
            <a:noFill/>
            <a:miter lim="800000"/>
          </a:ln>
        </p:spPr>
        <p:txBody>
          <a:bodyPr vert="horz" wrap="square" lIns="0" tIns="36000" rIns="0" bIns="0" rtlCol="0" anchor="ctr" anchorCtr="0">
            <a:noAutofit/>
          </a:bodyPr>
          <a:lstStyle>
            <a:lvl1pPr>
              <a:defRPr lang="en-GB" sz="2000" cap="all" spc="100" baseline="0" noProof="0" dirty="0">
                <a:solidFill>
                  <a:schemeClr val="accent3"/>
                </a:solidFill>
                <a:latin typeface="Roboto Black" panose="02000000000000000000" pitchFamily="2" charset="0"/>
                <a:ea typeface="Roboto Black" panose="02000000000000000000" pitchFamily="2" charset="0"/>
                <a:cs typeface="Roboto Black" panose="02000000000000000000" pitchFamily="2" charset="0"/>
              </a:defRPr>
            </a:lvl1pPr>
          </a:lstStyle>
          <a:p>
            <a:pPr marL="144000" lvl="0" indent="0">
              <a:lnSpc>
                <a:spcPct val="80000"/>
              </a:lnSpc>
              <a:spcBef>
                <a:spcPts val="0"/>
              </a:spcBef>
              <a:buNone/>
            </a:pPr>
            <a:r>
              <a:rPr lang="en-US" noProof="0"/>
              <a:t>Click to edit Master subtitle style</a:t>
            </a:r>
            <a:endParaRPr lang="en-GB" noProof="0"/>
          </a:p>
        </p:txBody>
      </p:sp>
      <p:pic>
        <p:nvPicPr>
          <p:cNvPr id="8" name="Goldeen section" hidden="1">
            <a:extLst>
              <a:ext uri="{FF2B5EF4-FFF2-40B4-BE49-F238E27FC236}">
                <a16:creationId xmlns:a16="http://schemas.microsoft.com/office/drawing/2014/main" id="{1C37A3E4-61AF-6910-488A-078111388755}"/>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flipH="1">
            <a:off x="566351" y="-9184"/>
            <a:ext cx="11074106" cy="6867183"/>
          </a:xfrm>
          <a:prstGeom prst="rect">
            <a:avLst/>
          </a:prstGeom>
        </p:spPr>
      </p:pic>
      <p:pic>
        <p:nvPicPr>
          <p:cNvPr id="10" name="Picture 9">
            <a:extLst>
              <a:ext uri="{FF2B5EF4-FFF2-40B4-BE49-F238E27FC236}">
                <a16:creationId xmlns:a16="http://schemas.microsoft.com/office/drawing/2014/main" id="{92CD2765-1E91-EF86-2A20-3CA0377F50B6}"/>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7545484" y="607319"/>
            <a:ext cx="3264909" cy="5476445"/>
          </a:xfrm>
          <a:prstGeom prst="rect">
            <a:avLst/>
          </a:prstGeom>
        </p:spPr>
      </p:pic>
      <p:pic>
        <p:nvPicPr>
          <p:cNvPr id="9" name="Picture 8">
            <a:extLst>
              <a:ext uri="{FF2B5EF4-FFF2-40B4-BE49-F238E27FC236}">
                <a16:creationId xmlns:a16="http://schemas.microsoft.com/office/drawing/2014/main" id="{097DAF2A-88F9-AD56-66A8-D1FD99E2A27B}"/>
              </a:ext>
            </a:extLst>
          </p:cNvPr>
          <p:cNvPicPr>
            <a:picLocks/>
          </p:cNvPicPr>
          <p:nvPr userDrawn="1"/>
        </p:nvPicPr>
        <p:blipFill rotWithShape="1">
          <a:blip r:embed="rId5" cstate="email">
            <a:extLst>
              <a:ext uri="{28A0092B-C50C-407E-A947-70E740481C1C}">
                <a14:useLocalDpi xmlns:a14="http://schemas.microsoft.com/office/drawing/2010/main"/>
              </a:ext>
            </a:extLst>
          </a:blip>
          <a:srcRect/>
          <a:stretch/>
        </p:blipFill>
        <p:spPr>
          <a:xfrm>
            <a:off x="982535" y="0"/>
            <a:ext cx="1612901" cy="711200"/>
          </a:xfrm>
          <a:prstGeom prst="rect">
            <a:avLst/>
          </a:prstGeom>
        </p:spPr>
      </p:pic>
    </p:spTree>
    <p:extLst>
      <p:ext uri="{BB962C8B-B14F-4D97-AF65-F5344CB8AC3E}">
        <p14:creationId xmlns:p14="http://schemas.microsoft.com/office/powerpoint/2010/main" val="237743806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Presentation Title + Hero - Dark">
    <p:bg>
      <p:bgPr>
        <a:solidFill>
          <a:schemeClr val="tx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009710-6EB2-4931-A331-58D092BCD222}"/>
              </a:ext>
            </a:extLst>
          </p:cNvPr>
          <p:cNvSpPr>
            <a:spLocks noGrp="1"/>
          </p:cNvSpPr>
          <p:nvPr>
            <p:ph type="ctrTitle" hasCustomPrompt="1"/>
          </p:nvPr>
        </p:nvSpPr>
        <p:spPr>
          <a:xfrm>
            <a:off x="919035" y="2619190"/>
            <a:ext cx="5430285" cy="1452705"/>
          </a:xfrm>
          <a:ln>
            <a:noFill/>
          </a:ln>
        </p:spPr>
        <p:txBody>
          <a:bodyPr wrap="square" tIns="0" anchor="t" anchorCtr="0">
            <a:spAutoFit/>
          </a:bodyPr>
          <a:lstStyle>
            <a:lvl1pPr algn="l">
              <a:lnSpc>
                <a:spcPct val="78000"/>
              </a:lnSpc>
              <a:spcBef>
                <a:spcPts val="0"/>
              </a:spcBef>
              <a:defRPr sz="6000" kern="0" cap="all" spc="-150" baseline="0">
                <a:solidFill>
                  <a:schemeClr val="bg1"/>
                </a:solidFill>
              </a:defRPr>
            </a:lvl1pPr>
          </a:lstStyle>
          <a:p>
            <a:r>
              <a:rPr lang="en-GB" noProof="0"/>
              <a:t>Presentation Title</a:t>
            </a:r>
          </a:p>
        </p:txBody>
      </p:sp>
      <p:sp>
        <p:nvSpPr>
          <p:cNvPr id="3" name="Undertitel 2">
            <a:extLst>
              <a:ext uri="{FF2B5EF4-FFF2-40B4-BE49-F238E27FC236}">
                <a16:creationId xmlns:a16="http://schemas.microsoft.com/office/drawing/2014/main" id="{06FD948C-2AC3-4DD4-857A-469378D98AEE}"/>
              </a:ext>
            </a:extLst>
          </p:cNvPr>
          <p:cNvSpPr>
            <a:spLocks noGrp="1"/>
          </p:cNvSpPr>
          <p:nvPr>
            <p:ph type="subTitle" idx="1"/>
          </p:nvPr>
        </p:nvSpPr>
        <p:spPr>
          <a:xfrm>
            <a:off x="804735" y="1908057"/>
            <a:ext cx="5544585" cy="588774"/>
          </a:xfrm>
          <a:ln w="34925">
            <a:noFill/>
            <a:miter lim="800000"/>
          </a:ln>
        </p:spPr>
        <p:txBody>
          <a:bodyPr vert="horz" wrap="square" lIns="0" tIns="36000" rIns="0" bIns="0" rtlCol="0" anchor="ctr" anchorCtr="0">
            <a:noAutofit/>
          </a:bodyPr>
          <a:lstStyle>
            <a:lvl1pPr>
              <a:defRPr lang="en-GB" sz="2000" cap="all" spc="100" baseline="0" noProof="0" dirty="0">
                <a:solidFill>
                  <a:schemeClr val="accent3"/>
                </a:solidFill>
                <a:latin typeface="Roboto Black" panose="02000000000000000000" pitchFamily="2" charset="0"/>
                <a:ea typeface="Roboto Black" panose="02000000000000000000" pitchFamily="2" charset="0"/>
                <a:cs typeface="Roboto Black" panose="02000000000000000000" pitchFamily="2" charset="0"/>
              </a:defRPr>
            </a:lvl1pPr>
          </a:lstStyle>
          <a:p>
            <a:pPr marL="144000" lvl="0" indent="0">
              <a:lnSpc>
                <a:spcPct val="80000"/>
              </a:lnSpc>
              <a:spcBef>
                <a:spcPts val="0"/>
              </a:spcBef>
              <a:buNone/>
            </a:pPr>
            <a:r>
              <a:rPr lang="en-US" noProof="0"/>
              <a:t>Click to edit Master subtitle style</a:t>
            </a:r>
            <a:endParaRPr lang="en-GB" noProof="0"/>
          </a:p>
        </p:txBody>
      </p:sp>
      <p:pic>
        <p:nvPicPr>
          <p:cNvPr id="8" name="Goldeen section" hidden="1">
            <a:extLst>
              <a:ext uri="{FF2B5EF4-FFF2-40B4-BE49-F238E27FC236}">
                <a16:creationId xmlns:a16="http://schemas.microsoft.com/office/drawing/2014/main" id="{1C37A3E4-61AF-6910-488A-078111388755}"/>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flipH="1">
            <a:off x="566351" y="-9184"/>
            <a:ext cx="11074106" cy="6867183"/>
          </a:xfrm>
          <a:prstGeom prst="rect">
            <a:avLst/>
          </a:prstGeom>
        </p:spPr>
      </p:pic>
      <p:pic>
        <p:nvPicPr>
          <p:cNvPr id="10" name="Picture 9">
            <a:extLst>
              <a:ext uri="{FF2B5EF4-FFF2-40B4-BE49-F238E27FC236}">
                <a16:creationId xmlns:a16="http://schemas.microsoft.com/office/drawing/2014/main" id="{92CD2765-1E91-EF86-2A20-3CA0377F50B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493385" y="-1"/>
            <a:ext cx="5698615" cy="6858001"/>
          </a:xfrm>
          <a:prstGeom prst="rect">
            <a:avLst/>
          </a:prstGeom>
        </p:spPr>
      </p:pic>
      <p:pic>
        <p:nvPicPr>
          <p:cNvPr id="9" name="Picture 8">
            <a:extLst>
              <a:ext uri="{FF2B5EF4-FFF2-40B4-BE49-F238E27FC236}">
                <a16:creationId xmlns:a16="http://schemas.microsoft.com/office/drawing/2014/main" id="{CA00C03F-B0C4-0392-11CC-514F48AF7B86}"/>
              </a:ext>
            </a:extLst>
          </p:cNvPr>
          <p:cNvPicPr>
            <a:picLocks/>
          </p:cNvPicPr>
          <p:nvPr userDrawn="1"/>
        </p:nvPicPr>
        <p:blipFill rotWithShape="1">
          <a:blip r:embed="rId5" cstate="email">
            <a:extLst>
              <a:ext uri="{28A0092B-C50C-407E-A947-70E740481C1C}">
                <a14:useLocalDpi xmlns:a14="http://schemas.microsoft.com/office/drawing/2010/main"/>
              </a:ext>
            </a:extLst>
          </a:blip>
          <a:srcRect/>
          <a:stretch/>
        </p:blipFill>
        <p:spPr>
          <a:xfrm>
            <a:off x="982535" y="0"/>
            <a:ext cx="1612901" cy="711200"/>
          </a:xfrm>
          <a:prstGeom prst="rect">
            <a:avLst/>
          </a:prstGeom>
        </p:spPr>
      </p:pic>
    </p:spTree>
    <p:extLst>
      <p:ext uri="{BB962C8B-B14F-4D97-AF65-F5344CB8AC3E}">
        <p14:creationId xmlns:p14="http://schemas.microsoft.com/office/powerpoint/2010/main" val="262517564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Thank You - Dark">
    <p:spTree>
      <p:nvGrpSpPr>
        <p:cNvPr id="1" name=""/>
        <p:cNvGrpSpPr/>
        <p:nvPr/>
      </p:nvGrpSpPr>
      <p:grpSpPr>
        <a:xfrm>
          <a:off x="0" y="0"/>
          <a:ext cx="0" cy="0"/>
          <a:chOff x="0" y="0"/>
          <a:chExt cx="0" cy="0"/>
        </a:xfrm>
      </p:grpSpPr>
      <p:pic>
        <p:nvPicPr>
          <p:cNvPr id="9" name="Picture 8" descr="A black and white grid&#10;&#10;Description automatically generated">
            <a:extLst>
              <a:ext uri="{FF2B5EF4-FFF2-40B4-BE49-F238E27FC236}">
                <a16:creationId xmlns:a16="http://schemas.microsoft.com/office/drawing/2014/main" id="{4EA2963B-C161-E6B4-6C12-83C678849E09}"/>
              </a:ext>
            </a:extLst>
          </p:cNvPr>
          <p:cNvPicPr>
            <a:picLocks/>
          </p:cNvPicPr>
          <p:nvPr/>
        </p:nvPicPr>
        <p:blipFill>
          <a:blip r:embed="rId2" cstate="email">
            <a:alphaModFix amt="35000"/>
            <a:extLst>
              <a:ext uri="{28A0092B-C50C-407E-A947-70E740481C1C}">
                <a14:useLocalDpi xmlns:a14="http://schemas.microsoft.com/office/drawing/2010/main"/>
              </a:ext>
            </a:extLst>
          </a:blip>
          <a:stretch>
            <a:fillRect/>
          </a:stretch>
        </p:blipFill>
        <p:spPr>
          <a:xfrm>
            <a:off x="12700" y="0"/>
            <a:ext cx="12192000" cy="6858000"/>
          </a:xfrm>
          <a:prstGeom prst="rect">
            <a:avLst/>
          </a:prstGeom>
        </p:spPr>
      </p:pic>
      <p:sp>
        <p:nvSpPr>
          <p:cNvPr id="14" name="object 4">
            <a:extLst>
              <a:ext uri="{FF2B5EF4-FFF2-40B4-BE49-F238E27FC236}">
                <a16:creationId xmlns:a16="http://schemas.microsoft.com/office/drawing/2014/main" id="{1A0F6E34-4CDC-458F-B40F-A3DDE05F9BC3}"/>
              </a:ext>
            </a:extLst>
          </p:cNvPr>
          <p:cNvSpPr txBox="1">
            <a:spLocks/>
          </p:cNvSpPr>
          <p:nvPr/>
        </p:nvSpPr>
        <p:spPr>
          <a:xfrm>
            <a:off x="3057567" y="2242234"/>
            <a:ext cx="4620656" cy="950041"/>
          </a:xfrm>
          <a:prstGeom prst="rect">
            <a:avLst/>
          </a:prstGeom>
        </p:spPr>
        <p:txBody>
          <a:bodyPr vert="horz" wrap="square" lIns="0" tIns="216000" rIns="0" bIns="0" rtlCol="0">
            <a:noAutofit/>
          </a:bodyPr>
          <a:lstStyle>
            <a:lvl1pPr>
              <a:defRPr>
                <a:latin typeface="+mj-lt"/>
                <a:ea typeface="+mj-ea"/>
                <a:cs typeface="+mj-cs"/>
              </a:defRPr>
            </a:lvl1pPr>
          </a:lstStyle>
          <a:p>
            <a:pPr marL="34925" marR="5080">
              <a:lnSpc>
                <a:spcPct val="70000"/>
              </a:lnSpc>
              <a:spcBef>
                <a:spcPts val="1695"/>
              </a:spcBef>
            </a:pPr>
            <a:r>
              <a:rPr lang="en-GB" sz="9600" b="1" kern="0" spc="-90">
                <a:solidFill>
                  <a:schemeClr val="accent3"/>
                </a:solidFill>
                <a:latin typeface="Roboto Condensed" panose="02000000000000000000" pitchFamily="2" charset="0"/>
                <a:ea typeface="Roboto Condensed" panose="02000000000000000000" pitchFamily="2" charset="0"/>
              </a:rPr>
              <a:t>THANK</a:t>
            </a:r>
            <a:r>
              <a:rPr lang="en-GB" sz="9600" b="1" kern="0" spc="-90">
                <a:solidFill>
                  <a:srgbClr val="878786"/>
                </a:solidFill>
                <a:latin typeface="Roboto Condensed" panose="02000000000000000000" pitchFamily="2" charset="0"/>
                <a:ea typeface="Roboto Condensed" panose="02000000000000000000" pitchFamily="2" charset="0"/>
              </a:rPr>
              <a:t> </a:t>
            </a:r>
            <a:r>
              <a:rPr lang="en-GB" sz="9600" b="1" kern="0" spc="-90">
                <a:solidFill>
                  <a:schemeClr val="bg1"/>
                </a:solidFill>
                <a:latin typeface="Roboto Condensed" panose="02000000000000000000" pitchFamily="2" charset="0"/>
                <a:ea typeface="Roboto Condensed" panose="02000000000000000000" pitchFamily="2" charset="0"/>
              </a:rPr>
              <a:t>YOU</a:t>
            </a:r>
            <a:endParaRPr lang="en-GB" sz="1200" kern="0">
              <a:solidFill>
                <a:schemeClr val="bg1"/>
              </a:solidFill>
              <a:latin typeface="Roboto"/>
              <a:cs typeface="Roboto"/>
            </a:endParaRPr>
          </a:p>
        </p:txBody>
      </p:sp>
      <p:sp>
        <p:nvSpPr>
          <p:cNvPr id="11" name="Pladsholder til tekst 10">
            <a:extLst>
              <a:ext uri="{FF2B5EF4-FFF2-40B4-BE49-F238E27FC236}">
                <a16:creationId xmlns:a16="http://schemas.microsoft.com/office/drawing/2014/main" id="{52DFEA04-1E51-4A9D-9F2B-8686E2B6D942}"/>
              </a:ext>
            </a:extLst>
          </p:cNvPr>
          <p:cNvSpPr>
            <a:spLocks noGrp="1"/>
          </p:cNvSpPr>
          <p:nvPr>
            <p:ph type="body" sz="quarter" idx="22" hasCustomPrompt="1"/>
          </p:nvPr>
        </p:nvSpPr>
        <p:spPr>
          <a:xfrm>
            <a:off x="3121067" y="4634843"/>
            <a:ext cx="3838533" cy="717501"/>
          </a:xfrm>
        </p:spPr>
        <p:txBody>
          <a:bodyPr tIns="0" bIns="0" anchor="t" anchorCtr="0">
            <a:noAutofit/>
          </a:bodyPr>
          <a:lstStyle>
            <a:lvl1pPr marL="0" indent="0">
              <a:buNone/>
              <a:defRPr sz="1800" b="1">
                <a:solidFill>
                  <a:schemeClr val="accent3"/>
                </a:solidFill>
              </a:defRPr>
            </a:lvl1pPr>
            <a:lvl2pPr marL="239400" indent="0">
              <a:buNone/>
              <a:defRPr>
                <a:solidFill>
                  <a:schemeClr val="bg1"/>
                </a:solidFill>
              </a:defRPr>
            </a:lvl2pPr>
            <a:lvl3pPr marL="473400" indent="0">
              <a:buNone/>
              <a:defRPr>
                <a:solidFill>
                  <a:schemeClr val="bg1"/>
                </a:solidFill>
              </a:defRPr>
            </a:lvl3pPr>
            <a:lvl4pPr marL="707400" indent="0">
              <a:buNone/>
              <a:defRPr>
                <a:solidFill>
                  <a:schemeClr val="bg1"/>
                </a:solidFill>
              </a:defRPr>
            </a:lvl4pPr>
            <a:lvl5pPr marL="923400" indent="0">
              <a:buNone/>
              <a:defRPr>
                <a:solidFill>
                  <a:schemeClr val="bg1"/>
                </a:solidFill>
              </a:defRPr>
            </a:lvl5pPr>
          </a:lstStyle>
          <a:p>
            <a:pPr lvl="0"/>
            <a:r>
              <a:rPr lang="da-DK" err="1"/>
              <a:t>Add</a:t>
            </a:r>
            <a:r>
              <a:rPr lang="da-DK"/>
              <a:t> </a:t>
            </a:r>
            <a:r>
              <a:rPr lang="da-DK" err="1"/>
              <a:t>contact</a:t>
            </a:r>
            <a:r>
              <a:rPr lang="da-DK"/>
              <a:t> info, </a:t>
            </a:r>
            <a:r>
              <a:rPr lang="da-DK" err="1"/>
              <a:t>address</a:t>
            </a:r>
            <a:r>
              <a:rPr lang="da-DK"/>
              <a:t>, </a:t>
            </a:r>
            <a:r>
              <a:rPr lang="da-DK" err="1"/>
              <a:t>email</a:t>
            </a:r>
            <a:r>
              <a:rPr lang="da-DK"/>
              <a:t> etc.</a:t>
            </a:r>
          </a:p>
        </p:txBody>
      </p:sp>
      <p:pic>
        <p:nvPicPr>
          <p:cNvPr id="7" name="Picture 6">
            <a:extLst>
              <a:ext uri="{FF2B5EF4-FFF2-40B4-BE49-F238E27FC236}">
                <a16:creationId xmlns:a16="http://schemas.microsoft.com/office/drawing/2014/main" id="{F2FCE474-FF6C-287C-BAAB-7F1FD2646160}"/>
              </a:ext>
            </a:extLst>
          </p:cNvPr>
          <p:cNvPicPr>
            <a:picLocks/>
          </p:cNvPicPr>
          <p:nvPr userDrawn="1"/>
        </p:nvPicPr>
        <p:blipFill rotWithShape="1">
          <a:blip r:embed="rId3" cstate="email">
            <a:extLst>
              <a:ext uri="{28A0092B-C50C-407E-A947-70E740481C1C}">
                <a14:useLocalDpi xmlns:a14="http://schemas.microsoft.com/office/drawing/2010/main"/>
              </a:ext>
            </a:extLst>
          </a:blip>
          <a:srcRect/>
          <a:stretch/>
        </p:blipFill>
        <p:spPr>
          <a:xfrm>
            <a:off x="10261599" y="0"/>
            <a:ext cx="1612901" cy="742950"/>
          </a:xfrm>
          <a:prstGeom prst="rect">
            <a:avLst/>
          </a:prstGeom>
        </p:spPr>
      </p:pic>
      <p:pic>
        <p:nvPicPr>
          <p:cNvPr id="8" name="Picture 7" descr="A group of people standing in a doorway&#10;&#10;Description automatically generated">
            <a:extLst>
              <a:ext uri="{FF2B5EF4-FFF2-40B4-BE49-F238E27FC236}">
                <a16:creationId xmlns:a16="http://schemas.microsoft.com/office/drawing/2014/main" id="{5C84984C-98CC-6026-F797-384F3CE5FF91}"/>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a:xfrm>
            <a:off x="7200291" y="1479748"/>
            <a:ext cx="2326043" cy="3901624"/>
          </a:xfrm>
          <a:prstGeom prst="rect">
            <a:avLst/>
          </a:prstGeom>
        </p:spPr>
      </p:pic>
    </p:spTree>
    <p:extLst>
      <p:ext uri="{BB962C8B-B14F-4D97-AF65-F5344CB8AC3E}">
        <p14:creationId xmlns:p14="http://schemas.microsoft.com/office/powerpoint/2010/main" val="155027505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Title - Subhead - Light">
    <p:bg>
      <p:bgPr>
        <a:solidFill>
          <a:srgbClr val="ECECED"/>
        </a:solidFill>
        <a:effectLst/>
      </p:bgPr>
    </p:bg>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2C9C8A44-FDC0-475D-BC2B-A15569175EA1}"/>
              </a:ext>
            </a:extLst>
          </p:cNvPr>
          <p:cNvSpPr/>
          <p:nvPr/>
        </p:nvSpPr>
        <p:spPr>
          <a:xfrm>
            <a:off x="0" y="6453188"/>
            <a:ext cx="12192000" cy="404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el 1">
            <a:extLst>
              <a:ext uri="{FF2B5EF4-FFF2-40B4-BE49-F238E27FC236}">
                <a16:creationId xmlns:a16="http://schemas.microsoft.com/office/drawing/2014/main" id="{B810521B-284B-4FCD-B0CF-87DE041A7121}"/>
              </a:ext>
            </a:extLst>
          </p:cNvPr>
          <p:cNvSpPr>
            <a:spLocks noGrp="1"/>
          </p:cNvSpPr>
          <p:nvPr>
            <p:ph type="title" hasCustomPrompt="1"/>
          </p:nvPr>
        </p:nvSpPr>
        <p:spPr>
          <a:xfrm>
            <a:off x="514800" y="333375"/>
            <a:ext cx="11161263" cy="554400"/>
          </a:xfrm>
        </p:spPr>
        <p:txBody>
          <a:bodyPr/>
          <a:lstStyle>
            <a:lvl1pPr>
              <a:defRPr>
                <a:solidFill>
                  <a:schemeClr val="tx2"/>
                </a:solidFill>
              </a:defRPr>
            </a:lvl1pPr>
          </a:lstStyle>
          <a:p>
            <a:r>
              <a:rPr lang="en-GB" noProof="0"/>
              <a:t>Add heading</a:t>
            </a:r>
          </a:p>
        </p:txBody>
      </p:sp>
      <p:pic>
        <p:nvPicPr>
          <p:cNvPr id="8" name="Picture 7" descr="Logo, icon&#10;&#10;Description automatically generated">
            <a:extLst>
              <a:ext uri="{FF2B5EF4-FFF2-40B4-BE49-F238E27FC236}">
                <a16:creationId xmlns:a16="http://schemas.microsoft.com/office/drawing/2014/main" id="{C846069B-D02F-0BCC-3219-36F534460F5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887958" y="6560348"/>
            <a:ext cx="863707" cy="195758"/>
          </a:xfrm>
          <a:prstGeom prst="rect">
            <a:avLst/>
          </a:prstGeom>
        </p:spPr>
      </p:pic>
      <p:sp>
        <p:nvSpPr>
          <p:cNvPr id="4" name="Text Placeholder 3">
            <a:extLst>
              <a:ext uri="{FF2B5EF4-FFF2-40B4-BE49-F238E27FC236}">
                <a16:creationId xmlns:a16="http://schemas.microsoft.com/office/drawing/2014/main" id="{94888FD7-02E3-5F5B-D00B-110B1973DD89}"/>
              </a:ext>
            </a:extLst>
          </p:cNvPr>
          <p:cNvSpPr>
            <a:spLocks noGrp="1"/>
          </p:cNvSpPr>
          <p:nvPr>
            <p:ph type="body" sz="quarter" idx="13"/>
          </p:nvPr>
        </p:nvSpPr>
        <p:spPr>
          <a:xfrm>
            <a:off x="515938" y="900000"/>
            <a:ext cx="11160125" cy="368412"/>
          </a:xfrm>
        </p:spPr>
        <p:txBody>
          <a:bodyPr tIns="0" bIns="0"/>
          <a:lstStyle>
            <a:lvl1pPr marL="0" indent="0">
              <a:buFontTx/>
              <a:buNone/>
              <a:defRPr b="1">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203252051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cSld name="VT">
    <p:bg>
      <p:bgPr>
        <a:solidFill>
          <a:schemeClr val="tx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B353ACA9-6277-6442-D2A4-01627FC7AF93}"/>
              </a:ext>
            </a:extLst>
          </p:cNvPr>
          <p:cNvSpPr txBox="1">
            <a:spLocks/>
          </p:cNvSpPr>
          <p:nvPr/>
        </p:nvSpPr>
        <p:spPr>
          <a:xfrm>
            <a:off x="6858000" y="952500"/>
            <a:ext cx="4546600" cy="5105400"/>
          </a:xfrm>
          <a:prstGeom prst="rect">
            <a:avLst/>
          </a:prstGeom>
        </p:spPr>
        <p:txBody>
          <a:bodyPr vert="horz" lIns="91440" tIns="216000" rIns="91440" bIns="45720" rtlCol="0" anchor="ctr" anchorCtr="0">
            <a:normAutofit/>
          </a:bodyPr>
          <a:lstStyle>
            <a:lvl1pPr algn="ctr" defTabSz="914400" rtl="0" eaLnBrk="1" latinLnBrk="0" hangingPunct="1">
              <a:lnSpc>
                <a:spcPct val="70000"/>
              </a:lnSpc>
              <a:spcBef>
                <a:spcPct val="0"/>
              </a:spcBef>
              <a:buNone/>
              <a:defRPr sz="6000" b="1" kern="1200" cap="all" baseline="0">
                <a:solidFill>
                  <a:schemeClr val="bg1"/>
                </a:solidFill>
                <a:latin typeface="+mj-lt"/>
                <a:ea typeface="+mj-ea"/>
                <a:cs typeface="+mj-cs"/>
              </a:defRPr>
            </a:lvl1pPr>
          </a:lstStyle>
          <a:p>
            <a:endParaRPr lang="en-GB">
              <a:solidFill>
                <a:schemeClr val="tx1"/>
              </a:solidFill>
            </a:endParaRPr>
          </a:p>
        </p:txBody>
      </p:sp>
      <p:sp>
        <p:nvSpPr>
          <p:cNvPr id="8" name="Title 1">
            <a:extLst>
              <a:ext uri="{FF2B5EF4-FFF2-40B4-BE49-F238E27FC236}">
                <a16:creationId xmlns:a16="http://schemas.microsoft.com/office/drawing/2014/main" id="{DF88F7F5-85EB-DA79-690C-65C244B084DA}"/>
              </a:ext>
            </a:extLst>
          </p:cNvPr>
          <p:cNvSpPr>
            <a:spLocks noGrp="1"/>
          </p:cNvSpPr>
          <p:nvPr>
            <p:ph type="ctrTitle"/>
          </p:nvPr>
        </p:nvSpPr>
        <p:spPr>
          <a:xfrm>
            <a:off x="431165" y="3733800"/>
            <a:ext cx="10452100" cy="2019300"/>
          </a:xfrm>
        </p:spPr>
        <p:txBody>
          <a:bodyPr wrap="square" anchor="ctr" anchorCtr="0">
            <a:noAutofit/>
          </a:bodyPr>
          <a:lstStyle>
            <a:lvl1pPr algn="l">
              <a:defRPr sz="6800">
                <a:solidFill>
                  <a:schemeClr val="bg1"/>
                </a:solidFill>
              </a:defRPr>
            </a:lvl1pPr>
          </a:lstStyle>
          <a:p>
            <a:r>
              <a:rPr lang="en-US"/>
              <a:t>Click to edit Master title style</a:t>
            </a:r>
            <a:endParaRPr lang="en-GB"/>
          </a:p>
        </p:txBody>
      </p:sp>
      <p:sp>
        <p:nvSpPr>
          <p:cNvPr id="5" name="[T2O] TextBox 4">
            <a:extLst>
              <a:ext uri="{FF2B5EF4-FFF2-40B4-BE49-F238E27FC236}">
                <a16:creationId xmlns:a16="http://schemas.microsoft.com/office/drawing/2014/main" id="{1171D304-48BB-4E3E-CF23-52A1B70C8D11}"/>
              </a:ext>
            </a:extLst>
          </p:cNvPr>
          <p:cNvSpPr/>
          <p:nvPr/>
        </p:nvSpPr>
        <p:spPr>
          <a:xfrm>
            <a:off x="431165" y="493527"/>
            <a:ext cx="3874135" cy="2733467"/>
          </a:xfrm>
          <a:custGeom>
            <a:avLst/>
            <a:gdLst/>
            <a:ahLst/>
            <a:cxnLst/>
            <a:rect l="l" t="t" r="r" b="b"/>
            <a:pathLst>
              <a:path w="2876151" h="2029321">
                <a:moveTo>
                  <a:pt x="1566948" y="0"/>
                </a:moveTo>
                <a:lnTo>
                  <a:pt x="2876151" y="0"/>
                </a:lnTo>
                <a:lnTo>
                  <a:pt x="2876151" y="494891"/>
                </a:lnTo>
                <a:lnTo>
                  <a:pt x="2526726" y="494891"/>
                </a:lnTo>
                <a:lnTo>
                  <a:pt x="2526726" y="2029321"/>
                </a:lnTo>
                <a:lnTo>
                  <a:pt x="1916373" y="2029321"/>
                </a:lnTo>
                <a:lnTo>
                  <a:pt x="1916373" y="494891"/>
                </a:lnTo>
                <a:lnTo>
                  <a:pt x="1566948" y="494891"/>
                </a:lnTo>
                <a:close/>
                <a:moveTo>
                  <a:pt x="0" y="0"/>
                </a:moveTo>
                <a:lnTo>
                  <a:pt x="628811" y="0"/>
                </a:lnTo>
                <a:lnTo>
                  <a:pt x="768546" y="1090604"/>
                </a:lnTo>
                <a:lnTo>
                  <a:pt x="777660" y="1090604"/>
                </a:lnTo>
                <a:lnTo>
                  <a:pt x="920433" y="0"/>
                </a:lnTo>
                <a:lnTo>
                  <a:pt x="1534050" y="0"/>
                </a:lnTo>
                <a:lnTo>
                  <a:pt x="1087508" y="2029321"/>
                </a:lnTo>
                <a:lnTo>
                  <a:pt x="452622" y="2029321"/>
                </a:lnTo>
                <a:close/>
              </a:path>
            </a:pathLst>
          </a:custGeom>
          <a:solidFill>
            <a:schemeClr val="bg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747681747"/>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2/12/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4_Image">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63331E60-CEBD-7274-FAB8-70966FADF500}"/>
              </a:ext>
            </a:extLst>
          </p:cNvPr>
          <p:cNvSpPr>
            <a:spLocks noGrp="1"/>
          </p:cNvSpPr>
          <p:nvPr>
            <p:ph type="pic" sz="quarter" idx="10"/>
          </p:nvPr>
        </p:nvSpPr>
        <p:spPr>
          <a:xfrm>
            <a:off x="0" y="0"/>
            <a:ext cx="11323974" cy="6858000"/>
          </a:xfrm>
          <a:custGeom>
            <a:avLst/>
            <a:gdLst>
              <a:gd name="connsiteX0" fmla="*/ 0 w 11454603"/>
              <a:gd name="connsiteY0" fmla="*/ 0 h 6858000"/>
              <a:gd name="connsiteX1" fmla="*/ 6937828 w 11454603"/>
              <a:gd name="connsiteY1" fmla="*/ 0 h 6858000"/>
              <a:gd name="connsiteX2" fmla="*/ 8026081 w 11454603"/>
              <a:gd name="connsiteY2" fmla="*/ 0 h 6858000"/>
              <a:gd name="connsiteX3" fmla="*/ 11454276 w 11454603"/>
              <a:gd name="connsiteY3" fmla="*/ 0 h 6858000"/>
              <a:gd name="connsiteX4" fmla="*/ 11454276 w 11454603"/>
              <a:gd name="connsiteY4" fmla="*/ 4867452 h 6858000"/>
              <a:gd name="connsiteX5" fmla="*/ 8025753 w 11454603"/>
              <a:gd name="connsiteY5" fmla="*/ 6855617 h 6858000"/>
              <a:gd name="connsiteX6" fmla="*/ 11454603 w 11454603"/>
              <a:gd name="connsiteY6" fmla="*/ 6855246 h 6858000"/>
              <a:gd name="connsiteX7" fmla="*/ 11454603 w 11454603"/>
              <a:gd name="connsiteY7" fmla="*/ 6855617 h 6858000"/>
              <a:gd name="connsiteX8" fmla="*/ 11454603 w 11454603"/>
              <a:gd name="connsiteY8" fmla="*/ 6858000 h 6858000"/>
              <a:gd name="connsiteX9" fmla="*/ 6937828 w 11454603"/>
              <a:gd name="connsiteY9" fmla="*/ 6858000 h 6858000"/>
              <a:gd name="connsiteX10" fmla="*/ 6937828 w 11454603"/>
              <a:gd name="connsiteY10" fmla="*/ 6855348 h 6858000"/>
              <a:gd name="connsiteX11" fmla="*/ 0 w 11454603"/>
              <a:gd name="connsiteY11" fmla="*/ 68549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454603" h="6858000">
                <a:moveTo>
                  <a:pt x="0" y="0"/>
                </a:moveTo>
                <a:lnTo>
                  <a:pt x="6937828" y="0"/>
                </a:lnTo>
                <a:lnTo>
                  <a:pt x="8026081" y="0"/>
                </a:lnTo>
                <a:lnTo>
                  <a:pt x="11454276" y="0"/>
                </a:lnTo>
                <a:lnTo>
                  <a:pt x="11454276" y="4867452"/>
                </a:lnTo>
                <a:lnTo>
                  <a:pt x="8025753" y="6855617"/>
                </a:lnTo>
                <a:lnTo>
                  <a:pt x="11454603" y="6855246"/>
                </a:lnTo>
                <a:lnTo>
                  <a:pt x="11454603" y="6855617"/>
                </a:lnTo>
                <a:lnTo>
                  <a:pt x="11454603" y="6858000"/>
                </a:lnTo>
                <a:lnTo>
                  <a:pt x="6937828" y="6858000"/>
                </a:lnTo>
                <a:lnTo>
                  <a:pt x="6937828" y="6855348"/>
                </a:lnTo>
                <a:lnTo>
                  <a:pt x="0" y="6854935"/>
                </a:lnTo>
                <a:close/>
              </a:path>
            </a:pathLst>
          </a:custGeom>
        </p:spPr>
        <p:txBody>
          <a:bodyPr wrap="square">
            <a:noAutofit/>
          </a:bodyPr>
          <a:lstStyle/>
          <a:p>
            <a:r>
              <a:rPr lang="en-US"/>
              <a:t>Click icon to add picture</a:t>
            </a:r>
            <a:endParaRPr lang="en-GB"/>
          </a:p>
        </p:txBody>
      </p:sp>
    </p:spTree>
    <p:extLst>
      <p:ext uri="{BB962C8B-B14F-4D97-AF65-F5344CB8AC3E}">
        <p14:creationId xmlns:p14="http://schemas.microsoft.com/office/powerpoint/2010/main" val="1800132607"/>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2/12/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theme" Target="../theme/theme2.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slideLayout" Target="../slideLayouts/slideLayout45.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image" Target="../media/image10.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image" Target="../media/image10.png"/><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theme" Target="../theme/theme3.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71.xml"/><Relationship Id="rId7" Type="http://schemas.openxmlformats.org/officeDocument/2006/relationships/image" Target="../media/image10.png"/><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theme" Target="../theme/theme4.xml"/><Relationship Id="rId5" Type="http://schemas.openxmlformats.org/officeDocument/2006/relationships/slideLayout" Target="../slideLayouts/slideLayout73.xml"/><Relationship Id="rId4" Type="http://schemas.openxmlformats.org/officeDocument/2006/relationships/slideLayout" Target="../slideLayouts/slideLayout72.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76.xml"/><Relationship Id="rId7" Type="http://schemas.openxmlformats.org/officeDocument/2006/relationships/slideLayout" Target="../slideLayouts/slideLayout80.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5" Type="http://schemas.openxmlformats.org/officeDocument/2006/relationships/slideLayout" Target="../slideLayouts/slideLayout78.xml"/><Relationship Id="rId4" Type="http://schemas.openxmlformats.org/officeDocument/2006/relationships/slideLayout" Target="../slideLayouts/slideLayout77.xml"/><Relationship Id="rId9" Type="http://schemas.openxmlformats.org/officeDocument/2006/relationships/image" Target="../media/image10.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2/12/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706" r:id="rId2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9E9E9"/>
        </a:solidFill>
        <a:effectLst/>
      </p:bgPr>
    </p:bg>
    <p:spTree>
      <p:nvGrpSpPr>
        <p:cNvPr id="1" name=""/>
        <p:cNvGrpSpPr/>
        <p:nvPr/>
      </p:nvGrpSpPr>
      <p:grpSpPr>
        <a:xfrm>
          <a:off x="0" y="0"/>
          <a:ext cx="0" cy="0"/>
          <a:chOff x="0" y="0"/>
          <a:chExt cx="0" cy="0"/>
        </a:xfrm>
      </p:grpSpPr>
      <p:pic>
        <p:nvPicPr>
          <p:cNvPr id="7" name="Picture 6" descr="A black and white grid&#10;&#10;Description automatically generated">
            <a:extLst>
              <a:ext uri="{FF2B5EF4-FFF2-40B4-BE49-F238E27FC236}">
                <a16:creationId xmlns:a16="http://schemas.microsoft.com/office/drawing/2014/main" id="{3220CCD8-CEDF-3D93-9B00-209E83DF60B2}"/>
              </a:ext>
            </a:extLst>
          </p:cNvPr>
          <p:cNvPicPr>
            <a:picLocks/>
          </p:cNvPicPr>
          <p:nvPr/>
        </p:nvPicPr>
        <p:blipFill>
          <a:blip r:embed="rId27"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Pladsholder til titel 1">
            <a:extLst>
              <a:ext uri="{FF2B5EF4-FFF2-40B4-BE49-F238E27FC236}">
                <a16:creationId xmlns:a16="http://schemas.microsoft.com/office/drawing/2014/main" id="{03DE7CDD-4E13-4511-B65A-EE22B43A1509}"/>
              </a:ext>
            </a:extLst>
          </p:cNvPr>
          <p:cNvSpPr>
            <a:spLocks noGrp="1"/>
          </p:cNvSpPr>
          <p:nvPr>
            <p:ph type="title"/>
          </p:nvPr>
        </p:nvSpPr>
        <p:spPr>
          <a:xfrm>
            <a:off x="515938" y="333375"/>
            <a:ext cx="11160125" cy="554400"/>
          </a:xfrm>
          <a:prstGeom prst="rect">
            <a:avLst/>
          </a:prstGeom>
        </p:spPr>
        <p:txBody>
          <a:bodyPr vert="horz" wrap="none" lIns="0" tIns="45720" rIns="0" bIns="0" rtlCol="0" anchor="t" anchorCtr="0">
            <a:noAutofit/>
          </a:bodyPr>
          <a:lstStyle/>
          <a:p>
            <a:r>
              <a:rPr lang="en-GB" noProof="0"/>
              <a:t>Add heading</a:t>
            </a:r>
          </a:p>
        </p:txBody>
      </p:sp>
      <p:sp>
        <p:nvSpPr>
          <p:cNvPr id="3" name="Pladsholder til tekst 2">
            <a:extLst>
              <a:ext uri="{FF2B5EF4-FFF2-40B4-BE49-F238E27FC236}">
                <a16:creationId xmlns:a16="http://schemas.microsoft.com/office/drawing/2014/main" id="{2682BF14-0D4A-49F1-8AEA-D894DF4A019B}"/>
              </a:ext>
            </a:extLst>
          </p:cNvPr>
          <p:cNvSpPr>
            <a:spLocks noGrp="1"/>
          </p:cNvSpPr>
          <p:nvPr>
            <p:ph type="body" idx="1"/>
          </p:nvPr>
        </p:nvSpPr>
        <p:spPr>
          <a:xfrm>
            <a:off x="515938" y="1377000"/>
            <a:ext cx="7343776" cy="4968238"/>
          </a:xfrm>
          <a:prstGeom prst="rect">
            <a:avLst/>
          </a:prstGeom>
        </p:spPr>
        <p:txBody>
          <a:bodyPr vert="horz" lIns="0" tIns="45720" rIns="0" bIns="45720" rtlCol="0">
            <a:noAutofit/>
          </a:bodyPr>
          <a:lstStyle/>
          <a:p>
            <a:pPr lvl="0"/>
            <a:r>
              <a:rPr lang="en-GB" noProof="0"/>
              <a:t>Add content. Deactivate lists and bullets if not needed. </a:t>
            </a:r>
          </a:p>
          <a:p>
            <a:pPr lvl="1"/>
            <a:r>
              <a:rPr lang="en-GB" noProof="0"/>
              <a:t>Second level content</a:t>
            </a:r>
          </a:p>
          <a:p>
            <a:pPr lvl="2"/>
            <a:r>
              <a:rPr lang="en-GB" noProof="0"/>
              <a:t>Third level content</a:t>
            </a:r>
          </a:p>
          <a:p>
            <a:pPr lvl="3"/>
            <a:r>
              <a:rPr lang="en-GB" noProof="0"/>
              <a:t>Fourth level content</a:t>
            </a:r>
          </a:p>
          <a:p>
            <a:pPr lvl="4"/>
            <a:r>
              <a:rPr lang="en-GB" noProof="0"/>
              <a:t>Fifth level content</a:t>
            </a:r>
          </a:p>
        </p:txBody>
      </p:sp>
    </p:spTree>
    <p:extLst>
      <p:ext uri="{BB962C8B-B14F-4D97-AF65-F5344CB8AC3E}">
        <p14:creationId xmlns:p14="http://schemas.microsoft.com/office/powerpoint/2010/main" val="1925942337"/>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 id="2147483704" r:id="rId24"/>
    <p:sldLayoutId id="2147483705" r:id="rId25"/>
  </p:sldLayoutIdLst>
  <p:hf sldNum="0" hdr="0" ftr="0"/>
  <p:txStyles>
    <p:titleStyle>
      <a:lvl1pPr algn="l" defTabSz="914400" rtl="0" eaLnBrk="1" latinLnBrk="0" hangingPunct="1">
        <a:lnSpc>
          <a:spcPct val="90000"/>
        </a:lnSpc>
        <a:spcBef>
          <a:spcPct val="0"/>
        </a:spcBef>
        <a:buNone/>
        <a:defRPr sz="3600" b="1" kern="1200">
          <a:solidFill>
            <a:schemeClr val="tx2"/>
          </a:solidFill>
          <a:latin typeface="+mj-lt"/>
          <a:ea typeface="+mj-ea"/>
          <a:cs typeface="+mj-cs"/>
        </a:defRPr>
      </a:lvl1pPr>
    </p:titleStyle>
    <p:bodyStyle>
      <a:lvl1pPr marL="228600" indent="-228600" algn="l" defTabSz="914400" rtl="0" eaLnBrk="1" latinLnBrk="0" hangingPunct="1">
        <a:lnSpc>
          <a:spcPct val="110000"/>
        </a:lnSpc>
        <a:spcBef>
          <a:spcPts val="1000"/>
        </a:spcBef>
        <a:buClr>
          <a:schemeClr val="accent1"/>
        </a:buClr>
        <a:buFont typeface="Wingdings" panose="05000000000000000000" pitchFamily="2" charset="2"/>
        <a:buChar char="§"/>
        <a:defRPr sz="1800" kern="1200">
          <a:solidFill>
            <a:schemeClr val="tx1"/>
          </a:solidFill>
          <a:latin typeface="+mn-lt"/>
          <a:ea typeface="+mn-ea"/>
          <a:cs typeface="+mn-cs"/>
        </a:defRPr>
      </a:lvl1pPr>
      <a:lvl2pPr marL="468000" indent="-228600" algn="l" defTabSz="914400" rtl="0" eaLnBrk="1" latinLnBrk="0" hangingPunct="1">
        <a:lnSpc>
          <a:spcPct val="110000"/>
        </a:lnSpc>
        <a:spcBef>
          <a:spcPts val="600"/>
        </a:spcBef>
        <a:buClr>
          <a:schemeClr val="accent1"/>
        </a:buClr>
        <a:buFont typeface="Wingdings" panose="05000000000000000000" pitchFamily="2" charset="2"/>
        <a:buChar char="§"/>
        <a:defRPr sz="1600" kern="1200">
          <a:solidFill>
            <a:schemeClr val="tx1"/>
          </a:solidFill>
          <a:latin typeface="+mn-lt"/>
          <a:ea typeface="+mn-ea"/>
          <a:cs typeface="+mn-cs"/>
        </a:defRPr>
      </a:lvl2pPr>
      <a:lvl3pPr marL="702000" indent="-228600" algn="l" defTabSz="914400" rtl="0" eaLnBrk="1" latinLnBrk="0" hangingPunct="1">
        <a:lnSpc>
          <a:spcPct val="110000"/>
        </a:lnSpc>
        <a:spcBef>
          <a:spcPts val="600"/>
        </a:spcBef>
        <a:buClr>
          <a:schemeClr val="accent1"/>
        </a:buClr>
        <a:buFont typeface="Wingdings" panose="05000000000000000000" pitchFamily="2" charset="2"/>
        <a:buChar char="§"/>
        <a:defRPr sz="1600" kern="1200">
          <a:solidFill>
            <a:schemeClr val="tx1"/>
          </a:solidFill>
          <a:latin typeface="+mn-lt"/>
          <a:ea typeface="+mn-ea"/>
          <a:cs typeface="+mn-cs"/>
        </a:defRPr>
      </a:lvl3pPr>
      <a:lvl4pPr marL="936000" indent="-228600" algn="l" defTabSz="914400" rtl="0" eaLnBrk="1" latinLnBrk="0" hangingPunct="1">
        <a:lnSpc>
          <a:spcPct val="11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1152000" indent="-228600" algn="l" defTabSz="914400" rtl="0" eaLnBrk="1" latinLnBrk="0" hangingPunct="1">
        <a:lnSpc>
          <a:spcPct val="11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51" pos="3840">
          <p15:clr>
            <a:srgbClr val="5ACBF0"/>
          </p15:clr>
        </p15:guide>
        <p15:guide id="52" pos="3749">
          <p15:clr>
            <a:srgbClr val="A4A3A4"/>
          </p15:clr>
        </p15:guide>
        <p15:guide id="53" pos="2547">
          <p15:clr>
            <a:srgbClr val="A4A3A4"/>
          </p15:clr>
        </p15:guide>
        <p15:guide id="54" pos="4951">
          <p15:clr>
            <a:srgbClr val="A4A3A4"/>
          </p15:clr>
        </p15:guide>
        <p15:guide id="55" pos="5133">
          <p15:clr>
            <a:srgbClr val="A4A3A4"/>
          </p15:clr>
        </p15:guide>
        <p15:guide id="56" pos="7355">
          <p15:clr>
            <a:srgbClr val="A4A3A4"/>
          </p15:clr>
        </p15:guide>
        <p15:guide id="57" pos="325">
          <p15:clr>
            <a:srgbClr val="A4A3A4"/>
          </p15:clr>
        </p15:guide>
        <p15:guide id="58" pos="6153">
          <p15:clr>
            <a:srgbClr val="A4A3A4"/>
          </p15:clr>
        </p15:guide>
        <p15:guide id="59" pos="6335">
          <p15:clr>
            <a:srgbClr val="A4A3A4"/>
          </p15:clr>
        </p15:guide>
        <p15:guide id="60" pos="2729">
          <p15:clr>
            <a:srgbClr val="A4A3A4"/>
          </p15:clr>
        </p15:guide>
        <p15:guide id="61" pos="3931">
          <p15:clr>
            <a:srgbClr val="A4A3A4"/>
          </p15:clr>
        </p15:guide>
        <p15:guide id="62" pos="1527">
          <p15:clr>
            <a:srgbClr val="A4A3A4"/>
          </p15:clr>
        </p15:guide>
        <p15:guide id="63" pos="1345">
          <p15:clr>
            <a:srgbClr val="A4A3A4"/>
          </p15:clr>
        </p15:guide>
        <p15:guide id="64" orient="horz" pos="210">
          <p15:clr>
            <a:srgbClr val="F26B43"/>
          </p15:clr>
        </p15:guide>
        <p15:guide id="65" orient="horz" pos="777">
          <p15:clr>
            <a:srgbClr val="F26B43"/>
          </p15:clr>
        </p15:guide>
        <p15:guide id="66" orient="horz" pos="867">
          <p15:clr>
            <a:srgbClr val="F26B43"/>
          </p15:clr>
        </p15:guide>
        <p15:guide id="67" orient="horz" pos="4065">
          <p15:clr>
            <a:srgbClr val="F26B43"/>
          </p15:clr>
        </p15:guide>
        <p15:guide id="68" orient="horz" pos="399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9E9E9"/>
        </a:solidFill>
        <a:effectLst/>
      </p:bgPr>
    </p:bg>
    <p:spTree>
      <p:nvGrpSpPr>
        <p:cNvPr id="1" name=""/>
        <p:cNvGrpSpPr/>
        <p:nvPr/>
      </p:nvGrpSpPr>
      <p:grpSpPr>
        <a:xfrm>
          <a:off x="0" y="0"/>
          <a:ext cx="0" cy="0"/>
          <a:chOff x="0" y="0"/>
          <a:chExt cx="0" cy="0"/>
        </a:xfrm>
      </p:grpSpPr>
      <p:pic>
        <p:nvPicPr>
          <p:cNvPr id="7" name="Picture 6" descr="A black and white grid&#10;&#10;Description automatically generated">
            <a:extLst>
              <a:ext uri="{FF2B5EF4-FFF2-40B4-BE49-F238E27FC236}">
                <a16:creationId xmlns:a16="http://schemas.microsoft.com/office/drawing/2014/main" id="{3220CCD8-CEDF-3D93-9B00-209E83DF60B2}"/>
              </a:ext>
            </a:extLst>
          </p:cNvPr>
          <p:cNvPicPr>
            <a:picLocks/>
          </p:cNvPicPr>
          <p:nvPr/>
        </p:nvPicPr>
        <p:blipFill>
          <a:blip r:embed="rId25"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Pladsholder til titel 1">
            <a:extLst>
              <a:ext uri="{FF2B5EF4-FFF2-40B4-BE49-F238E27FC236}">
                <a16:creationId xmlns:a16="http://schemas.microsoft.com/office/drawing/2014/main" id="{03DE7CDD-4E13-4511-B65A-EE22B43A1509}"/>
              </a:ext>
            </a:extLst>
          </p:cNvPr>
          <p:cNvSpPr>
            <a:spLocks noGrp="1"/>
          </p:cNvSpPr>
          <p:nvPr>
            <p:ph type="title"/>
          </p:nvPr>
        </p:nvSpPr>
        <p:spPr>
          <a:xfrm>
            <a:off x="515938" y="333375"/>
            <a:ext cx="11160125" cy="554400"/>
          </a:xfrm>
          <a:prstGeom prst="rect">
            <a:avLst/>
          </a:prstGeom>
        </p:spPr>
        <p:txBody>
          <a:bodyPr vert="horz" wrap="none" lIns="0" tIns="45720" rIns="0" bIns="0" rtlCol="0" anchor="t" anchorCtr="0">
            <a:noAutofit/>
          </a:bodyPr>
          <a:lstStyle/>
          <a:p>
            <a:r>
              <a:rPr lang="en-GB" noProof="0"/>
              <a:t>Add heading</a:t>
            </a:r>
          </a:p>
        </p:txBody>
      </p:sp>
      <p:sp>
        <p:nvSpPr>
          <p:cNvPr id="3" name="Pladsholder til tekst 2">
            <a:extLst>
              <a:ext uri="{FF2B5EF4-FFF2-40B4-BE49-F238E27FC236}">
                <a16:creationId xmlns:a16="http://schemas.microsoft.com/office/drawing/2014/main" id="{2682BF14-0D4A-49F1-8AEA-D894DF4A019B}"/>
              </a:ext>
            </a:extLst>
          </p:cNvPr>
          <p:cNvSpPr>
            <a:spLocks noGrp="1"/>
          </p:cNvSpPr>
          <p:nvPr>
            <p:ph type="body" idx="1"/>
          </p:nvPr>
        </p:nvSpPr>
        <p:spPr>
          <a:xfrm>
            <a:off x="515938" y="1377000"/>
            <a:ext cx="7343776" cy="4968238"/>
          </a:xfrm>
          <a:prstGeom prst="rect">
            <a:avLst/>
          </a:prstGeom>
        </p:spPr>
        <p:txBody>
          <a:bodyPr vert="horz" lIns="0" tIns="45720" rIns="0" bIns="45720" rtlCol="0">
            <a:noAutofit/>
          </a:bodyPr>
          <a:lstStyle/>
          <a:p>
            <a:pPr lvl="0"/>
            <a:r>
              <a:rPr lang="en-GB" noProof="0"/>
              <a:t>Add content. Deactivate lists and bullets if not needed. </a:t>
            </a:r>
          </a:p>
          <a:p>
            <a:pPr lvl="1"/>
            <a:r>
              <a:rPr lang="en-GB" noProof="0"/>
              <a:t>Second level content</a:t>
            </a:r>
          </a:p>
          <a:p>
            <a:pPr lvl="2"/>
            <a:r>
              <a:rPr lang="en-GB" noProof="0"/>
              <a:t>Third level content</a:t>
            </a:r>
          </a:p>
          <a:p>
            <a:pPr lvl="3"/>
            <a:r>
              <a:rPr lang="en-GB" noProof="0"/>
              <a:t>Fourth level content</a:t>
            </a:r>
          </a:p>
          <a:p>
            <a:pPr lvl="4"/>
            <a:r>
              <a:rPr lang="en-GB" noProof="0"/>
              <a:t>Fifth level content</a:t>
            </a:r>
          </a:p>
        </p:txBody>
      </p:sp>
    </p:spTree>
    <p:extLst>
      <p:ext uri="{BB962C8B-B14F-4D97-AF65-F5344CB8AC3E}">
        <p14:creationId xmlns:p14="http://schemas.microsoft.com/office/powerpoint/2010/main" val="220366372"/>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 id="2147483729" r:id="rId22"/>
    <p:sldLayoutId id="2147483730" r:id="rId23"/>
  </p:sldLayoutIdLst>
  <p:hf sldNum="0" hdr="0" ftr="0" dt="0"/>
  <p:txStyles>
    <p:titleStyle>
      <a:lvl1pPr algn="l" defTabSz="914400" rtl="0" eaLnBrk="1" latinLnBrk="0" hangingPunct="1">
        <a:lnSpc>
          <a:spcPct val="90000"/>
        </a:lnSpc>
        <a:spcBef>
          <a:spcPct val="0"/>
        </a:spcBef>
        <a:buNone/>
        <a:defRPr sz="3600" b="1" kern="1200">
          <a:solidFill>
            <a:schemeClr val="tx2"/>
          </a:solidFill>
          <a:latin typeface="+mj-lt"/>
          <a:ea typeface="+mj-ea"/>
          <a:cs typeface="+mj-cs"/>
        </a:defRPr>
      </a:lvl1pPr>
    </p:titleStyle>
    <p:bodyStyle>
      <a:lvl1pPr marL="228600" indent="-228600" algn="l" defTabSz="914400" rtl="0" eaLnBrk="1" latinLnBrk="0" hangingPunct="1">
        <a:lnSpc>
          <a:spcPct val="110000"/>
        </a:lnSpc>
        <a:spcBef>
          <a:spcPts val="1000"/>
        </a:spcBef>
        <a:buClr>
          <a:schemeClr val="accent1"/>
        </a:buClr>
        <a:buFont typeface="Wingdings" panose="05000000000000000000" pitchFamily="2" charset="2"/>
        <a:buChar char="§"/>
        <a:defRPr sz="1800" kern="1200">
          <a:solidFill>
            <a:schemeClr val="tx1"/>
          </a:solidFill>
          <a:latin typeface="+mn-lt"/>
          <a:ea typeface="+mn-ea"/>
          <a:cs typeface="+mn-cs"/>
        </a:defRPr>
      </a:lvl1pPr>
      <a:lvl2pPr marL="468000" indent="-228600" algn="l" defTabSz="914400" rtl="0" eaLnBrk="1" latinLnBrk="0" hangingPunct="1">
        <a:lnSpc>
          <a:spcPct val="110000"/>
        </a:lnSpc>
        <a:spcBef>
          <a:spcPts val="600"/>
        </a:spcBef>
        <a:buClr>
          <a:schemeClr val="accent1"/>
        </a:buClr>
        <a:buFont typeface="Wingdings" panose="05000000000000000000" pitchFamily="2" charset="2"/>
        <a:buChar char="§"/>
        <a:defRPr sz="1600" kern="1200">
          <a:solidFill>
            <a:schemeClr val="tx1"/>
          </a:solidFill>
          <a:latin typeface="+mn-lt"/>
          <a:ea typeface="+mn-ea"/>
          <a:cs typeface="+mn-cs"/>
        </a:defRPr>
      </a:lvl2pPr>
      <a:lvl3pPr marL="702000" indent="-228600" algn="l" defTabSz="914400" rtl="0" eaLnBrk="1" latinLnBrk="0" hangingPunct="1">
        <a:lnSpc>
          <a:spcPct val="110000"/>
        </a:lnSpc>
        <a:spcBef>
          <a:spcPts val="600"/>
        </a:spcBef>
        <a:buClr>
          <a:schemeClr val="accent1"/>
        </a:buClr>
        <a:buFont typeface="Wingdings" panose="05000000000000000000" pitchFamily="2" charset="2"/>
        <a:buChar char="§"/>
        <a:defRPr sz="1600" kern="1200">
          <a:solidFill>
            <a:schemeClr val="tx1"/>
          </a:solidFill>
          <a:latin typeface="+mn-lt"/>
          <a:ea typeface="+mn-ea"/>
          <a:cs typeface="+mn-cs"/>
        </a:defRPr>
      </a:lvl3pPr>
      <a:lvl4pPr marL="936000" indent="-228600" algn="l" defTabSz="914400" rtl="0" eaLnBrk="1" latinLnBrk="0" hangingPunct="1">
        <a:lnSpc>
          <a:spcPct val="11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1152000" indent="-228600" algn="l" defTabSz="914400" rtl="0" eaLnBrk="1" latinLnBrk="0" hangingPunct="1">
        <a:lnSpc>
          <a:spcPct val="11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51" pos="3840">
          <p15:clr>
            <a:srgbClr val="5ACBF0"/>
          </p15:clr>
        </p15:guide>
        <p15:guide id="52" pos="3749">
          <p15:clr>
            <a:srgbClr val="A4A3A4"/>
          </p15:clr>
        </p15:guide>
        <p15:guide id="53" pos="2547">
          <p15:clr>
            <a:srgbClr val="A4A3A4"/>
          </p15:clr>
        </p15:guide>
        <p15:guide id="54" pos="4951">
          <p15:clr>
            <a:srgbClr val="A4A3A4"/>
          </p15:clr>
        </p15:guide>
        <p15:guide id="55" pos="5133">
          <p15:clr>
            <a:srgbClr val="A4A3A4"/>
          </p15:clr>
        </p15:guide>
        <p15:guide id="56" pos="7355">
          <p15:clr>
            <a:srgbClr val="A4A3A4"/>
          </p15:clr>
        </p15:guide>
        <p15:guide id="57" pos="325">
          <p15:clr>
            <a:srgbClr val="A4A3A4"/>
          </p15:clr>
        </p15:guide>
        <p15:guide id="58" pos="6153">
          <p15:clr>
            <a:srgbClr val="A4A3A4"/>
          </p15:clr>
        </p15:guide>
        <p15:guide id="59" pos="6335">
          <p15:clr>
            <a:srgbClr val="A4A3A4"/>
          </p15:clr>
        </p15:guide>
        <p15:guide id="60" pos="2729">
          <p15:clr>
            <a:srgbClr val="A4A3A4"/>
          </p15:clr>
        </p15:guide>
        <p15:guide id="61" pos="3931">
          <p15:clr>
            <a:srgbClr val="A4A3A4"/>
          </p15:clr>
        </p15:guide>
        <p15:guide id="62" pos="1527">
          <p15:clr>
            <a:srgbClr val="A4A3A4"/>
          </p15:clr>
        </p15:guide>
        <p15:guide id="63" pos="1345">
          <p15:clr>
            <a:srgbClr val="A4A3A4"/>
          </p15:clr>
        </p15:guide>
        <p15:guide id="64" orient="horz" pos="210">
          <p15:clr>
            <a:srgbClr val="F26B43"/>
          </p15:clr>
        </p15:guide>
        <p15:guide id="65" orient="horz" pos="777">
          <p15:clr>
            <a:srgbClr val="F26B43"/>
          </p15:clr>
        </p15:guide>
        <p15:guide id="66" orient="horz" pos="867">
          <p15:clr>
            <a:srgbClr val="F26B43"/>
          </p15:clr>
        </p15:guide>
        <p15:guide id="67" orient="horz" pos="4065">
          <p15:clr>
            <a:srgbClr val="F26B43"/>
          </p15:clr>
        </p15:guide>
        <p15:guide id="68" orient="horz" pos="399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pic>
        <p:nvPicPr>
          <p:cNvPr id="7" name="Picture 6" descr="A black and white grid&#10;&#10;Description automatically generated">
            <a:extLst>
              <a:ext uri="{FF2B5EF4-FFF2-40B4-BE49-F238E27FC236}">
                <a16:creationId xmlns:a16="http://schemas.microsoft.com/office/drawing/2014/main" id="{3220CCD8-CEDF-3D93-9B00-209E83DF60B2}"/>
              </a:ext>
            </a:extLst>
          </p:cNvPr>
          <p:cNvPicPr>
            <a:picLocks/>
          </p:cNvPicPr>
          <p:nvPr/>
        </p:nvPicPr>
        <p:blipFill>
          <a:blip r:embed="rId7" cstate="email">
            <a:alphaModFix amt="20000"/>
            <a:extLst>
              <a:ext uri="{28A0092B-C50C-407E-A947-70E740481C1C}">
                <a14:useLocalDpi xmlns:a14="http://schemas.microsoft.com/office/drawing/2010/main"/>
              </a:ext>
            </a:extLst>
          </a:blip>
          <a:stretch>
            <a:fillRect/>
          </a:stretch>
        </p:blipFill>
        <p:spPr>
          <a:xfrm>
            <a:off x="12700" y="0"/>
            <a:ext cx="12192000" cy="6858000"/>
          </a:xfrm>
          <a:prstGeom prst="rect">
            <a:avLst/>
          </a:prstGeom>
        </p:spPr>
      </p:pic>
      <p:sp>
        <p:nvSpPr>
          <p:cNvPr id="2" name="Pladsholder til titel 1">
            <a:extLst>
              <a:ext uri="{FF2B5EF4-FFF2-40B4-BE49-F238E27FC236}">
                <a16:creationId xmlns:a16="http://schemas.microsoft.com/office/drawing/2014/main" id="{03DE7CDD-4E13-4511-B65A-EE22B43A1509}"/>
              </a:ext>
            </a:extLst>
          </p:cNvPr>
          <p:cNvSpPr>
            <a:spLocks noGrp="1"/>
          </p:cNvSpPr>
          <p:nvPr>
            <p:ph type="title"/>
          </p:nvPr>
        </p:nvSpPr>
        <p:spPr>
          <a:xfrm>
            <a:off x="515938" y="333375"/>
            <a:ext cx="11160125" cy="554400"/>
          </a:xfrm>
          <a:prstGeom prst="rect">
            <a:avLst/>
          </a:prstGeom>
        </p:spPr>
        <p:txBody>
          <a:bodyPr vert="horz" wrap="none" lIns="0" tIns="45720" rIns="0" bIns="0" rtlCol="0" anchor="t" anchorCtr="0">
            <a:noAutofit/>
          </a:bodyPr>
          <a:lstStyle/>
          <a:p>
            <a:r>
              <a:rPr lang="en-GB" noProof="0"/>
              <a:t>Add heading</a:t>
            </a:r>
          </a:p>
        </p:txBody>
      </p:sp>
      <p:sp>
        <p:nvSpPr>
          <p:cNvPr id="3" name="Pladsholder til tekst 2">
            <a:extLst>
              <a:ext uri="{FF2B5EF4-FFF2-40B4-BE49-F238E27FC236}">
                <a16:creationId xmlns:a16="http://schemas.microsoft.com/office/drawing/2014/main" id="{2682BF14-0D4A-49F1-8AEA-D894DF4A019B}"/>
              </a:ext>
            </a:extLst>
          </p:cNvPr>
          <p:cNvSpPr>
            <a:spLocks noGrp="1"/>
          </p:cNvSpPr>
          <p:nvPr>
            <p:ph type="body" idx="1"/>
          </p:nvPr>
        </p:nvSpPr>
        <p:spPr>
          <a:xfrm>
            <a:off x="515938" y="1377000"/>
            <a:ext cx="7343776" cy="4968238"/>
          </a:xfrm>
          <a:prstGeom prst="rect">
            <a:avLst/>
          </a:prstGeom>
        </p:spPr>
        <p:txBody>
          <a:bodyPr vert="horz" lIns="0" tIns="45720" rIns="0" bIns="45720" rtlCol="0">
            <a:noAutofit/>
          </a:bodyPr>
          <a:lstStyle/>
          <a:p>
            <a:pPr lvl="0"/>
            <a:r>
              <a:rPr lang="en-GB" noProof="0"/>
              <a:t>Add content. Deactivate lists and bullets if not needed. </a:t>
            </a:r>
          </a:p>
          <a:p>
            <a:pPr lvl="1"/>
            <a:r>
              <a:rPr lang="en-GB" noProof="0"/>
              <a:t>Second level content</a:t>
            </a:r>
          </a:p>
          <a:p>
            <a:pPr lvl="2"/>
            <a:r>
              <a:rPr lang="en-GB" noProof="0"/>
              <a:t>Third level content</a:t>
            </a:r>
          </a:p>
          <a:p>
            <a:pPr lvl="3"/>
            <a:r>
              <a:rPr lang="en-GB" noProof="0"/>
              <a:t>Fourth level content</a:t>
            </a:r>
          </a:p>
          <a:p>
            <a:pPr lvl="4"/>
            <a:r>
              <a:rPr lang="en-GB" noProof="0"/>
              <a:t>Fifth level content</a:t>
            </a:r>
          </a:p>
        </p:txBody>
      </p:sp>
    </p:spTree>
    <p:extLst>
      <p:ext uri="{BB962C8B-B14F-4D97-AF65-F5344CB8AC3E}">
        <p14:creationId xmlns:p14="http://schemas.microsoft.com/office/powerpoint/2010/main" val="3459917965"/>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Lst>
  <p:hf sldNum="0"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110000"/>
        </a:lnSpc>
        <a:spcBef>
          <a:spcPts val="1000"/>
        </a:spcBef>
        <a:buClr>
          <a:schemeClr val="accent1"/>
        </a:buClr>
        <a:buFont typeface="Wingdings" panose="05000000000000000000" pitchFamily="2" charset="2"/>
        <a:buChar char="§"/>
        <a:defRPr sz="1800" kern="1200">
          <a:solidFill>
            <a:schemeClr val="bg1"/>
          </a:solidFill>
          <a:latin typeface="+mn-lt"/>
          <a:ea typeface="+mn-ea"/>
          <a:cs typeface="+mn-cs"/>
        </a:defRPr>
      </a:lvl1pPr>
      <a:lvl2pPr marL="468000" indent="-228600" algn="l" defTabSz="914400" rtl="0" eaLnBrk="1" latinLnBrk="0" hangingPunct="1">
        <a:lnSpc>
          <a:spcPct val="110000"/>
        </a:lnSpc>
        <a:spcBef>
          <a:spcPts val="600"/>
        </a:spcBef>
        <a:buClr>
          <a:schemeClr val="accent1"/>
        </a:buClr>
        <a:buFont typeface="Wingdings" panose="05000000000000000000" pitchFamily="2" charset="2"/>
        <a:buChar char="§"/>
        <a:defRPr sz="1600" kern="1200">
          <a:solidFill>
            <a:schemeClr val="bg1"/>
          </a:solidFill>
          <a:latin typeface="+mn-lt"/>
          <a:ea typeface="+mn-ea"/>
          <a:cs typeface="+mn-cs"/>
        </a:defRPr>
      </a:lvl2pPr>
      <a:lvl3pPr marL="702000" indent="-228600" algn="l" defTabSz="914400" rtl="0" eaLnBrk="1" latinLnBrk="0" hangingPunct="1">
        <a:lnSpc>
          <a:spcPct val="110000"/>
        </a:lnSpc>
        <a:spcBef>
          <a:spcPts val="600"/>
        </a:spcBef>
        <a:buClr>
          <a:schemeClr val="accent1"/>
        </a:buClr>
        <a:buFont typeface="Wingdings" panose="05000000000000000000" pitchFamily="2" charset="2"/>
        <a:buChar char="§"/>
        <a:defRPr sz="1600" kern="1200">
          <a:solidFill>
            <a:schemeClr val="bg1"/>
          </a:solidFill>
          <a:latin typeface="+mn-lt"/>
          <a:ea typeface="+mn-ea"/>
          <a:cs typeface="+mn-cs"/>
        </a:defRPr>
      </a:lvl3pPr>
      <a:lvl4pPr marL="936000" indent="-228600" algn="l" defTabSz="914400" rtl="0" eaLnBrk="1" latinLnBrk="0" hangingPunct="1">
        <a:lnSpc>
          <a:spcPct val="11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4pPr>
      <a:lvl5pPr marL="1152000" indent="-228600" algn="l" defTabSz="914400" rtl="0" eaLnBrk="1" latinLnBrk="0" hangingPunct="1">
        <a:lnSpc>
          <a:spcPct val="11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0">
          <p15:clr>
            <a:srgbClr val="5ACBF0"/>
          </p15:clr>
        </p15:guide>
        <p15:guide id="3" pos="3749">
          <p15:clr>
            <a:srgbClr val="A4A3A4"/>
          </p15:clr>
        </p15:guide>
        <p15:guide id="4" pos="2547">
          <p15:clr>
            <a:srgbClr val="A4A3A4"/>
          </p15:clr>
        </p15:guide>
        <p15:guide id="7" pos="4951">
          <p15:clr>
            <a:srgbClr val="A4A3A4"/>
          </p15:clr>
        </p15:guide>
        <p15:guide id="8" pos="5133">
          <p15:clr>
            <a:srgbClr val="A4A3A4"/>
          </p15:clr>
        </p15:guide>
        <p15:guide id="11" pos="7355">
          <p15:clr>
            <a:srgbClr val="A4A3A4"/>
          </p15:clr>
        </p15:guide>
        <p15:guide id="12" pos="325">
          <p15:clr>
            <a:srgbClr val="A4A3A4"/>
          </p15:clr>
        </p15:guide>
        <p15:guide id="13" pos="6153">
          <p15:clr>
            <a:srgbClr val="A4A3A4"/>
          </p15:clr>
        </p15:guide>
        <p15:guide id="14" pos="6335">
          <p15:clr>
            <a:srgbClr val="A4A3A4"/>
          </p15:clr>
        </p15:guide>
        <p15:guide id="19" pos="2729">
          <p15:clr>
            <a:srgbClr val="A4A3A4"/>
          </p15:clr>
        </p15:guide>
        <p15:guide id="20" pos="3931">
          <p15:clr>
            <a:srgbClr val="A4A3A4"/>
          </p15:clr>
        </p15:guide>
        <p15:guide id="23" pos="1527">
          <p15:clr>
            <a:srgbClr val="A4A3A4"/>
          </p15:clr>
        </p15:guide>
        <p15:guide id="24" pos="1345">
          <p15:clr>
            <a:srgbClr val="A4A3A4"/>
          </p15:clr>
        </p15:guide>
        <p15:guide id="27" orient="horz" pos="210">
          <p15:clr>
            <a:srgbClr val="F26B43"/>
          </p15:clr>
        </p15:guide>
        <p15:guide id="28" orient="horz" pos="777">
          <p15:clr>
            <a:srgbClr val="F26B43"/>
          </p15:clr>
        </p15:guide>
        <p15:guide id="29" orient="horz" pos="867">
          <p15:clr>
            <a:srgbClr val="F26B43"/>
          </p15:clr>
        </p15:guide>
        <p15:guide id="31" orient="horz" pos="4065">
          <p15:clr>
            <a:srgbClr val="F26B43"/>
          </p15:clr>
        </p15:guide>
        <p15:guide id="32" orient="horz" pos="399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pic>
        <p:nvPicPr>
          <p:cNvPr id="7" name="Picture 6" descr="A black and white grid&#10;&#10;Description automatically generated">
            <a:extLst>
              <a:ext uri="{FF2B5EF4-FFF2-40B4-BE49-F238E27FC236}">
                <a16:creationId xmlns:a16="http://schemas.microsoft.com/office/drawing/2014/main" id="{3220CCD8-CEDF-3D93-9B00-209E83DF60B2}"/>
              </a:ext>
            </a:extLst>
          </p:cNvPr>
          <p:cNvPicPr>
            <a:picLocks/>
          </p:cNvPicPr>
          <p:nvPr/>
        </p:nvPicPr>
        <p:blipFill>
          <a:blip r:embed="rId9" cstate="email">
            <a:alphaModFix amt="20000"/>
            <a:extLst>
              <a:ext uri="{28A0092B-C50C-407E-A947-70E740481C1C}">
                <a14:useLocalDpi xmlns:a14="http://schemas.microsoft.com/office/drawing/2010/main"/>
              </a:ext>
            </a:extLst>
          </a:blip>
          <a:stretch>
            <a:fillRect/>
          </a:stretch>
        </p:blipFill>
        <p:spPr>
          <a:xfrm>
            <a:off x="12700" y="0"/>
            <a:ext cx="12192000" cy="6858000"/>
          </a:xfrm>
          <a:prstGeom prst="rect">
            <a:avLst/>
          </a:prstGeom>
        </p:spPr>
      </p:pic>
      <p:sp>
        <p:nvSpPr>
          <p:cNvPr id="2" name="Pladsholder til titel 1">
            <a:extLst>
              <a:ext uri="{FF2B5EF4-FFF2-40B4-BE49-F238E27FC236}">
                <a16:creationId xmlns:a16="http://schemas.microsoft.com/office/drawing/2014/main" id="{03DE7CDD-4E13-4511-B65A-EE22B43A1509}"/>
              </a:ext>
            </a:extLst>
          </p:cNvPr>
          <p:cNvSpPr>
            <a:spLocks noGrp="1"/>
          </p:cNvSpPr>
          <p:nvPr>
            <p:ph type="title"/>
          </p:nvPr>
        </p:nvSpPr>
        <p:spPr>
          <a:xfrm>
            <a:off x="515938" y="333375"/>
            <a:ext cx="11160125" cy="554400"/>
          </a:xfrm>
          <a:prstGeom prst="rect">
            <a:avLst/>
          </a:prstGeom>
        </p:spPr>
        <p:txBody>
          <a:bodyPr vert="horz" wrap="none" lIns="0" tIns="45720" rIns="0" bIns="0" rtlCol="0" anchor="t" anchorCtr="0">
            <a:noAutofit/>
          </a:bodyPr>
          <a:lstStyle/>
          <a:p>
            <a:r>
              <a:rPr lang="en-GB" noProof="0"/>
              <a:t>Add heading</a:t>
            </a:r>
          </a:p>
        </p:txBody>
      </p:sp>
      <p:sp>
        <p:nvSpPr>
          <p:cNvPr id="3" name="Pladsholder til tekst 2">
            <a:extLst>
              <a:ext uri="{FF2B5EF4-FFF2-40B4-BE49-F238E27FC236}">
                <a16:creationId xmlns:a16="http://schemas.microsoft.com/office/drawing/2014/main" id="{2682BF14-0D4A-49F1-8AEA-D894DF4A019B}"/>
              </a:ext>
            </a:extLst>
          </p:cNvPr>
          <p:cNvSpPr>
            <a:spLocks noGrp="1"/>
          </p:cNvSpPr>
          <p:nvPr>
            <p:ph type="body" idx="1"/>
          </p:nvPr>
        </p:nvSpPr>
        <p:spPr>
          <a:xfrm>
            <a:off x="515938" y="1377000"/>
            <a:ext cx="7343776" cy="4968238"/>
          </a:xfrm>
          <a:prstGeom prst="rect">
            <a:avLst/>
          </a:prstGeom>
        </p:spPr>
        <p:txBody>
          <a:bodyPr vert="horz" lIns="0" tIns="45720" rIns="0" bIns="45720" rtlCol="0">
            <a:noAutofit/>
          </a:bodyPr>
          <a:lstStyle/>
          <a:p>
            <a:pPr lvl="0"/>
            <a:r>
              <a:rPr lang="en-GB" noProof="0"/>
              <a:t>Add content. Deactivate lists and bullets if not needed. </a:t>
            </a:r>
          </a:p>
          <a:p>
            <a:pPr lvl="1"/>
            <a:r>
              <a:rPr lang="en-GB" noProof="0"/>
              <a:t>Second level content</a:t>
            </a:r>
          </a:p>
          <a:p>
            <a:pPr lvl="2"/>
            <a:r>
              <a:rPr lang="en-GB" noProof="0"/>
              <a:t>Third level content</a:t>
            </a:r>
          </a:p>
          <a:p>
            <a:pPr lvl="3"/>
            <a:r>
              <a:rPr lang="en-GB" noProof="0"/>
              <a:t>Fourth level content</a:t>
            </a:r>
          </a:p>
          <a:p>
            <a:pPr lvl="4"/>
            <a:r>
              <a:rPr lang="en-GB" noProof="0"/>
              <a:t>Fifth level content</a:t>
            </a:r>
          </a:p>
        </p:txBody>
      </p:sp>
    </p:spTree>
    <p:extLst>
      <p:ext uri="{BB962C8B-B14F-4D97-AF65-F5344CB8AC3E}">
        <p14:creationId xmlns:p14="http://schemas.microsoft.com/office/powerpoint/2010/main" val="2498736050"/>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Lst>
  <p:hf sldNum="0"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110000"/>
        </a:lnSpc>
        <a:spcBef>
          <a:spcPts val="1000"/>
        </a:spcBef>
        <a:buClr>
          <a:schemeClr val="accent1"/>
        </a:buClr>
        <a:buFont typeface="Wingdings" panose="05000000000000000000" pitchFamily="2" charset="2"/>
        <a:buChar char="§"/>
        <a:defRPr sz="1800" kern="1200">
          <a:solidFill>
            <a:schemeClr val="bg1"/>
          </a:solidFill>
          <a:latin typeface="+mn-lt"/>
          <a:ea typeface="+mn-ea"/>
          <a:cs typeface="+mn-cs"/>
        </a:defRPr>
      </a:lvl1pPr>
      <a:lvl2pPr marL="468000" indent="-228600" algn="l" defTabSz="914400" rtl="0" eaLnBrk="1" latinLnBrk="0" hangingPunct="1">
        <a:lnSpc>
          <a:spcPct val="110000"/>
        </a:lnSpc>
        <a:spcBef>
          <a:spcPts val="600"/>
        </a:spcBef>
        <a:buClr>
          <a:schemeClr val="accent1"/>
        </a:buClr>
        <a:buFont typeface="Wingdings" panose="05000000000000000000" pitchFamily="2" charset="2"/>
        <a:buChar char="§"/>
        <a:defRPr sz="1600" kern="1200">
          <a:solidFill>
            <a:schemeClr val="bg1"/>
          </a:solidFill>
          <a:latin typeface="+mn-lt"/>
          <a:ea typeface="+mn-ea"/>
          <a:cs typeface="+mn-cs"/>
        </a:defRPr>
      </a:lvl2pPr>
      <a:lvl3pPr marL="702000" indent="-228600" algn="l" defTabSz="914400" rtl="0" eaLnBrk="1" latinLnBrk="0" hangingPunct="1">
        <a:lnSpc>
          <a:spcPct val="110000"/>
        </a:lnSpc>
        <a:spcBef>
          <a:spcPts val="600"/>
        </a:spcBef>
        <a:buClr>
          <a:schemeClr val="accent1"/>
        </a:buClr>
        <a:buFont typeface="Wingdings" panose="05000000000000000000" pitchFamily="2" charset="2"/>
        <a:buChar char="§"/>
        <a:defRPr sz="1600" kern="1200">
          <a:solidFill>
            <a:schemeClr val="bg1"/>
          </a:solidFill>
          <a:latin typeface="+mn-lt"/>
          <a:ea typeface="+mn-ea"/>
          <a:cs typeface="+mn-cs"/>
        </a:defRPr>
      </a:lvl3pPr>
      <a:lvl4pPr marL="936000" indent="-228600" algn="l" defTabSz="914400" rtl="0" eaLnBrk="1" latinLnBrk="0" hangingPunct="1">
        <a:lnSpc>
          <a:spcPct val="11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4pPr>
      <a:lvl5pPr marL="1152000" indent="-228600" algn="l" defTabSz="914400" rtl="0" eaLnBrk="1" latinLnBrk="0" hangingPunct="1">
        <a:lnSpc>
          <a:spcPct val="110000"/>
        </a:lnSpc>
        <a:spcBef>
          <a:spcPts val="600"/>
        </a:spcBef>
        <a:buClr>
          <a:schemeClr val="accent1"/>
        </a:buClr>
        <a:buFont typeface="Wingdings" panose="05000000000000000000" pitchFamily="2" charset="2"/>
        <a:buChar char="§"/>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0">
          <p15:clr>
            <a:srgbClr val="5ACBF0"/>
          </p15:clr>
        </p15:guide>
        <p15:guide id="3" pos="3749">
          <p15:clr>
            <a:srgbClr val="A4A3A4"/>
          </p15:clr>
        </p15:guide>
        <p15:guide id="4" pos="2547">
          <p15:clr>
            <a:srgbClr val="A4A3A4"/>
          </p15:clr>
        </p15:guide>
        <p15:guide id="7" pos="4951">
          <p15:clr>
            <a:srgbClr val="A4A3A4"/>
          </p15:clr>
        </p15:guide>
        <p15:guide id="8" pos="5133">
          <p15:clr>
            <a:srgbClr val="A4A3A4"/>
          </p15:clr>
        </p15:guide>
        <p15:guide id="11" pos="7355">
          <p15:clr>
            <a:srgbClr val="A4A3A4"/>
          </p15:clr>
        </p15:guide>
        <p15:guide id="12" pos="325">
          <p15:clr>
            <a:srgbClr val="A4A3A4"/>
          </p15:clr>
        </p15:guide>
        <p15:guide id="13" pos="6153">
          <p15:clr>
            <a:srgbClr val="A4A3A4"/>
          </p15:clr>
        </p15:guide>
        <p15:guide id="14" pos="6335">
          <p15:clr>
            <a:srgbClr val="A4A3A4"/>
          </p15:clr>
        </p15:guide>
        <p15:guide id="19" pos="2729">
          <p15:clr>
            <a:srgbClr val="A4A3A4"/>
          </p15:clr>
        </p15:guide>
        <p15:guide id="20" pos="3931">
          <p15:clr>
            <a:srgbClr val="A4A3A4"/>
          </p15:clr>
        </p15:guide>
        <p15:guide id="23" pos="1527">
          <p15:clr>
            <a:srgbClr val="A4A3A4"/>
          </p15:clr>
        </p15:guide>
        <p15:guide id="24" pos="1345">
          <p15:clr>
            <a:srgbClr val="A4A3A4"/>
          </p15:clr>
        </p15:guide>
        <p15:guide id="27" orient="horz" pos="210">
          <p15:clr>
            <a:srgbClr val="F26B43"/>
          </p15:clr>
        </p15:guide>
        <p15:guide id="28" orient="horz" pos="777">
          <p15:clr>
            <a:srgbClr val="F26B43"/>
          </p15:clr>
        </p15:guide>
        <p15:guide id="29" orient="horz" pos="867">
          <p15:clr>
            <a:srgbClr val="F26B43"/>
          </p15:clr>
        </p15:guide>
        <p15:guide id="31" orient="horz" pos="4065">
          <p15:clr>
            <a:srgbClr val="F26B43"/>
          </p15:clr>
        </p15:guide>
        <p15:guide id="32" orient="horz" pos="399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10.xml"/><Relationship Id="rId1" Type="http://schemas.openxmlformats.org/officeDocument/2006/relationships/slideLayout" Target="../slideLayouts/slideLayout15.xml"/><Relationship Id="rId4" Type="http://schemas.openxmlformats.org/officeDocument/2006/relationships/image" Target="../media/image60.png"/></Relationships>
</file>

<file path=ppt/slides/_rels/slide1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1.xml"/><Relationship Id="rId1" Type="http://schemas.openxmlformats.org/officeDocument/2006/relationships/slideLayout" Target="../slideLayouts/slideLayout15.xml"/><Relationship Id="rId5" Type="http://schemas.openxmlformats.org/officeDocument/2006/relationships/image" Target="../media/image60.png"/><Relationship Id="rId4" Type="http://schemas.microsoft.com/office/2007/relationships/hdphoto" Target="../media/hdphoto1.wdp"/></Relationships>
</file>

<file path=ppt/slides/_rels/slide12.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12.xml"/><Relationship Id="rId1" Type="http://schemas.openxmlformats.org/officeDocument/2006/relationships/slideLayout" Target="../slideLayouts/slideLayout15.xml"/><Relationship Id="rId4" Type="http://schemas.openxmlformats.org/officeDocument/2006/relationships/image" Target="../media/image60.png"/></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12.xml"/><Relationship Id="rId5" Type="http://schemas.openxmlformats.org/officeDocument/2006/relationships/image" Target="../media/image4.png"/><Relationship Id="rId4" Type="http://schemas.openxmlformats.org/officeDocument/2006/relationships/image" Target="../media/image66.png"/></Relationships>
</file>

<file path=ppt/slides/_rels/slide14.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7.svg"/><Relationship Id="rId3" Type="http://schemas.openxmlformats.org/officeDocument/2006/relationships/image" Target="../media/image67.png"/><Relationship Id="rId7" Type="http://schemas.openxmlformats.org/officeDocument/2006/relationships/image" Target="../media/image71.png"/><Relationship Id="rId12" Type="http://schemas.openxmlformats.org/officeDocument/2006/relationships/image" Target="../media/image76.png"/><Relationship Id="rId2" Type="http://schemas.openxmlformats.org/officeDocument/2006/relationships/notesSlide" Target="../notesSlides/notesSlide14.xml"/><Relationship Id="rId1" Type="http://schemas.openxmlformats.org/officeDocument/2006/relationships/slideLayout" Target="../slideLayouts/slideLayout17.xml"/><Relationship Id="rId6" Type="http://schemas.openxmlformats.org/officeDocument/2006/relationships/image" Target="../media/image70.png"/><Relationship Id="rId11" Type="http://schemas.openxmlformats.org/officeDocument/2006/relationships/image" Target="../media/image75.jpeg"/><Relationship Id="rId5" Type="http://schemas.openxmlformats.org/officeDocument/2006/relationships/image" Target="../media/image69.jpeg"/><Relationship Id="rId10" Type="http://schemas.openxmlformats.org/officeDocument/2006/relationships/image" Target="../media/image74.png"/><Relationship Id="rId4" Type="http://schemas.openxmlformats.org/officeDocument/2006/relationships/image" Target="../media/image68.png"/><Relationship Id="rId9" Type="http://schemas.openxmlformats.org/officeDocument/2006/relationships/image" Target="../media/image73.svg"/></Relationships>
</file>

<file path=ppt/slides/_rels/slide15.xml.rels><?xml version="1.0" encoding="UTF-8" standalone="yes"?>
<Relationships xmlns="http://schemas.openxmlformats.org/package/2006/relationships"><Relationship Id="rId8" Type="http://schemas.openxmlformats.org/officeDocument/2006/relationships/image" Target="../media/image82.jpeg"/><Relationship Id="rId3" Type="http://schemas.openxmlformats.org/officeDocument/2006/relationships/image" Target="../media/image78.png"/><Relationship Id="rId7" Type="http://schemas.openxmlformats.org/officeDocument/2006/relationships/image" Target="../media/image81.png"/><Relationship Id="rId2" Type="http://schemas.openxmlformats.org/officeDocument/2006/relationships/notesSlide" Target="../notesSlides/notesSlide15.xml"/><Relationship Id="rId1" Type="http://schemas.openxmlformats.org/officeDocument/2006/relationships/slideLayout" Target="../slideLayouts/slideLayout14.xml"/><Relationship Id="rId6" Type="http://schemas.openxmlformats.org/officeDocument/2006/relationships/image" Target="../media/image80.png"/><Relationship Id="rId5" Type="http://schemas.openxmlformats.org/officeDocument/2006/relationships/image" Target="../media/image70.png"/><Relationship Id="rId4" Type="http://schemas.openxmlformats.org/officeDocument/2006/relationships/image" Target="../media/image79.jpeg"/><Relationship Id="rId9" Type="http://schemas.openxmlformats.org/officeDocument/2006/relationships/image" Target="../media/image74.png"/></Relationships>
</file>

<file path=ppt/slides/_rels/slide16.xml.rels><?xml version="1.0" encoding="UTF-8" standalone="yes"?>
<Relationships xmlns="http://schemas.openxmlformats.org/package/2006/relationships"><Relationship Id="rId8" Type="http://schemas.openxmlformats.org/officeDocument/2006/relationships/image" Target="../media/image88.jpeg"/><Relationship Id="rId3" Type="http://schemas.openxmlformats.org/officeDocument/2006/relationships/image" Target="../media/image83.jpeg"/><Relationship Id="rId7" Type="http://schemas.openxmlformats.org/officeDocument/2006/relationships/image" Target="../media/image87.png"/><Relationship Id="rId12" Type="http://schemas.openxmlformats.org/officeDocument/2006/relationships/image" Target="../media/image92.jpeg"/><Relationship Id="rId2" Type="http://schemas.openxmlformats.org/officeDocument/2006/relationships/notesSlide" Target="../notesSlides/notesSlide16.xml"/><Relationship Id="rId1" Type="http://schemas.openxmlformats.org/officeDocument/2006/relationships/slideLayout" Target="../slideLayouts/slideLayout14.xml"/><Relationship Id="rId6" Type="http://schemas.openxmlformats.org/officeDocument/2006/relationships/image" Target="../media/image86.jpeg"/><Relationship Id="rId11" Type="http://schemas.openxmlformats.org/officeDocument/2006/relationships/image" Target="../media/image91.jpeg"/><Relationship Id="rId5" Type="http://schemas.openxmlformats.org/officeDocument/2006/relationships/image" Target="../media/image85.jpeg"/><Relationship Id="rId10" Type="http://schemas.openxmlformats.org/officeDocument/2006/relationships/image" Target="../media/image90.jpeg"/><Relationship Id="rId4" Type="http://schemas.openxmlformats.org/officeDocument/2006/relationships/image" Target="../media/image84.jpeg"/><Relationship Id="rId9" Type="http://schemas.openxmlformats.org/officeDocument/2006/relationships/image" Target="../media/image89.jpeg"/></Relationships>
</file>

<file path=ppt/slides/_rels/slide17.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notesSlide" Target="../notesSlides/notesSlide17.xml"/><Relationship Id="rId7" Type="http://schemas.openxmlformats.org/officeDocument/2006/relationships/image" Target="../media/image95.svg"/><Relationship Id="rId2" Type="http://schemas.openxmlformats.org/officeDocument/2006/relationships/slideLayout" Target="../slideLayouts/slideLayout14.xml"/><Relationship Id="rId1" Type="http://schemas.openxmlformats.org/officeDocument/2006/relationships/tags" Target="../tags/tag1.xml"/><Relationship Id="rId6" Type="http://schemas.openxmlformats.org/officeDocument/2006/relationships/image" Target="../media/image94.png"/><Relationship Id="rId11" Type="http://schemas.openxmlformats.org/officeDocument/2006/relationships/image" Target="../media/image99.svg"/><Relationship Id="rId5" Type="http://schemas.openxmlformats.org/officeDocument/2006/relationships/image" Target="../media/image93.emf"/><Relationship Id="rId10" Type="http://schemas.openxmlformats.org/officeDocument/2006/relationships/image" Target="../media/image98.png"/><Relationship Id="rId4" Type="http://schemas.openxmlformats.org/officeDocument/2006/relationships/oleObject" Target="../embeddings/oleObject1.bin"/><Relationship Id="rId9" Type="http://schemas.openxmlformats.org/officeDocument/2006/relationships/image" Target="../media/image97.svg"/></Relationships>
</file>

<file path=ppt/slides/_rels/slide18.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notesSlide" Target="../notesSlides/notesSlide18.xml"/><Relationship Id="rId7" Type="http://schemas.openxmlformats.org/officeDocument/2006/relationships/image" Target="../media/image99.svg"/><Relationship Id="rId2" Type="http://schemas.openxmlformats.org/officeDocument/2006/relationships/slideLayout" Target="../slideLayouts/slideLayout14.xml"/><Relationship Id="rId1" Type="http://schemas.openxmlformats.org/officeDocument/2006/relationships/tags" Target="../tags/tag2.xml"/><Relationship Id="rId6" Type="http://schemas.openxmlformats.org/officeDocument/2006/relationships/image" Target="../media/image98.png"/><Relationship Id="rId11" Type="http://schemas.openxmlformats.org/officeDocument/2006/relationships/image" Target="../media/image97.svg"/><Relationship Id="rId5" Type="http://schemas.openxmlformats.org/officeDocument/2006/relationships/image" Target="../media/image93.emf"/><Relationship Id="rId10" Type="http://schemas.openxmlformats.org/officeDocument/2006/relationships/image" Target="../media/image96.png"/><Relationship Id="rId4" Type="http://schemas.openxmlformats.org/officeDocument/2006/relationships/oleObject" Target="../embeddings/oleObject2.bin"/><Relationship Id="rId9" Type="http://schemas.openxmlformats.org/officeDocument/2006/relationships/image" Target="../media/image95.svg"/></Relationships>
</file>

<file path=ppt/slides/_rels/slide19.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notesSlide" Target="../notesSlides/notesSlide19.xml"/><Relationship Id="rId7" Type="http://schemas.openxmlformats.org/officeDocument/2006/relationships/image" Target="../media/image95.svg"/><Relationship Id="rId2" Type="http://schemas.openxmlformats.org/officeDocument/2006/relationships/slideLayout" Target="../slideLayouts/slideLayout14.xml"/><Relationship Id="rId1" Type="http://schemas.openxmlformats.org/officeDocument/2006/relationships/tags" Target="../tags/tag3.xml"/><Relationship Id="rId6" Type="http://schemas.openxmlformats.org/officeDocument/2006/relationships/image" Target="../media/image94.png"/><Relationship Id="rId11" Type="http://schemas.openxmlformats.org/officeDocument/2006/relationships/image" Target="../media/image97.svg"/><Relationship Id="rId5" Type="http://schemas.openxmlformats.org/officeDocument/2006/relationships/image" Target="../media/image93.emf"/><Relationship Id="rId10" Type="http://schemas.openxmlformats.org/officeDocument/2006/relationships/image" Target="../media/image96.png"/><Relationship Id="rId4" Type="http://schemas.openxmlformats.org/officeDocument/2006/relationships/oleObject" Target="../embeddings/oleObject3.bin"/><Relationship Id="rId9" Type="http://schemas.openxmlformats.org/officeDocument/2006/relationships/image" Target="../media/image99.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0.xml"/><Relationship Id="rId1" Type="http://schemas.openxmlformats.org/officeDocument/2006/relationships/slideLayout" Target="../slideLayouts/slideLayout12.xml"/><Relationship Id="rId4" Type="http://schemas.openxmlformats.org/officeDocument/2006/relationships/image" Target="../media/image100.png"/></Relationships>
</file>

<file path=ppt/slides/_rels/slide21.xml.rels><?xml version="1.0" encoding="UTF-8" standalone="yes"?>
<Relationships xmlns="http://schemas.openxmlformats.org/package/2006/relationships"><Relationship Id="rId8" Type="http://schemas.openxmlformats.org/officeDocument/2006/relationships/image" Target="../media/image105.svg"/><Relationship Id="rId3" Type="http://schemas.openxmlformats.org/officeDocument/2006/relationships/image" Target="../media/image101.png"/><Relationship Id="rId7" Type="http://schemas.openxmlformats.org/officeDocument/2006/relationships/image" Target="../media/image104.png"/><Relationship Id="rId2" Type="http://schemas.openxmlformats.org/officeDocument/2006/relationships/notesSlide" Target="../notesSlides/notesSlide21.xml"/><Relationship Id="rId1" Type="http://schemas.openxmlformats.org/officeDocument/2006/relationships/slideLayout" Target="../slideLayouts/slideLayout14.xml"/><Relationship Id="rId6" Type="http://schemas.openxmlformats.org/officeDocument/2006/relationships/image" Target="../media/image5.png"/><Relationship Id="rId5" Type="http://schemas.openxmlformats.org/officeDocument/2006/relationships/image" Target="../media/image103.svg"/><Relationship Id="rId4" Type="http://schemas.openxmlformats.org/officeDocument/2006/relationships/image" Target="../media/image102.png"/></Relationships>
</file>

<file path=ppt/slides/_rels/slide22.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22.xml"/><Relationship Id="rId1" Type="http://schemas.openxmlformats.org/officeDocument/2006/relationships/slideLayout" Target="../slideLayouts/slideLayout29.xml"/></Relationships>
</file>

<file path=ppt/slides/_rels/slide23.xml.rels><?xml version="1.0" encoding="UTF-8" standalone="yes"?>
<Relationships xmlns="http://schemas.openxmlformats.org/package/2006/relationships"><Relationship Id="rId3" Type="http://schemas.openxmlformats.org/officeDocument/2006/relationships/image" Target="../media/image107.jpg"/><Relationship Id="rId2" Type="http://schemas.openxmlformats.org/officeDocument/2006/relationships/notesSlide" Target="../notesSlides/notesSlide23.xml"/><Relationship Id="rId1" Type="http://schemas.openxmlformats.org/officeDocument/2006/relationships/slideLayout" Target="../slideLayouts/slideLayout29.xml"/><Relationship Id="rId4" Type="http://schemas.openxmlformats.org/officeDocument/2006/relationships/image" Target="../media/image108.png"/></Relationships>
</file>

<file path=ppt/slides/_rels/slide24.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24.xml"/><Relationship Id="rId1" Type="http://schemas.openxmlformats.org/officeDocument/2006/relationships/slideLayout" Target="../slideLayouts/slideLayout45.xml"/><Relationship Id="rId4" Type="http://schemas.openxmlformats.org/officeDocument/2006/relationships/image" Target="../media/image110.png"/></Relationships>
</file>

<file path=ppt/slides/_rels/slide25.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5.xml"/><Relationship Id="rId1" Type="http://schemas.openxmlformats.org/officeDocument/2006/relationships/slideLayout" Target="../slideLayouts/slideLayout45.xml"/><Relationship Id="rId4" Type="http://schemas.openxmlformats.org/officeDocument/2006/relationships/image" Target="../media/image112.png"/></Relationships>
</file>

<file path=ppt/slides/_rels/slide26.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26.xml"/><Relationship Id="rId1" Type="http://schemas.openxmlformats.org/officeDocument/2006/relationships/slideLayout" Target="../slideLayouts/slideLayout45.xml"/><Relationship Id="rId4" Type="http://schemas.openxmlformats.org/officeDocument/2006/relationships/image" Target="../media/image114.png"/></Relationships>
</file>

<file path=ppt/slides/_rels/slide27.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27.xml"/><Relationship Id="rId1" Type="http://schemas.openxmlformats.org/officeDocument/2006/relationships/slideLayout" Target="../slideLayouts/slideLayout45.xml"/><Relationship Id="rId4" Type="http://schemas.openxmlformats.org/officeDocument/2006/relationships/image" Target="../media/image116.png"/></Relationships>
</file>

<file path=ppt/slides/_rels/slide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8.xml"/><Relationship Id="rId1" Type="http://schemas.openxmlformats.org/officeDocument/2006/relationships/slideLayout" Target="../slideLayouts/slideLayout22.xml"/><Relationship Id="rId4" Type="http://schemas.openxmlformats.org/officeDocument/2006/relationships/image" Target="../media/image100.png"/></Relationships>
</file>

<file path=ppt/slides/_rels/slide29.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29.xml"/><Relationship Id="rId1" Type="http://schemas.openxmlformats.org/officeDocument/2006/relationships/slideLayout" Target="../slideLayouts/slideLayout19.xml"/><Relationship Id="rId6" Type="http://schemas.openxmlformats.org/officeDocument/2006/relationships/image" Target="../media/image120.png"/><Relationship Id="rId5" Type="http://schemas.openxmlformats.org/officeDocument/2006/relationships/image" Target="../media/image119.png"/><Relationship Id="rId4" Type="http://schemas.openxmlformats.org/officeDocument/2006/relationships/image" Target="../media/image11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3" Type="http://schemas.openxmlformats.org/officeDocument/2006/relationships/image" Target="../media/image121.jpeg"/><Relationship Id="rId2" Type="http://schemas.openxmlformats.org/officeDocument/2006/relationships/notesSlide" Target="../notesSlides/notesSlide30.xml"/><Relationship Id="rId1" Type="http://schemas.openxmlformats.org/officeDocument/2006/relationships/slideLayout" Target="../slideLayouts/slideLayout19.xml"/><Relationship Id="rId4" Type="http://schemas.openxmlformats.org/officeDocument/2006/relationships/image" Target="../media/image122.jpe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8" Type="http://schemas.openxmlformats.org/officeDocument/2006/relationships/image" Target="../media/image128.png"/><Relationship Id="rId13" Type="http://schemas.openxmlformats.org/officeDocument/2006/relationships/image" Target="../media/image133.png"/><Relationship Id="rId3" Type="http://schemas.openxmlformats.org/officeDocument/2006/relationships/image" Target="../media/image123.png"/><Relationship Id="rId7" Type="http://schemas.openxmlformats.org/officeDocument/2006/relationships/image" Target="../media/image127.png"/><Relationship Id="rId12" Type="http://schemas.openxmlformats.org/officeDocument/2006/relationships/image" Target="../media/image132.png"/><Relationship Id="rId2" Type="http://schemas.openxmlformats.org/officeDocument/2006/relationships/notesSlide" Target="../notesSlides/notesSlide32.xml"/><Relationship Id="rId1" Type="http://schemas.openxmlformats.org/officeDocument/2006/relationships/slideLayout" Target="../slideLayouts/slideLayout14.xml"/><Relationship Id="rId6" Type="http://schemas.openxmlformats.org/officeDocument/2006/relationships/image" Target="../media/image126.png"/><Relationship Id="rId11" Type="http://schemas.openxmlformats.org/officeDocument/2006/relationships/image" Target="../media/image131.png"/><Relationship Id="rId5" Type="http://schemas.openxmlformats.org/officeDocument/2006/relationships/image" Target="../media/image125.png"/><Relationship Id="rId15" Type="http://schemas.openxmlformats.org/officeDocument/2006/relationships/image" Target="../media/image135.png"/><Relationship Id="rId10" Type="http://schemas.openxmlformats.org/officeDocument/2006/relationships/image" Target="../media/image130.png"/><Relationship Id="rId4" Type="http://schemas.openxmlformats.org/officeDocument/2006/relationships/image" Target="../media/image124.png"/><Relationship Id="rId9" Type="http://schemas.openxmlformats.org/officeDocument/2006/relationships/image" Target="../media/image129.png"/><Relationship Id="rId14" Type="http://schemas.openxmlformats.org/officeDocument/2006/relationships/image" Target="../media/image134.emf"/></Relationships>
</file>

<file path=ppt/slides/_rels/slide33.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33.xml"/><Relationship Id="rId1" Type="http://schemas.openxmlformats.org/officeDocument/2006/relationships/slideLayout" Target="../slideLayouts/slideLayout7.xml"/><Relationship Id="rId5" Type="http://schemas.openxmlformats.org/officeDocument/2006/relationships/image" Target="../media/image138.png"/><Relationship Id="rId4" Type="http://schemas.openxmlformats.org/officeDocument/2006/relationships/image" Target="../media/image137.png"/></Relationships>
</file>

<file path=ppt/slides/_rels/slide34.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34.xml"/><Relationship Id="rId1" Type="http://schemas.openxmlformats.org/officeDocument/2006/relationships/slideLayout" Target="../slideLayouts/slideLayout19.xml"/><Relationship Id="rId6" Type="http://schemas.openxmlformats.org/officeDocument/2006/relationships/image" Target="../media/image142.png"/><Relationship Id="rId5" Type="http://schemas.openxmlformats.org/officeDocument/2006/relationships/image" Target="../media/image141.png"/><Relationship Id="rId4" Type="http://schemas.openxmlformats.org/officeDocument/2006/relationships/image" Target="../media/image140.png"/></Relationships>
</file>

<file path=ppt/slides/_rels/slide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5.xml"/><Relationship Id="rId1" Type="http://schemas.openxmlformats.org/officeDocument/2006/relationships/slideLayout" Target="../slideLayouts/slideLayout12.xml"/><Relationship Id="rId5" Type="http://schemas.openxmlformats.org/officeDocument/2006/relationships/image" Target="../media/image4.png"/><Relationship Id="rId4" Type="http://schemas.openxmlformats.org/officeDocument/2006/relationships/image" Target="../media/image66.png"/></Relationships>
</file>

<file path=ppt/slides/_rels/slide3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1.xml"/></Relationships>
</file>

<file path=ppt/slides/_rels/slide38.xml.rels><?xml version="1.0" encoding="UTF-8" standalone="yes"?>
<Relationships xmlns="http://schemas.openxmlformats.org/package/2006/relationships"><Relationship Id="rId3" Type="http://schemas.openxmlformats.org/officeDocument/2006/relationships/image" Target="../media/image143.jpeg"/><Relationship Id="rId2" Type="http://schemas.openxmlformats.org/officeDocument/2006/relationships/notesSlide" Target="../notesSlides/notesSlide38.xml"/><Relationship Id="rId1" Type="http://schemas.openxmlformats.org/officeDocument/2006/relationships/slideLayout" Target="../slideLayouts/slideLayout80.xml"/><Relationship Id="rId5" Type="http://schemas.openxmlformats.org/officeDocument/2006/relationships/image" Target="../media/image4.png"/><Relationship Id="rId4" Type="http://schemas.openxmlformats.org/officeDocument/2006/relationships/image" Target="../media/image10.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svg"/><Relationship Id="rId18" Type="http://schemas.openxmlformats.org/officeDocument/2006/relationships/image" Target="../media/image42.svg"/><Relationship Id="rId3" Type="http://schemas.openxmlformats.org/officeDocument/2006/relationships/image" Target="../media/image27.png"/><Relationship Id="rId21" Type="http://schemas.openxmlformats.org/officeDocument/2006/relationships/image" Target="../media/image45.png"/><Relationship Id="rId7" Type="http://schemas.openxmlformats.org/officeDocument/2006/relationships/image" Target="../media/image31.svg"/><Relationship Id="rId12" Type="http://schemas.openxmlformats.org/officeDocument/2006/relationships/image" Target="../media/image36.png"/><Relationship Id="rId17" Type="http://schemas.openxmlformats.org/officeDocument/2006/relationships/image" Target="../media/image41.png"/><Relationship Id="rId2" Type="http://schemas.openxmlformats.org/officeDocument/2006/relationships/notesSlide" Target="../notesSlides/notesSlide4.xml"/><Relationship Id="rId16" Type="http://schemas.openxmlformats.org/officeDocument/2006/relationships/image" Target="../media/image40.png"/><Relationship Id="rId20" Type="http://schemas.openxmlformats.org/officeDocument/2006/relationships/image" Target="../media/image44.svg"/><Relationship Id="rId1" Type="http://schemas.openxmlformats.org/officeDocument/2006/relationships/slideLayout" Target="../slideLayouts/slideLayout14.xml"/><Relationship Id="rId6" Type="http://schemas.openxmlformats.org/officeDocument/2006/relationships/image" Target="../media/image30.png"/><Relationship Id="rId11" Type="http://schemas.openxmlformats.org/officeDocument/2006/relationships/image" Target="../media/image35.svg"/><Relationship Id="rId5" Type="http://schemas.openxmlformats.org/officeDocument/2006/relationships/image" Target="../media/image29.svg"/><Relationship Id="rId15" Type="http://schemas.openxmlformats.org/officeDocument/2006/relationships/image" Target="../media/image39.svg"/><Relationship Id="rId10" Type="http://schemas.openxmlformats.org/officeDocument/2006/relationships/image" Target="../media/image34.png"/><Relationship Id="rId19" Type="http://schemas.openxmlformats.org/officeDocument/2006/relationships/image" Target="../media/image43.png"/><Relationship Id="rId4" Type="http://schemas.openxmlformats.org/officeDocument/2006/relationships/image" Target="../media/image28.png"/><Relationship Id="rId9" Type="http://schemas.openxmlformats.org/officeDocument/2006/relationships/image" Target="../media/image33.svg"/><Relationship Id="rId14" Type="http://schemas.openxmlformats.org/officeDocument/2006/relationships/image" Target="../media/image38.png"/><Relationship Id="rId22" Type="http://schemas.openxmlformats.org/officeDocument/2006/relationships/image" Target="../media/image46.svg"/></Relationships>
</file>

<file path=ppt/slides/_rels/slide40.xml.rels><?xml version="1.0" encoding="UTF-8" standalone="yes"?>
<Relationships xmlns="http://schemas.openxmlformats.org/package/2006/relationships"><Relationship Id="rId8" Type="http://schemas.openxmlformats.org/officeDocument/2006/relationships/image" Target="../media/image149.jpeg"/><Relationship Id="rId13" Type="http://schemas.openxmlformats.org/officeDocument/2006/relationships/image" Target="../media/image154.jpeg"/><Relationship Id="rId3" Type="http://schemas.openxmlformats.org/officeDocument/2006/relationships/image" Target="../media/image144.jpeg"/><Relationship Id="rId7" Type="http://schemas.openxmlformats.org/officeDocument/2006/relationships/image" Target="../media/image148.jpeg"/><Relationship Id="rId12" Type="http://schemas.openxmlformats.org/officeDocument/2006/relationships/image" Target="../media/image153.jpeg"/><Relationship Id="rId2" Type="http://schemas.openxmlformats.org/officeDocument/2006/relationships/notesSlide" Target="../notesSlides/notesSlide40.xml"/><Relationship Id="rId16" Type="http://schemas.openxmlformats.org/officeDocument/2006/relationships/image" Target="../media/image157.jpeg"/><Relationship Id="rId1" Type="http://schemas.openxmlformats.org/officeDocument/2006/relationships/slideLayout" Target="../slideLayouts/slideLayout63.xml"/><Relationship Id="rId6" Type="http://schemas.openxmlformats.org/officeDocument/2006/relationships/image" Target="../media/image147.jpeg"/><Relationship Id="rId11" Type="http://schemas.openxmlformats.org/officeDocument/2006/relationships/image" Target="../media/image152.jpeg"/><Relationship Id="rId5" Type="http://schemas.openxmlformats.org/officeDocument/2006/relationships/image" Target="../media/image146.jpeg"/><Relationship Id="rId15" Type="http://schemas.openxmlformats.org/officeDocument/2006/relationships/image" Target="../media/image156.jpeg"/><Relationship Id="rId10" Type="http://schemas.openxmlformats.org/officeDocument/2006/relationships/image" Target="../media/image151.jpeg"/><Relationship Id="rId4" Type="http://schemas.openxmlformats.org/officeDocument/2006/relationships/image" Target="../media/image145.jpeg"/><Relationship Id="rId9" Type="http://schemas.openxmlformats.org/officeDocument/2006/relationships/image" Target="../media/image150.jpeg"/><Relationship Id="rId14" Type="http://schemas.openxmlformats.org/officeDocument/2006/relationships/image" Target="../media/image155.jpeg"/></Relationships>
</file>

<file path=ppt/slides/_rels/slide41.xml.rels><?xml version="1.0" encoding="UTF-8" standalone="yes"?>
<Relationships xmlns="http://schemas.openxmlformats.org/package/2006/relationships"><Relationship Id="rId3" Type="http://schemas.openxmlformats.org/officeDocument/2006/relationships/image" Target="../media/image158.jpeg"/><Relationship Id="rId2" Type="http://schemas.openxmlformats.org/officeDocument/2006/relationships/notesSlide" Target="../notesSlides/notesSlide41.xml"/><Relationship Id="rId1" Type="http://schemas.openxmlformats.org/officeDocument/2006/relationships/slideLayout" Target="../slideLayouts/slideLayout14.xml"/><Relationship Id="rId5" Type="http://schemas.openxmlformats.org/officeDocument/2006/relationships/image" Target="../media/image160.png"/><Relationship Id="rId4" Type="http://schemas.openxmlformats.org/officeDocument/2006/relationships/image" Target="../media/image159.png"/></Relationships>
</file>

<file path=ppt/slides/_rels/slide42.xml.rels><?xml version="1.0" encoding="UTF-8" standalone="yes"?>
<Relationships xmlns="http://schemas.openxmlformats.org/package/2006/relationships"><Relationship Id="rId8" Type="http://schemas.openxmlformats.org/officeDocument/2006/relationships/image" Target="../media/image166.png"/><Relationship Id="rId3" Type="http://schemas.openxmlformats.org/officeDocument/2006/relationships/image" Target="../media/image161.png"/><Relationship Id="rId7" Type="http://schemas.openxmlformats.org/officeDocument/2006/relationships/image" Target="../media/image165.png"/><Relationship Id="rId2" Type="http://schemas.openxmlformats.org/officeDocument/2006/relationships/notesSlide" Target="../notesSlides/notesSlide42.xml"/><Relationship Id="rId1" Type="http://schemas.openxmlformats.org/officeDocument/2006/relationships/slideLayout" Target="../slideLayouts/slideLayout14.xml"/><Relationship Id="rId6" Type="http://schemas.openxmlformats.org/officeDocument/2006/relationships/image" Target="../media/image164.jpeg"/><Relationship Id="rId11" Type="http://schemas.openxmlformats.org/officeDocument/2006/relationships/image" Target="../media/image169.jpeg"/><Relationship Id="rId5" Type="http://schemas.openxmlformats.org/officeDocument/2006/relationships/image" Target="../media/image163.png"/><Relationship Id="rId10" Type="http://schemas.openxmlformats.org/officeDocument/2006/relationships/image" Target="../media/image168.png"/><Relationship Id="rId4" Type="http://schemas.openxmlformats.org/officeDocument/2006/relationships/image" Target="../media/image162.jpeg"/><Relationship Id="rId9" Type="http://schemas.openxmlformats.org/officeDocument/2006/relationships/image" Target="../media/image167.jpeg"/></Relationships>
</file>

<file path=ppt/slides/_rels/slide43.xml.rels><?xml version="1.0" encoding="UTF-8" standalone="yes"?>
<Relationships xmlns="http://schemas.openxmlformats.org/package/2006/relationships"><Relationship Id="rId3" Type="http://schemas.openxmlformats.org/officeDocument/2006/relationships/image" Target="../media/image170.jpeg"/><Relationship Id="rId7" Type="http://schemas.openxmlformats.org/officeDocument/2006/relationships/image" Target="../media/image174.png"/><Relationship Id="rId2" Type="http://schemas.openxmlformats.org/officeDocument/2006/relationships/notesSlide" Target="../notesSlides/notesSlide43.xml"/><Relationship Id="rId1" Type="http://schemas.openxmlformats.org/officeDocument/2006/relationships/slideLayout" Target="../slideLayouts/slideLayout14.xml"/><Relationship Id="rId6" Type="http://schemas.openxmlformats.org/officeDocument/2006/relationships/image" Target="../media/image173.jpeg"/><Relationship Id="rId5" Type="http://schemas.openxmlformats.org/officeDocument/2006/relationships/image" Target="../media/image172.jpeg"/><Relationship Id="rId4" Type="http://schemas.openxmlformats.org/officeDocument/2006/relationships/image" Target="../media/image171.jpeg"/></Relationships>
</file>

<file path=ppt/slides/_rels/slide44.xml.rels><?xml version="1.0" encoding="UTF-8" standalone="yes"?>
<Relationships xmlns="http://schemas.openxmlformats.org/package/2006/relationships"><Relationship Id="rId8" Type="http://schemas.openxmlformats.org/officeDocument/2006/relationships/image" Target="../media/image178.png"/><Relationship Id="rId3" Type="http://schemas.openxmlformats.org/officeDocument/2006/relationships/image" Target="../media/image175.png"/><Relationship Id="rId7" Type="http://schemas.openxmlformats.org/officeDocument/2006/relationships/image" Target="../media/image177.jpeg"/><Relationship Id="rId2" Type="http://schemas.openxmlformats.org/officeDocument/2006/relationships/notesSlide" Target="../notesSlides/notesSlide44.xml"/><Relationship Id="rId1" Type="http://schemas.openxmlformats.org/officeDocument/2006/relationships/slideLayout" Target="../slideLayouts/slideLayout14.xml"/><Relationship Id="rId6" Type="http://schemas.microsoft.com/office/2007/relationships/hdphoto" Target="../media/hdphoto3.wdp"/><Relationship Id="rId11" Type="http://schemas.microsoft.com/office/2007/relationships/hdphoto" Target="../media/hdphoto4.wdp"/><Relationship Id="rId5" Type="http://schemas.openxmlformats.org/officeDocument/2006/relationships/image" Target="../media/image176.png"/><Relationship Id="rId10" Type="http://schemas.openxmlformats.org/officeDocument/2006/relationships/image" Target="../media/image180.png"/><Relationship Id="rId4" Type="http://schemas.microsoft.com/office/2007/relationships/hdphoto" Target="../media/hdphoto2.wdp"/><Relationship Id="rId9" Type="http://schemas.openxmlformats.org/officeDocument/2006/relationships/image" Target="../media/image179.jpeg"/></Relationships>
</file>

<file path=ppt/slides/_rels/slide5.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7.png"/><Relationship Id="rId7" Type="http://schemas.openxmlformats.org/officeDocument/2006/relationships/image" Target="../media/image50.png"/><Relationship Id="rId12" Type="http://schemas.openxmlformats.org/officeDocument/2006/relationships/image" Target="../media/image55.png"/><Relationship Id="rId2" Type="http://schemas.openxmlformats.org/officeDocument/2006/relationships/notesSlide" Target="../notesSlides/notesSlide5.xml"/><Relationship Id="rId1" Type="http://schemas.openxmlformats.org/officeDocument/2006/relationships/slideLayout" Target="../slideLayouts/slideLayout14.xml"/><Relationship Id="rId6" Type="http://schemas.openxmlformats.org/officeDocument/2006/relationships/image" Target="../media/image27.png"/><Relationship Id="rId11" Type="http://schemas.openxmlformats.org/officeDocument/2006/relationships/image" Target="../media/image54.png"/><Relationship Id="rId5" Type="http://schemas.openxmlformats.org/officeDocument/2006/relationships/image" Target="../media/image49.png"/><Relationship Id="rId10" Type="http://schemas.openxmlformats.org/officeDocument/2006/relationships/image" Target="../media/image53.png"/><Relationship Id="rId4" Type="http://schemas.openxmlformats.org/officeDocument/2006/relationships/image" Target="../media/image48.png"/><Relationship Id="rId9" Type="http://schemas.openxmlformats.org/officeDocument/2006/relationships/image" Target="../media/image52.png"/></Relationships>
</file>

<file path=ppt/slides/_rels/slide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6.xml"/><Relationship Id="rId1" Type="http://schemas.openxmlformats.org/officeDocument/2006/relationships/slideLayout" Target="../slideLayouts/slideLayout20.xml"/><Relationship Id="rId5" Type="http://schemas.openxmlformats.org/officeDocument/2006/relationships/image" Target="../media/image58.png"/><Relationship Id="rId4" Type="http://schemas.openxmlformats.org/officeDocument/2006/relationships/image" Target="../media/image57.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8.xml"/><Relationship Id="rId1" Type="http://schemas.openxmlformats.org/officeDocument/2006/relationships/slideLayout" Target="../slideLayouts/slideLayout15.xml"/><Relationship Id="rId5" Type="http://schemas.openxmlformats.org/officeDocument/2006/relationships/image" Target="../media/image61.png"/><Relationship Id="rId4" Type="http://schemas.openxmlformats.org/officeDocument/2006/relationships/image" Target="../media/image60.png"/></Relationships>
</file>

<file path=ppt/slides/_rels/slide9.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9.xml"/><Relationship Id="rId1" Type="http://schemas.openxmlformats.org/officeDocument/2006/relationships/slideLayout" Target="../slideLayouts/slideLayout15.xml"/><Relationship Id="rId4" Type="http://schemas.openxmlformats.org/officeDocument/2006/relationships/image" Target="../media/image60.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F4C7AAE-57FB-4590-9D03-AD3684648772}"/>
              </a:ext>
            </a:extLst>
          </p:cNvPr>
          <p:cNvSpPr>
            <a:spLocks noGrp="1"/>
          </p:cNvSpPr>
          <p:nvPr>
            <p:ph type="ctrTitle"/>
          </p:nvPr>
        </p:nvSpPr>
        <p:spPr>
          <a:xfrm>
            <a:off x="5979078" y="2231000"/>
            <a:ext cx="5430285" cy="799450"/>
          </a:xfrm>
        </p:spPr>
        <p:txBody>
          <a:bodyPr/>
          <a:lstStyle/>
          <a:p>
            <a:r>
              <a:rPr lang="en-GB" b="1">
                <a:latin typeface="Roboto Condensed"/>
                <a:ea typeface="Roboto Condensed"/>
                <a:cs typeface="Roboto Condensed"/>
              </a:rPr>
              <a:t>OUR HOUSE</a:t>
            </a:r>
          </a:p>
        </p:txBody>
      </p:sp>
      <p:sp>
        <p:nvSpPr>
          <p:cNvPr id="6" name="Pladsholder til dato 5">
            <a:extLst>
              <a:ext uri="{FF2B5EF4-FFF2-40B4-BE49-F238E27FC236}">
                <a16:creationId xmlns:a16="http://schemas.microsoft.com/office/drawing/2014/main" id="{60CB07FB-C913-482C-8EFA-77257B6AC278}"/>
              </a:ext>
            </a:extLst>
          </p:cNvPr>
          <p:cNvSpPr>
            <a:spLocks noGrp="1"/>
          </p:cNvSpPr>
          <p:nvPr>
            <p:ph type="dt" sz="half" idx="10"/>
          </p:nvPr>
        </p:nvSpPr>
        <p:spPr/>
        <p:txBody>
          <a:bodyPr/>
          <a:lstStyle/>
          <a:p>
            <a:r>
              <a:rPr lang="en-GB"/>
              <a:t>15 June 2021</a:t>
            </a:r>
          </a:p>
        </p:txBody>
      </p:sp>
      <p:sp>
        <p:nvSpPr>
          <p:cNvPr id="7" name="Rectangle 6">
            <a:extLst>
              <a:ext uri="{FF2B5EF4-FFF2-40B4-BE49-F238E27FC236}">
                <a16:creationId xmlns:a16="http://schemas.microsoft.com/office/drawing/2014/main" id="{119E4AEB-19AB-2813-6D96-CCEE0575279A}"/>
              </a:ext>
            </a:extLst>
          </p:cNvPr>
          <p:cNvSpPr/>
          <p:nvPr/>
        </p:nvSpPr>
        <p:spPr>
          <a:xfrm>
            <a:off x="6280150" y="4178300"/>
            <a:ext cx="673100" cy="139700"/>
          </a:xfrm>
          <a:prstGeom prst="rect">
            <a:avLst/>
          </a:prstGeom>
          <a:solidFill>
            <a:schemeClr val="tx1">
              <a:lumMod val="65000"/>
              <a:lumOff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543716EC-B58B-7894-2BD6-9B8278339345}"/>
              </a:ext>
            </a:extLst>
          </p:cNvPr>
          <p:cNvSpPr txBox="1"/>
          <p:nvPr/>
        </p:nvSpPr>
        <p:spPr>
          <a:xfrm>
            <a:off x="6096000" y="3028950"/>
            <a:ext cx="4038600"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solidFill>
                  <a:srgbClr val="FFFFFF"/>
                </a:solidFill>
                <a:latin typeface="Roboto"/>
                <a:ea typeface="Roboto"/>
                <a:cs typeface="Roboto"/>
              </a:rPr>
              <a:t>Regional Roadshows Q1 2024</a:t>
            </a:r>
          </a:p>
          <a:p>
            <a:r>
              <a:rPr lang="en-US" b="1" dirty="0">
                <a:solidFill>
                  <a:srgbClr val="FFFFFF"/>
                </a:solidFill>
                <a:latin typeface="Roboto"/>
                <a:ea typeface="Roboto"/>
                <a:cs typeface="Roboto"/>
              </a:rPr>
              <a:t>Cascade</a:t>
            </a:r>
          </a:p>
        </p:txBody>
      </p:sp>
      <p:sp>
        <p:nvSpPr>
          <p:cNvPr id="9" name="TextBox 8">
            <a:extLst>
              <a:ext uri="{FF2B5EF4-FFF2-40B4-BE49-F238E27FC236}">
                <a16:creationId xmlns:a16="http://schemas.microsoft.com/office/drawing/2014/main" id="{009FD25A-F8C8-B20F-A450-619F51B4934E}"/>
              </a:ext>
            </a:extLst>
          </p:cNvPr>
          <p:cNvSpPr txBox="1"/>
          <p:nvPr/>
        </p:nvSpPr>
        <p:spPr>
          <a:xfrm>
            <a:off x="6095999" y="4057650"/>
            <a:ext cx="40386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solidFill>
                  <a:srgbClr val="FFFFFF"/>
                </a:solidFill>
                <a:latin typeface="Roboto"/>
                <a:ea typeface="Roboto"/>
                <a:cs typeface="Roboto"/>
              </a:rPr>
              <a:t>February 2024</a:t>
            </a:r>
            <a:endParaRPr lang="en-US" dirty="0"/>
          </a:p>
        </p:txBody>
      </p:sp>
    </p:spTree>
    <p:extLst>
      <p:ext uri="{BB962C8B-B14F-4D97-AF65-F5344CB8AC3E}">
        <p14:creationId xmlns:p14="http://schemas.microsoft.com/office/powerpoint/2010/main" val="26572825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EB3C2403-720E-1147-B942-AB3B41D7F2D5}"/>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l="35615" r="9509"/>
          <a:stretch/>
        </p:blipFill>
        <p:spPr>
          <a:xfrm>
            <a:off x="0" y="0"/>
            <a:ext cx="11323638" cy="6858000"/>
          </a:xfrm>
        </p:spPr>
      </p:pic>
      <p:pic>
        <p:nvPicPr>
          <p:cNvPr id="8" name="Picture 7">
            <a:extLst>
              <a:ext uri="{FF2B5EF4-FFF2-40B4-BE49-F238E27FC236}">
                <a16:creationId xmlns:a16="http://schemas.microsoft.com/office/drawing/2014/main" id="{502450AF-1956-7022-B6A9-BF7AEF74E555}"/>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10750210" y="3612102"/>
            <a:ext cx="1147212" cy="1912938"/>
          </a:xfrm>
          <a:prstGeom prst="rect">
            <a:avLst/>
          </a:prstGeom>
        </p:spPr>
      </p:pic>
      <p:sp>
        <p:nvSpPr>
          <p:cNvPr id="6" name="TextBox 5">
            <a:extLst>
              <a:ext uri="{FF2B5EF4-FFF2-40B4-BE49-F238E27FC236}">
                <a16:creationId xmlns:a16="http://schemas.microsoft.com/office/drawing/2014/main" id="{35B4C180-BCA4-3B94-532F-D36C724DF1B2}"/>
              </a:ext>
            </a:extLst>
          </p:cNvPr>
          <p:cNvSpPr txBox="1"/>
          <p:nvPr/>
        </p:nvSpPr>
        <p:spPr>
          <a:xfrm>
            <a:off x="515938" y="873491"/>
            <a:ext cx="9698375" cy="1862048"/>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500" b="1" i="0" u="none" strike="noStrike" kern="1200" cap="none" spc="0" normalizeH="0" baseline="0" noProof="0" dirty="0">
                <a:ln w="38100">
                  <a:noFill/>
                </a:ln>
                <a:solidFill>
                  <a:srgbClr val="FFFFFF"/>
                </a:solidFill>
                <a:effectLst/>
                <a:uLnTx/>
                <a:uFillTx/>
                <a:latin typeface="Roboto Condensed"/>
                <a:ea typeface="+mn-ea"/>
                <a:cs typeface="+mn-cs"/>
              </a:rPr>
              <a:t>STARK</a:t>
            </a:r>
            <a:endParaRPr kumimoji="0" lang="en-US" sz="11500" b="1" i="0" u="none" strike="noStrike" kern="1200" cap="none" spc="0" normalizeH="0" baseline="0" noProof="0" dirty="0">
              <a:ln>
                <a:noFill/>
              </a:ln>
              <a:solidFill>
                <a:srgbClr val="FFFFFF"/>
              </a:solidFill>
              <a:effectLst/>
              <a:uLnTx/>
              <a:uFillTx/>
              <a:latin typeface="Roboto Condensed"/>
              <a:ea typeface="+mn-ea"/>
              <a:cs typeface="+mn-cs"/>
            </a:endParaRPr>
          </a:p>
        </p:txBody>
      </p:sp>
      <p:sp>
        <p:nvSpPr>
          <p:cNvPr id="7" name="TextBox 6">
            <a:extLst>
              <a:ext uri="{FF2B5EF4-FFF2-40B4-BE49-F238E27FC236}">
                <a16:creationId xmlns:a16="http://schemas.microsoft.com/office/drawing/2014/main" id="{BAC808F1-2B76-0B6F-8D73-7029FA633C8D}"/>
              </a:ext>
            </a:extLst>
          </p:cNvPr>
          <p:cNvSpPr txBox="1"/>
          <p:nvPr/>
        </p:nvSpPr>
        <p:spPr>
          <a:xfrm>
            <a:off x="2798747" y="2263854"/>
            <a:ext cx="3770649" cy="1133396"/>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a:ln>
                  <a:noFill/>
                </a:ln>
                <a:solidFill>
                  <a:srgbClr val="FFFFFF"/>
                </a:solidFill>
                <a:effectLst/>
                <a:uLnTx/>
                <a:uFillTx/>
                <a:latin typeface="Roboto Condensed"/>
                <a:ea typeface="+mn-ea"/>
                <a:cs typeface="+mn-cs"/>
              </a:rPr>
              <a:t>FACTOR</a:t>
            </a:r>
          </a:p>
        </p:txBody>
      </p:sp>
      <p:sp>
        <p:nvSpPr>
          <p:cNvPr id="9" name="TextBox 8">
            <a:extLst>
              <a:ext uri="{FF2B5EF4-FFF2-40B4-BE49-F238E27FC236}">
                <a16:creationId xmlns:a16="http://schemas.microsoft.com/office/drawing/2014/main" id="{1FFE43AF-16D8-4CAD-0873-337A2F08E30C}"/>
              </a:ext>
            </a:extLst>
          </p:cNvPr>
          <p:cNvSpPr txBox="1"/>
          <p:nvPr/>
        </p:nvSpPr>
        <p:spPr>
          <a:xfrm>
            <a:off x="445920" y="377194"/>
            <a:ext cx="1989289"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a:ln w="38100">
                  <a:noFill/>
                </a:ln>
                <a:solidFill>
                  <a:srgbClr val="FFFFFF"/>
                </a:solidFill>
                <a:effectLst/>
                <a:uLnTx/>
                <a:uFillTx/>
                <a:latin typeface="Roboto Condensed"/>
                <a:ea typeface="+mn-ea"/>
                <a:cs typeface="+mn-cs"/>
              </a:rPr>
              <a:t>OUR </a:t>
            </a:r>
            <a:endParaRPr kumimoji="0" lang="en-US" sz="1800" b="0" i="0" u="none" strike="noStrike" kern="1200" cap="none" spc="0" normalizeH="0" baseline="0" noProof="0">
              <a:ln>
                <a:noFill/>
              </a:ln>
              <a:solidFill>
                <a:srgbClr val="FFFFFF"/>
              </a:solidFill>
              <a:effectLst/>
              <a:uLnTx/>
              <a:uFillTx/>
              <a:latin typeface="Roboto"/>
              <a:ea typeface="+mn-ea"/>
              <a:cs typeface="+mn-cs"/>
            </a:endParaRPr>
          </a:p>
        </p:txBody>
      </p:sp>
      <p:sp>
        <p:nvSpPr>
          <p:cNvPr id="2" name="TextBox 1">
            <a:extLst>
              <a:ext uri="{FF2B5EF4-FFF2-40B4-BE49-F238E27FC236}">
                <a16:creationId xmlns:a16="http://schemas.microsoft.com/office/drawing/2014/main" id="{88EF4A6A-0B50-0379-3949-46CB24AADB7A}"/>
              </a:ext>
            </a:extLst>
          </p:cNvPr>
          <p:cNvSpPr txBox="1"/>
          <p:nvPr/>
        </p:nvSpPr>
        <p:spPr>
          <a:xfrm>
            <a:off x="868362" y="4949571"/>
            <a:ext cx="5697538" cy="1446550"/>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solidFill>
                  <a:srgbClr val="FFFFFF"/>
                </a:solidFill>
                <a:effectLst/>
                <a:uLnTx/>
                <a:uFillTx/>
                <a:latin typeface="Roboto Condensed"/>
                <a:ea typeface="+mn-ea"/>
                <a:cs typeface="+mn-cs"/>
              </a:rPr>
              <a:t>WHAT DOES SUCCESS LOOK LIKE?</a:t>
            </a:r>
          </a:p>
        </p:txBody>
      </p:sp>
    </p:spTree>
    <p:extLst>
      <p:ext uri="{BB962C8B-B14F-4D97-AF65-F5344CB8AC3E}">
        <p14:creationId xmlns:p14="http://schemas.microsoft.com/office/powerpoint/2010/main" val="3474407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EB3C2403-720E-1147-B942-AB3B41D7F2D5}"/>
              </a:ext>
            </a:extLst>
          </p:cNvPr>
          <p:cNvPicPr>
            <a:picLocks noGrp="1" noChangeAspect="1"/>
          </p:cNvPicPr>
          <p:nvPr>
            <p:ph type="pic" sz="quarter" idx="10"/>
          </p:nvPr>
        </p:nvPicPr>
        <p:blipFill rotWithShape="1">
          <a:blip r:embed="rId3">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val="0"/>
              </a:ext>
            </a:extLst>
          </a:blip>
          <a:srcRect l="33584" t="61425" r="30317" b="5773"/>
          <a:stretch/>
        </p:blipFill>
        <p:spPr>
          <a:xfrm>
            <a:off x="0" y="-1"/>
            <a:ext cx="11322429" cy="6858001"/>
          </a:xfrm>
        </p:spPr>
      </p:pic>
      <p:pic>
        <p:nvPicPr>
          <p:cNvPr id="8" name="Picture 7">
            <a:extLst>
              <a:ext uri="{FF2B5EF4-FFF2-40B4-BE49-F238E27FC236}">
                <a16:creationId xmlns:a16="http://schemas.microsoft.com/office/drawing/2014/main" id="{502450AF-1956-7022-B6A9-BF7AEF74E555}"/>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10750210" y="3612102"/>
            <a:ext cx="1147212" cy="1912938"/>
          </a:xfrm>
          <a:prstGeom prst="rect">
            <a:avLst/>
          </a:prstGeom>
        </p:spPr>
      </p:pic>
      <p:sp>
        <p:nvSpPr>
          <p:cNvPr id="2" name="TextBox 1">
            <a:extLst>
              <a:ext uri="{FF2B5EF4-FFF2-40B4-BE49-F238E27FC236}">
                <a16:creationId xmlns:a16="http://schemas.microsoft.com/office/drawing/2014/main" id="{6111BF0E-B6BB-5688-5795-354AFABDFA38}"/>
              </a:ext>
            </a:extLst>
          </p:cNvPr>
          <p:cNvSpPr txBox="1"/>
          <p:nvPr/>
        </p:nvSpPr>
        <p:spPr>
          <a:xfrm>
            <a:off x="830262" y="1643379"/>
            <a:ext cx="6154975" cy="1446550"/>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a:ln w="38100">
                  <a:noFill/>
                </a:ln>
                <a:solidFill>
                  <a:srgbClr val="FFFFFF"/>
                </a:solidFill>
                <a:effectLst/>
                <a:uLnTx/>
                <a:uFillTx/>
                <a:latin typeface="Roboto Condensed"/>
                <a:ea typeface="+mn-ea"/>
                <a:cs typeface="+mn-cs"/>
              </a:rPr>
              <a:t>STOPPING</a:t>
            </a:r>
            <a:endParaRPr kumimoji="0" lang="en-US" sz="8800" b="1" i="0" u="none" strike="noStrike" kern="1200" cap="none" spc="0" normalizeH="0" baseline="0" noProof="0">
              <a:ln>
                <a:noFill/>
              </a:ln>
              <a:solidFill>
                <a:srgbClr val="FFFFFF"/>
              </a:solidFill>
              <a:effectLst/>
              <a:uLnTx/>
              <a:uFillTx/>
              <a:latin typeface="Roboto Condensed"/>
              <a:ea typeface="+mn-ea"/>
              <a:cs typeface="+mn-cs"/>
            </a:endParaRPr>
          </a:p>
        </p:txBody>
      </p:sp>
      <p:sp>
        <p:nvSpPr>
          <p:cNvPr id="3" name="TextBox 2">
            <a:extLst>
              <a:ext uri="{FF2B5EF4-FFF2-40B4-BE49-F238E27FC236}">
                <a16:creationId xmlns:a16="http://schemas.microsoft.com/office/drawing/2014/main" id="{DFEFA249-BF78-19A0-C5C3-DD854AC92E0B}"/>
              </a:ext>
            </a:extLst>
          </p:cNvPr>
          <p:cNvSpPr txBox="1"/>
          <p:nvPr/>
        </p:nvSpPr>
        <p:spPr>
          <a:xfrm>
            <a:off x="4338850" y="2707909"/>
            <a:ext cx="1611479" cy="1107996"/>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a:ln>
                  <a:noFill/>
                </a:ln>
                <a:solidFill>
                  <a:srgbClr val="FFFFFF"/>
                </a:solidFill>
                <a:effectLst/>
                <a:uLnTx/>
                <a:uFillTx/>
                <a:latin typeface="Roboto Condensed"/>
                <a:ea typeface="+mn-ea"/>
                <a:cs typeface="+mn-cs"/>
              </a:rPr>
              <a:t>US?</a:t>
            </a:r>
          </a:p>
        </p:txBody>
      </p:sp>
      <p:sp>
        <p:nvSpPr>
          <p:cNvPr id="13" name="TextBox 12">
            <a:extLst>
              <a:ext uri="{FF2B5EF4-FFF2-40B4-BE49-F238E27FC236}">
                <a16:creationId xmlns:a16="http://schemas.microsoft.com/office/drawing/2014/main" id="{B8A61962-2DA0-086F-1B05-7644094F4CE1}"/>
              </a:ext>
            </a:extLst>
          </p:cNvPr>
          <p:cNvSpPr txBox="1"/>
          <p:nvPr/>
        </p:nvSpPr>
        <p:spPr>
          <a:xfrm>
            <a:off x="820236" y="1077067"/>
            <a:ext cx="6098874"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a:ln w="38100">
                  <a:noFill/>
                </a:ln>
                <a:solidFill>
                  <a:srgbClr val="FFFFFF"/>
                </a:solidFill>
                <a:effectLst/>
                <a:uLnTx/>
                <a:uFillTx/>
                <a:latin typeface="Roboto Condensed"/>
                <a:ea typeface="+mn-ea"/>
                <a:cs typeface="+mn-cs"/>
              </a:rPr>
              <a:t>WHAT’S </a:t>
            </a:r>
            <a:endParaRPr kumimoji="0" lang="en-US" sz="1800" b="0" i="0" u="none" strike="noStrike" kern="1200" cap="none" spc="0" normalizeH="0" baseline="0" noProof="0">
              <a:ln>
                <a:noFill/>
              </a:ln>
              <a:solidFill>
                <a:srgbClr val="FFFFFF"/>
              </a:solidFill>
              <a:effectLst/>
              <a:uLnTx/>
              <a:uFillTx/>
              <a:latin typeface="Roboto"/>
              <a:ea typeface="+mn-ea"/>
              <a:cs typeface="+mn-cs"/>
            </a:endParaRPr>
          </a:p>
        </p:txBody>
      </p:sp>
      <p:sp>
        <p:nvSpPr>
          <p:cNvPr id="4" name="TextBox 3">
            <a:extLst>
              <a:ext uri="{FF2B5EF4-FFF2-40B4-BE49-F238E27FC236}">
                <a16:creationId xmlns:a16="http://schemas.microsoft.com/office/drawing/2014/main" id="{736736E4-D167-7C9B-F937-145F38A87A15}"/>
              </a:ext>
            </a:extLst>
          </p:cNvPr>
          <p:cNvSpPr txBox="1"/>
          <p:nvPr/>
        </p:nvSpPr>
        <p:spPr>
          <a:xfrm>
            <a:off x="830262" y="5622978"/>
            <a:ext cx="6759576" cy="769441"/>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solidFill>
                  <a:srgbClr val="FFFFFF"/>
                </a:solidFill>
                <a:effectLst/>
                <a:uLnTx/>
                <a:uFillTx/>
                <a:latin typeface="Roboto Condensed"/>
                <a:ea typeface="+mn-ea"/>
                <a:cs typeface="+mn-cs"/>
              </a:rPr>
              <a:t>FROM GOOD TO GREAT!</a:t>
            </a:r>
          </a:p>
        </p:txBody>
      </p:sp>
    </p:spTree>
    <p:extLst>
      <p:ext uri="{BB962C8B-B14F-4D97-AF65-F5344CB8AC3E}">
        <p14:creationId xmlns:p14="http://schemas.microsoft.com/office/powerpoint/2010/main" val="1709357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EB3C2403-720E-1147-B942-AB3B41D7F2D5}"/>
              </a:ext>
            </a:extLst>
          </p:cNvPr>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l="6768" t="4093" r="4529" b="15391"/>
          <a:stretch/>
        </p:blipFill>
        <p:spPr>
          <a:xfrm>
            <a:off x="0" y="0"/>
            <a:ext cx="11319425" cy="6858000"/>
          </a:xfrm>
        </p:spPr>
      </p:pic>
      <p:pic>
        <p:nvPicPr>
          <p:cNvPr id="8" name="Picture 7">
            <a:extLst>
              <a:ext uri="{FF2B5EF4-FFF2-40B4-BE49-F238E27FC236}">
                <a16:creationId xmlns:a16="http://schemas.microsoft.com/office/drawing/2014/main" id="{502450AF-1956-7022-B6A9-BF7AEF74E555}"/>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10750210" y="3612102"/>
            <a:ext cx="1147212" cy="1912938"/>
          </a:xfrm>
          <a:prstGeom prst="rect">
            <a:avLst/>
          </a:prstGeom>
        </p:spPr>
      </p:pic>
      <p:sp>
        <p:nvSpPr>
          <p:cNvPr id="3" name="TextBox 2">
            <a:extLst>
              <a:ext uri="{FF2B5EF4-FFF2-40B4-BE49-F238E27FC236}">
                <a16:creationId xmlns:a16="http://schemas.microsoft.com/office/drawing/2014/main" id="{8DED850A-2E65-F5F9-A346-675BD2C1B5ED}"/>
              </a:ext>
            </a:extLst>
          </p:cNvPr>
          <p:cNvSpPr txBox="1"/>
          <p:nvPr/>
        </p:nvSpPr>
        <p:spPr>
          <a:xfrm>
            <a:off x="569002" y="811196"/>
            <a:ext cx="6746772" cy="1446550"/>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a:ln w="38100">
                  <a:noFill/>
                </a:ln>
                <a:solidFill>
                  <a:srgbClr val="FFFFFF"/>
                </a:solidFill>
                <a:effectLst/>
                <a:uLnTx/>
                <a:uFillTx/>
                <a:latin typeface="Roboto Condensed"/>
                <a:ea typeface="+mn-ea"/>
                <a:cs typeface="+mn-cs"/>
              </a:rPr>
              <a:t>BRILLIANCE</a:t>
            </a:r>
            <a:endParaRPr kumimoji="0" lang="en-US" sz="8800" b="1" i="0" u="none" strike="noStrike" kern="1200" cap="none" spc="0" normalizeH="0" baseline="0" noProof="0">
              <a:ln>
                <a:noFill/>
              </a:ln>
              <a:solidFill>
                <a:srgbClr val="FFFFFF"/>
              </a:solidFill>
              <a:effectLst/>
              <a:uLnTx/>
              <a:uFillTx/>
              <a:latin typeface="Roboto Condensed"/>
              <a:ea typeface="+mn-ea"/>
              <a:cs typeface="+mn-cs"/>
            </a:endParaRPr>
          </a:p>
        </p:txBody>
      </p:sp>
      <p:sp>
        <p:nvSpPr>
          <p:cNvPr id="6" name="TextBox 5">
            <a:extLst>
              <a:ext uri="{FF2B5EF4-FFF2-40B4-BE49-F238E27FC236}">
                <a16:creationId xmlns:a16="http://schemas.microsoft.com/office/drawing/2014/main" id="{13DF96C4-E443-7259-1EBE-434BA62F566D}"/>
              </a:ext>
            </a:extLst>
          </p:cNvPr>
          <p:cNvSpPr txBox="1"/>
          <p:nvPr/>
        </p:nvSpPr>
        <p:spPr>
          <a:xfrm>
            <a:off x="558976" y="244884"/>
            <a:ext cx="6098874"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a:ln w="38100">
                  <a:noFill/>
                </a:ln>
                <a:solidFill>
                  <a:srgbClr val="FFFFFF"/>
                </a:solidFill>
                <a:effectLst/>
                <a:uLnTx/>
                <a:uFillTx/>
                <a:latin typeface="Roboto Condensed"/>
                <a:ea typeface="+mn-ea"/>
                <a:cs typeface="+mn-cs"/>
              </a:rPr>
              <a:t>LET’S HAVE MORE</a:t>
            </a:r>
            <a:endParaRPr kumimoji="0" lang="en-US" sz="1800" b="0" i="0" u="none" strike="noStrike" kern="1200" cap="none" spc="0" normalizeH="0" baseline="0" noProof="0">
              <a:ln>
                <a:noFill/>
              </a:ln>
              <a:solidFill>
                <a:srgbClr val="FFFFFF"/>
              </a:solidFill>
              <a:effectLst/>
              <a:uLnTx/>
              <a:uFillTx/>
              <a:latin typeface="Roboto"/>
              <a:ea typeface="+mn-ea"/>
              <a:cs typeface="+mn-cs"/>
            </a:endParaRPr>
          </a:p>
        </p:txBody>
      </p:sp>
    </p:spTree>
    <p:extLst>
      <p:ext uri="{BB962C8B-B14F-4D97-AF65-F5344CB8AC3E}">
        <p14:creationId xmlns:p14="http://schemas.microsoft.com/office/powerpoint/2010/main" val="1921018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9" name="Picture 8" descr="A black and white grid&#10;&#10;Description automatically generated">
            <a:extLst>
              <a:ext uri="{FF2B5EF4-FFF2-40B4-BE49-F238E27FC236}">
                <a16:creationId xmlns:a16="http://schemas.microsoft.com/office/drawing/2014/main" id="{C2820806-622D-25E1-1476-1F93D727BE43}"/>
              </a:ext>
            </a:extLst>
          </p:cNvPr>
          <p:cNvPicPr>
            <a:picLocks/>
          </p:cNvPicPr>
          <p:nvPr/>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Title 4">
            <a:extLst>
              <a:ext uri="{FF2B5EF4-FFF2-40B4-BE49-F238E27FC236}">
                <a16:creationId xmlns:a16="http://schemas.microsoft.com/office/drawing/2014/main" id="{551A9448-4001-8DC3-4923-18AF75C02BF0}"/>
              </a:ext>
            </a:extLst>
          </p:cNvPr>
          <p:cNvSpPr>
            <a:spLocks noGrp="1"/>
          </p:cNvSpPr>
          <p:nvPr>
            <p:ph type="ctrTitle"/>
          </p:nvPr>
        </p:nvSpPr>
        <p:spPr>
          <a:xfrm>
            <a:off x="599499" y="2679564"/>
            <a:ext cx="8494840" cy="1498872"/>
          </a:xfrm>
        </p:spPr>
        <p:txBody>
          <a:bodyPr/>
          <a:lstStyle/>
          <a:p>
            <a:r>
              <a:rPr lang="en-US" b="1" dirty="0">
                <a:solidFill>
                  <a:srgbClr val="002060"/>
                </a:solidFill>
                <a:latin typeface="Roboto Condensed"/>
                <a:ea typeface="Roboto Condensed"/>
                <a:cs typeface="Roboto Condensed"/>
              </a:rPr>
              <a:t>Our progress in 2023 </a:t>
            </a:r>
            <a:br>
              <a:rPr lang="en-US" b="1" dirty="0">
                <a:solidFill>
                  <a:srgbClr val="002060"/>
                </a:solidFill>
                <a:latin typeface="Roboto Condensed"/>
                <a:ea typeface="Roboto Condensed"/>
                <a:cs typeface="Roboto Condensed"/>
              </a:rPr>
            </a:br>
            <a:r>
              <a:rPr lang="en-US" b="1" dirty="0">
                <a:solidFill>
                  <a:srgbClr val="002060"/>
                </a:solidFill>
                <a:latin typeface="Roboto Condensed"/>
                <a:ea typeface="Roboto Condensed"/>
                <a:cs typeface="Roboto Condensed"/>
              </a:rPr>
              <a:t>&amp; roadmap for 2024</a:t>
            </a:r>
            <a:endParaRPr lang="en-GB" b="1" dirty="0">
              <a:solidFill>
                <a:srgbClr val="002060"/>
              </a:solidFill>
              <a:latin typeface="Roboto Condensed"/>
              <a:ea typeface="Roboto Condensed"/>
              <a:cs typeface="Roboto Condensed"/>
            </a:endParaRPr>
          </a:p>
        </p:txBody>
      </p:sp>
      <p:pic>
        <p:nvPicPr>
          <p:cNvPr id="6" name="Picture 5">
            <a:extLst>
              <a:ext uri="{FF2B5EF4-FFF2-40B4-BE49-F238E27FC236}">
                <a16:creationId xmlns:a16="http://schemas.microsoft.com/office/drawing/2014/main" id="{7A5EF0CE-22CE-9CC9-4219-811149A2DBFE}"/>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9094339" y="1035958"/>
            <a:ext cx="2708398" cy="4542973"/>
          </a:xfrm>
          <a:prstGeom prst="rect">
            <a:avLst/>
          </a:prstGeom>
        </p:spPr>
      </p:pic>
      <p:pic>
        <p:nvPicPr>
          <p:cNvPr id="8" name="Picture 7">
            <a:extLst>
              <a:ext uri="{FF2B5EF4-FFF2-40B4-BE49-F238E27FC236}">
                <a16:creationId xmlns:a16="http://schemas.microsoft.com/office/drawing/2014/main" id="{0A7F5F43-1D10-9E66-3C48-C26311EB584D}"/>
              </a:ext>
            </a:extLst>
          </p:cNvPr>
          <p:cNvPicPr>
            <a:picLocks/>
          </p:cNvPicPr>
          <p:nvPr/>
        </p:nvPicPr>
        <p:blipFill rotWithShape="1">
          <a:blip r:embed="rId5" cstate="email">
            <a:extLst>
              <a:ext uri="{28A0092B-C50C-407E-A947-70E740481C1C}">
                <a14:useLocalDpi xmlns:a14="http://schemas.microsoft.com/office/drawing/2010/main"/>
              </a:ext>
            </a:extLst>
          </a:blip>
          <a:srcRect/>
          <a:stretch/>
        </p:blipFill>
        <p:spPr>
          <a:xfrm>
            <a:off x="982535" y="0"/>
            <a:ext cx="1612901" cy="711200"/>
          </a:xfrm>
          <a:prstGeom prst="rect">
            <a:avLst/>
          </a:prstGeom>
        </p:spPr>
      </p:pic>
    </p:spTree>
    <p:extLst>
      <p:ext uri="{BB962C8B-B14F-4D97-AF65-F5344CB8AC3E}">
        <p14:creationId xmlns:p14="http://schemas.microsoft.com/office/powerpoint/2010/main" val="240483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3ADBA92-9386-ADB1-A832-A926174A45AF}"/>
              </a:ext>
            </a:extLst>
          </p:cNvPr>
          <p:cNvSpPr/>
          <p:nvPr/>
        </p:nvSpPr>
        <p:spPr>
          <a:xfrm>
            <a:off x="0" y="2497834"/>
            <a:ext cx="12191999" cy="38872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Roboto"/>
              <a:ea typeface="+mn-ea"/>
              <a:cs typeface="+mn-cs"/>
            </a:endParaRPr>
          </a:p>
        </p:txBody>
      </p:sp>
      <p:sp>
        <p:nvSpPr>
          <p:cNvPr id="62" name="TextBox 61">
            <a:extLst>
              <a:ext uri="{FF2B5EF4-FFF2-40B4-BE49-F238E27FC236}">
                <a16:creationId xmlns:a16="http://schemas.microsoft.com/office/drawing/2014/main" id="{A74EDA17-E8D4-4315-515C-8E2400C1A764}"/>
              </a:ext>
            </a:extLst>
          </p:cNvPr>
          <p:cNvSpPr txBox="1"/>
          <p:nvPr/>
        </p:nvSpPr>
        <p:spPr>
          <a:xfrm>
            <a:off x="386759" y="6474560"/>
            <a:ext cx="1011526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5821E"/>
                </a:solidFill>
                <a:effectLst/>
                <a:uLnTx/>
                <a:uFillTx/>
                <a:latin typeface="Roboto"/>
                <a:ea typeface="+mn-ea"/>
                <a:cs typeface="+mn-cs"/>
              </a:rPr>
              <a:t>BETTER</a:t>
            </a:r>
            <a:r>
              <a:rPr kumimoji="0" lang="en-GB" sz="1400" b="1" i="0" u="none" strike="noStrike" kern="1200" cap="none" spc="0" normalizeH="0" baseline="0" noProof="0">
                <a:ln>
                  <a:noFill/>
                </a:ln>
                <a:solidFill>
                  <a:srgbClr val="00326E"/>
                </a:solidFill>
                <a:effectLst/>
                <a:uLnTx/>
                <a:uFillTx/>
                <a:latin typeface="Roboto"/>
                <a:ea typeface="+mn-ea"/>
                <a:cs typeface="+mn-cs"/>
              </a:rPr>
              <a:t> starts with each of us. </a:t>
            </a:r>
            <a:r>
              <a:rPr kumimoji="0" lang="en-GB" sz="1400" b="1" i="0" u="none" strike="noStrike" kern="1200" cap="none" spc="0" normalizeH="0" baseline="0" noProof="0">
                <a:ln>
                  <a:noFill/>
                </a:ln>
                <a:solidFill>
                  <a:srgbClr val="F5821E"/>
                </a:solidFill>
                <a:effectLst/>
                <a:uLnTx/>
                <a:uFillTx/>
                <a:latin typeface="Roboto"/>
                <a:ea typeface="+mn-ea"/>
                <a:cs typeface="+mn-cs"/>
              </a:rPr>
              <a:t>BETTER</a:t>
            </a:r>
            <a:r>
              <a:rPr kumimoji="0" lang="en-GB" sz="1400" b="1" i="0" u="none" strike="noStrike" kern="1200" cap="none" spc="0" normalizeH="0" baseline="0" noProof="0">
                <a:ln>
                  <a:noFill/>
                </a:ln>
                <a:solidFill>
                  <a:srgbClr val="00326E"/>
                </a:solidFill>
                <a:effectLst/>
                <a:uLnTx/>
                <a:uFillTx/>
                <a:latin typeface="Roboto"/>
                <a:ea typeface="+mn-ea"/>
                <a:cs typeface="+mn-cs"/>
              </a:rPr>
              <a:t> starts today. Trust in </a:t>
            </a:r>
            <a:r>
              <a:rPr kumimoji="0" lang="en-GB" sz="1400" b="1" i="0" u="none" strike="noStrike" kern="1200" cap="none" spc="0" normalizeH="0" baseline="0" noProof="0">
                <a:ln>
                  <a:noFill/>
                </a:ln>
                <a:solidFill>
                  <a:srgbClr val="F5821E"/>
                </a:solidFill>
                <a:effectLst/>
                <a:uLnTx/>
                <a:uFillTx/>
                <a:latin typeface="Roboto"/>
                <a:ea typeface="+mn-ea"/>
                <a:cs typeface="+mn-cs"/>
              </a:rPr>
              <a:t>BETTER</a:t>
            </a:r>
          </a:p>
        </p:txBody>
      </p:sp>
      <p:sp>
        <p:nvSpPr>
          <p:cNvPr id="11" name="TextBox 10">
            <a:extLst>
              <a:ext uri="{FF2B5EF4-FFF2-40B4-BE49-F238E27FC236}">
                <a16:creationId xmlns:a16="http://schemas.microsoft.com/office/drawing/2014/main" id="{7BAFC19A-06BF-E2CE-6D8A-35225F8710D7}"/>
              </a:ext>
            </a:extLst>
          </p:cNvPr>
          <p:cNvSpPr txBox="1"/>
          <p:nvPr/>
        </p:nvSpPr>
        <p:spPr>
          <a:xfrm>
            <a:off x="514800" y="1273555"/>
            <a:ext cx="9869164" cy="1115690"/>
          </a:xfrm>
          <a:prstGeom prst="rect">
            <a:avLst/>
          </a:prstGeom>
          <a:noFill/>
        </p:spPr>
        <p:txBody>
          <a:bodyPr wrap="square" lIns="0" tIns="45720" rIns="0" bIns="45720" rtlCol="0" anchor="t">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Roboto"/>
                <a:ea typeface="Roboto"/>
                <a:cs typeface="Roboto"/>
              </a:rPr>
              <a:t>Our big ambition</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Roboto"/>
                <a:ea typeface="Roboto"/>
                <a:cs typeface="Roboto"/>
              </a:rPr>
              <a:t>We want to be the UK’s #1 builders’ merchant, enabled by our Trust in Better Strategy</a:t>
            </a:r>
            <a:br>
              <a:rPr kumimoji="0" lang="en-US" sz="1600" b="1" i="0" u="none" strike="noStrike" kern="1200" cap="none" spc="0" normalizeH="0" baseline="0" noProof="0">
                <a:ln>
                  <a:noFill/>
                </a:ln>
                <a:solidFill>
                  <a:srgbClr val="000000"/>
                </a:solidFill>
                <a:effectLst/>
                <a:uLnTx/>
                <a:uFillTx/>
                <a:latin typeface="Roboto"/>
                <a:ea typeface="Roboto"/>
                <a:cs typeface="Roboto"/>
              </a:rPr>
            </a:br>
            <a:r>
              <a:rPr kumimoji="0" lang="en-US" sz="1600" b="0" i="0" u="none" strike="noStrike" kern="1200" cap="none" spc="0" normalizeH="0" baseline="0" noProof="0">
                <a:ln>
                  <a:noFill/>
                </a:ln>
                <a:solidFill>
                  <a:srgbClr val="000000"/>
                </a:solidFill>
                <a:effectLst/>
                <a:uLnTx/>
                <a:uFillTx/>
                <a:latin typeface="Roboto"/>
                <a:ea typeface="Roboto"/>
                <a:cs typeface="Roboto"/>
              </a:rPr>
              <a:t>As STARK UK, we have the power to get there, because our whole family of brands will benefit from the additional scale and reach that being part of STARK Group brings, including improved buying strength</a:t>
            </a:r>
          </a:p>
        </p:txBody>
      </p:sp>
      <p:grpSp>
        <p:nvGrpSpPr>
          <p:cNvPr id="277" name="Group 276" hidden="1">
            <a:extLst>
              <a:ext uri="{FF2B5EF4-FFF2-40B4-BE49-F238E27FC236}">
                <a16:creationId xmlns:a16="http://schemas.microsoft.com/office/drawing/2014/main" id="{19A5B33E-51DA-5F39-7A5D-473D625092AB}"/>
              </a:ext>
            </a:extLst>
          </p:cNvPr>
          <p:cNvGrpSpPr/>
          <p:nvPr/>
        </p:nvGrpSpPr>
        <p:grpSpPr>
          <a:xfrm>
            <a:off x="522611" y="3632976"/>
            <a:ext cx="11162004" cy="2545923"/>
            <a:chOff x="522611" y="4495179"/>
            <a:chExt cx="11162004" cy="1683720"/>
          </a:xfrm>
        </p:grpSpPr>
        <p:cxnSp>
          <p:nvCxnSpPr>
            <p:cNvPr id="261" name="Straight Connector 260">
              <a:extLst>
                <a:ext uri="{FF2B5EF4-FFF2-40B4-BE49-F238E27FC236}">
                  <a16:creationId xmlns:a16="http://schemas.microsoft.com/office/drawing/2014/main" id="{E4968D09-BDC5-1F07-AD1E-5064F8845A5B}"/>
                </a:ext>
              </a:extLst>
            </p:cNvPr>
            <p:cNvCxnSpPr>
              <a:cxnSpLocks/>
            </p:cNvCxnSpPr>
            <p:nvPr/>
          </p:nvCxnSpPr>
          <p:spPr>
            <a:xfrm>
              <a:off x="2372966" y="4495179"/>
              <a:ext cx="0" cy="168372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E0048E06-F894-6161-A6C4-6EC561851628}"/>
                </a:ext>
              </a:extLst>
            </p:cNvPr>
            <p:cNvCxnSpPr>
              <a:cxnSpLocks/>
            </p:cNvCxnSpPr>
            <p:nvPr/>
          </p:nvCxnSpPr>
          <p:spPr>
            <a:xfrm>
              <a:off x="4232452" y="4495179"/>
              <a:ext cx="0" cy="168372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43F03204-E820-4793-D6CF-E5E978EE5F06}"/>
                </a:ext>
              </a:extLst>
            </p:cNvPr>
            <p:cNvCxnSpPr>
              <a:cxnSpLocks/>
            </p:cNvCxnSpPr>
            <p:nvPr/>
          </p:nvCxnSpPr>
          <p:spPr>
            <a:xfrm>
              <a:off x="6096488" y="4495179"/>
              <a:ext cx="0" cy="168372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D6D060C9-CEDF-2FEC-72B9-F567B64CA070}"/>
                </a:ext>
              </a:extLst>
            </p:cNvPr>
            <p:cNvCxnSpPr>
              <a:cxnSpLocks/>
            </p:cNvCxnSpPr>
            <p:nvPr/>
          </p:nvCxnSpPr>
          <p:spPr>
            <a:xfrm>
              <a:off x="7941106" y="4495179"/>
              <a:ext cx="0" cy="168372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38ECF227-3266-6697-FDA4-5E2297C21987}"/>
                </a:ext>
              </a:extLst>
            </p:cNvPr>
            <p:cNvCxnSpPr>
              <a:cxnSpLocks/>
            </p:cNvCxnSpPr>
            <p:nvPr/>
          </p:nvCxnSpPr>
          <p:spPr>
            <a:xfrm>
              <a:off x="9806117" y="4495179"/>
              <a:ext cx="0" cy="168372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4" name="Straight Connector 273">
              <a:extLst>
                <a:ext uri="{FF2B5EF4-FFF2-40B4-BE49-F238E27FC236}">
                  <a16:creationId xmlns:a16="http://schemas.microsoft.com/office/drawing/2014/main" id="{1908DE9C-6B9C-BBD6-8B90-DA77329AA4B7}"/>
                </a:ext>
              </a:extLst>
            </p:cNvPr>
            <p:cNvCxnSpPr>
              <a:cxnSpLocks/>
            </p:cNvCxnSpPr>
            <p:nvPr/>
          </p:nvCxnSpPr>
          <p:spPr>
            <a:xfrm>
              <a:off x="522611" y="4495179"/>
              <a:ext cx="0" cy="168372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id="{B42CF4A4-01E2-21C6-7695-D1454BB31563}"/>
                </a:ext>
              </a:extLst>
            </p:cNvPr>
            <p:cNvCxnSpPr>
              <a:cxnSpLocks/>
            </p:cNvCxnSpPr>
            <p:nvPr/>
          </p:nvCxnSpPr>
          <p:spPr>
            <a:xfrm>
              <a:off x="11684615" y="4495179"/>
              <a:ext cx="0" cy="168372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5" name="Picture 4" descr="A blue text on a black background&#10;&#10;Description automatically generated">
            <a:extLst>
              <a:ext uri="{FF2B5EF4-FFF2-40B4-BE49-F238E27FC236}">
                <a16:creationId xmlns:a16="http://schemas.microsoft.com/office/drawing/2014/main" id="{E8C2C084-7380-311D-5420-0B565A76E47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42090" y="394205"/>
            <a:ext cx="1727283" cy="441521"/>
          </a:xfrm>
          <a:prstGeom prst="rect">
            <a:avLst/>
          </a:prstGeom>
        </p:spPr>
      </p:pic>
      <p:sp>
        <p:nvSpPr>
          <p:cNvPr id="23" name="Title 5">
            <a:extLst>
              <a:ext uri="{FF2B5EF4-FFF2-40B4-BE49-F238E27FC236}">
                <a16:creationId xmlns:a16="http://schemas.microsoft.com/office/drawing/2014/main" id="{970B412D-0596-9A7E-FBA6-6B2F7D8F8E04}"/>
              </a:ext>
            </a:extLst>
          </p:cNvPr>
          <p:cNvSpPr>
            <a:spLocks noGrp="1"/>
          </p:cNvSpPr>
          <p:nvPr>
            <p:ph type="title"/>
          </p:nvPr>
        </p:nvSpPr>
        <p:spPr>
          <a:xfrm>
            <a:off x="387800" y="282575"/>
            <a:ext cx="11161263" cy="554400"/>
          </a:xfrm>
        </p:spPr>
        <p:txBody>
          <a:bodyPr/>
          <a:lstStyle/>
          <a:p>
            <a:r>
              <a:rPr lang="en-US">
                <a:solidFill>
                  <a:srgbClr val="002060"/>
                </a:solidFill>
                <a:latin typeface="Roboto Condensed"/>
                <a:ea typeface="Roboto Condensed"/>
                <a:cs typeface="Roboto Condensed"/>
              </a:rPr>
              <a:t>Trust in </a:t>
            </a:r>
            <a:r>
              <a:rPr lang="en-US">
                <a:solidFill>
                  <a:schemeClr val="accent2"/>
                </a:solidFill>
                <a:latin typeface="Roboto Condensed"/>
                <a:ea typeface="Roboto Condensed"/>
                <a:cs typeface="Roboto Condensed"/>
              </a:rPr>
              <a:t>BETTER</a:t>
            </a:r>
          </a:p>
        </p:txBody>
      </p:sp>
      <p:sp>
        <p:nvSpPr>
          <p:cNvPr id="25" name="Text Placeholder 5">
            <a:extLst>
              <a:ext uri="{FF2B5EF4-FFF2-40B4-BE49-F238E27FC236}">
                <a16:creationId xmlns:a16="http://schemas.microsoft.com/office/drawing/2014/main" id="{E353E990-9DB3-B49D-FE10-5081B67A0695}"/>
              </a:ext>
            </a:extLst>
          </p:cNvPr>
          <p:cNvSpPr>
            <a:spLocks noGrp="1"/>
          </p:cNvSpPr>
          <p:nvPr>
            <p:ph type="body" sz="quarter" idx="13"/>
          </p:nvPr>
        </p:nvSpPr>
        <p:spPr>
          <a:xfrm>
            <a:off x="438600" y="900000"/>
            <a:ext cx="11160125" cy="368412"/>
          </a:xfrm>
        </p:spPr>
        <p:txBody>
          <a:bodyPr/>
          <a:lstStyle/>
          <a:p>
            <a:r>
              <a:rPr lang="en-US">
                <a:solidFill>
                  <a:schemeClr val="tx1"/>
                </a:solidFill>
                <a:latin typeface="Roboto"/>
                <a:ea typeface="Roboto"/>
                <a:cs typeface="Roboto Black"/>
              </a:rPr>
              <a:t>A roadmap to our </a:t>
            </a:r>
            <a:r>
              <a:rPr lang="en-US">
                <a:solidFill>
                  <a:schemeClr val="accent2"/>
                </a:solidFill>
                <a:latin typeface="Roboto"/>
                <a:ea typeface="Roboto"/>
                <a:cs typeface="Roboto Black"/>
              </a:rPr>
              <a:t>BETTER</a:t>
            </a:r>
            <a:r>
              <a:rPr lang="en-US">
                <a:solidFill>
                  <a:schemeClr val="tx1"/>
                </a:solidFill>
                <a:latin typeface="Roboto"/>
                <a:ea typeface="Roboto"/>
                <a:cs typeface="Roboto Black"/>
              </a:rPr>
              <a:t> future</a:t>
            </a:r>
            <a:endParaRPr lang="en-GB">
              <a:solidFill>
                <a:schemeClr val="tx1"/>
              </a:solidFill>
            </a:endParaRPr>
          </a:p>
        </p:txBody>
      </p:sp>
      <p:sp>
        <p:nvSpPr>
          <p:cNvPr id="78" name="Title 5">
            <a:extLst>
              <a:ext uri="{FF2B5EF4-FFF2-40B4-BE49-F238E27FC236}">
                <a16:creationId xmlns:a16="http://schemas.microsoft.com/office/drawing/2014/main" id="{3D998576-83BB-A3F8-9016-F00F9BA7C825}"/>
              </a:ext>
            </a:extLst>
          </p:cNvPr>
          <p:cNvSpPr txBox="1">
            <a:spLocks/>
          </p:cNvSpPr>
          <p:nvPr/>
        </p:nvSpPr>
        <p:spPr>
          <a:xfrm>
            <a:off x="514800" y="2616557"/>
            <a:ext cx="11382611" cy="508513"/>
          </a:xfrm>
          <a:prstGeom prst="rect">
            <a:avLst/>
          </a:prstGeom>
        </p:spPr>
        <p:txBody>
          <a:bodyPr vert="horz" wrap="none" lIns="0" tIns="45720" rIns="0" bIns="0" rtlCol="0" anchor="t" anchorCtr="0">
            <a:noAutofit/>
          </a:bodyPr>
          <a:lstStyle>
            <a:lvl1pPr algn="l" defTabSz="914400" rtl="0" eaLnBrk="1" latinLnBrk="0" hangingPunct="1">
              <a:lnSpc>
                <a:spcPct val="90000"/>
              </a:lnSpc>
              <a:spcBef>
                <a:spcPct val="0"/>
              </a:spcBef>
              <a:buNone/>
              <a:defRPr sz="3600" b="1"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Roboto Condensed"/>
                <a:ea typeface="+mj-ea"/>
                <a:cs typeface="+mj-cs"/>
              </a:rPr>
              <a:t>8 SPECIALIST BUSINESSES </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Roboto Condensed"/>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Roboto Condensed"/>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Roboto Condensed"/>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Roboto Condensed"/>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Roboto Condensed"/>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Roboto Condensed"/>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Roboto Condensed"/>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Roboto Condensed"/>
              <a:ea typeface="+mj-ea"/>
              <a:cs typeface="+mj-cs"/>
            </a:endParaRPr>
          </a:p>
          <a:p>
            <a:pPr marL="0" marR="0" lvl="0" indent="0" algn="l" defTabSz="914400" rtl="0" eaLnBrk="1" fontAlgn="auto" latinLnBrk="0" hangingPunct="1">
              <a:lnSpc>
                <a:spcPts val="1200"/>
              </a:lnSpc>
              <a:spcBef>
                <a:spcPct val="0"/>
              </a:spcBef>
              <a:spcAft>
                <a:spcPts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Roboto Condensed"/>
              <a:ea typeface="+mj-ea"/>
              <a:cs typeface="+mj-cs"/>
            </a:endParaRPr>
          </a:p>
        </p:txBody>
      </p:sp>
      <p:sp>
        <p:nvSpPr>
          <p:cNvPr id="7" name="Rectangle 6">
            <a:extLst>
              <a:ext uri="{FF2B5EF4-FFF2-40B4-BE49-F238E27FC236}">
                <a16:creationId xmlns:a16="http://schemas.microsoft.com/office/drawing/2014/main" id="{463E0C86-D0C8-C251-7C91-97D9A99D4A53}"/>
              </a:ext>
            </a:extLst>
          </p:cNvPr>
          <p:cNvSpPr/>
          <p:nvPr/>
        </p:nvSpPr>
        <p:spPr>
          <a:xfrm>
            <a:off x="0" y="3266154"/>
            <a:ext cx="12191996" cy="24500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Roboto"/>
              <a:ea typeface="+mn-ea"/>
              <a:cs typeface="+mn-cs"/>
            </a:endParaRPr>
          </a:p>
        </p:txBody>
      </p:sp>
      <p:pic>
        <p:nvPicPr>
          <p:cNvPr id="2" name="Picture 16" descr="Minster Logo - E&amp;H Drylining &amp; Plastering (South West) Ltd">
            <a:extLst>
              <a:ext uri="{FF2B5EF4-FFF2-40B4-BE49-F238E27FC236}">
                <a16:creationId xmlns:a16="http://schemas.microsoft.com/office/drawing/2014/main" id="{D7EBB42D-02A7-7701-E502-74FA68E86BB8}"/>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198043" y="4770733"/>
            <a:ext cx="780767" cy="45833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14" descr="Charter Awardee- Normans - Jersey Good Business Charter">
            <a:extLst>
              <a:ext uri="{FF2B5EF4-FFF2-40B4-BE49-F238E27FC236}">
                <a16:creationId xmlns:a16="http://schemas.microsoft.com/office/drawing/2014/main" id="{F06F3D1E-CEA6-06EE-6C8D-78BA33F2C886}"/>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268579" y="4774105"/>
            <a:ext cx="1298959" cy="45159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0">
            <a:extLst>
              <a:ext uri="{FF2B5EF4-FFF2-40B4-BE49-F238E27FC236}">
                <a16:creationId xmlns:a16="http://schemas.microsoft.com/office/drawing/2014/main" id="{2E6388E2-A145-9F20-4218-FAB5BAAB4FD9}"/>
              </a:ext>
            </a:extLst>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l="-1776" r="-1776"/>
          <a:stretch/>
        </p:blipFill>
        <p:spPr bwMode="auto">
          <a:xfrm>
            <a:off x="3334069" y="4825525"/>
            <a:ext cx="1536744" cy="34875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black background with grey text&#10;&#10;Description automatically generated">
            <a:extLst>
              <a:ext uri="{FF2B5EF4-FFF2-40B4-BE49-F238E27FC236}">
                <a16:creationId xmlns:a16="http://schemas.microsoft.com/office/drawing/2014/main" id="{65949355-3B75-1D0D-874E-6969673CBC10}"/>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878623" y="4789460"/>
            <a:ext cx="1037954" cy="420881"/>
          </a:xfrm>
          <a:prstGeom prst="rect">
            <a:avLst/>
          </a:prstGeom>
        </p:spPr>
      </p:pic>
      <p:grpSp>
        <p:nvGrpSpPr>
          <p:cNvPr id="14" name="Group 13">
            <a:extLst>
              <a:ext uri="{FF2B5EF4-FFF2-40B4-BE49-F238E27FC236}">
                <a16:creationId xmlns:a16="http://schemas.microsoft.com/office/drawing/2014/main" id="{4C3D8180-2390-3992-6030-C890218546B4}"/>
              </a:ext>
            </a:extLst>
          </p:cNvPr>
          <p:cNvGrpSpPr/>
          <p:nvPr/>
        </p:nvGrpSpPr>
        <p:grpSpPr>
          <a:xfrm>
            <a:off x="1143570" y="3784163"/>
            <a:ext cx="1734212" cy="602910"/>
            <a:chOff x="1264372" y="3542648"/>
            <a:chExt cx="2091986" cy="727292"/>
          </a:xfrm>
        </p:grpSpPr>
        <p:sp>
          <p:nvSpPr>
            <p:cNvPr id="15" name="Rectangle 14">
              <a:extLst>
                <a:ext uri="{FF2B5EF4-FFF2-40B4-BE49-F238E27FC236}">
                  <a16:creationId xmlns:a16="http://schemas.microsoft.com/office/drawing/2014/main" id="{D1C18C4B-C787-9411-B22D-4E925BE13C60}"/>
                </a:ext>
              </a:extLst>
            </p:cNvPr>
            <p:cNvSpPr/>
            <p:nvPr/>
          </p:nvSpPr>
          <p:spPr>
            <a:xfrm>
              <a:off x="1264372" y="3542648"/>
              <a:ext cx="2091986" cy="727292"/>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Roboto"/>
                <a:ea typeface="+mn-ea"/>
                <a:cs typeface="+mn-cs"/>
              </a:endParaRPr>
            </a:p>
          </p:txBody>
        </p:sp>
        <p:pic>
          <p:nvPicPr>
            <p:cNvPr id="19" name="Picture 53">
              <a:extLst>
                <a:ext uri="{FF2B5EF4-FFF2-40B4-BE49-F238E27FC236}">
                  <a16:creationId xmlns:a16="http://schemas.microsoft.com/office/drawing/2014/main" id="{4B09289D-BEEB-5933-C6DB-89D6AA8471FE}"/>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1395340" y="3715794"/>
              <a:ext cx="1830050" cy="381000"/>
            </a:xfrm>
            <a:prstGeom prst="rect">
              <a:avLst/>
            </a:prstGeom>
          </p:spPr>
        </p:pic>
      </p:grpSp>
      <p:pic>
        <p:nvPicPr>
          <p:cNvPr id="20" name="Picture 2">
            <a:extLst>
              <a:ext uri="{FF2B5EF4-FFF2-40B4-BE49-F238E27FC236}">
                <a16:creationId xmlns:a16="http://schemas.microsoft.com/office/drawing/2014/main" id="{980983DF-922B-350B-E978-6D851A67F40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052050" y="3802505"/>
            <a:ext cx="3040565" cy="566226"/>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Group 21">
            <a:extLst>
              <a:ext uri="{FF2B5EF4-FFF2-40B4-BE49-F238E27FC236}">
                <a16:creationId xmlns:a16="http://schemas.microsoft.com/office/drawing/2014/main" id="{B603A9A6-1610-C408-8AB8-5F6A020EB16B}"/>
              </a:ext>
            </a:extLst>
          </p:cNvPr>
          <p:cNvGrpSpPr>
            <a:grpSpLocks noChangeAspect="1"/>
          </p:cNvGrpSpPr>
          <p:nvPr/>
        </p:nvGrpSpPr>
        <p:grpSpPr>
          <a:xfrm>
            <a:off x="3287540" y="3801970"/>
            <a:ext cx="4406296" cy="567296"/>
            <a:chOff x="4217584" y="3727929"/>
            <a:chExt cx="3398485" cy="437544"/>
          </a:xfrm>
        </p:grpSpPr>
        <p:pic>
          <p:nvPicPr>
            <p:cNvPr id="24" name="Picture 23" descr="A blue and white logo&#10;&#10;Description automatically generated">
              <a:extLst>
                <a:ext uri="{FF2B5EF4-FFF2-40B4-BE49-F238E27FC236}">
                  <a16:creationId xmlns:a16="http://schemas.microsoft.com/office/drawing/2014/main" id="{ED275215-4958-13D7-5CC5-5C9365051A1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217584" y="3750635"/>
              <a:ext cx="1832392" cy="392132"/>
            </a:xfrm>
            <a:prstGeom prst="rect">
              <a:avLst/>
            </a:prstGeom>
          </p:spPr>
        </p:pic>
        <p:pic>
          <p:nvPicPr>
            <p:cNvPr id="26" name="Graphic 25">
              <a:extLst>
                <a:ext uri="{FF2B5EF4-FFF2-40B4-BE49-F238E27FC236}">
                  <a16:creationId xmlns:a16="http://schemas.microsoft.com/office/drawing/2014/main" id="{DEB82687-5C3B-D6EC-0F45-F52B54C0466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267323" y="3727929"/>
              <a:ext cx="1348746" cy="437544"/>
            </a:xfrm>
            <a:prstGeom prst="rect">
              <a:avLst/>
            </a:prstGeom>
          </p:spPr>
        </p:pic>
      </p:grpSp>
    </p:spTree>
    <p:extLst>
      <p:ext uri="{BB962C8B-B14F-4D97-AF65-F5344CB8AC3E}">
        <p14:creationId xmlns:p14="http://schemas.microsoft.com/office/powerpoint/2010/main" val="2201395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3BEF2AC0-6258-2367-C374-112C6CE42485}"/>
              </a:ext>
            </a:extLst>
          </p:cNvPr>
          <p:cNvSpPr/>
          <p:nvPr/>
        </p:nvSpPr>
        <p:spPr>
          <a:xfrm>
            <a:off x="-9526" y="1401024"/>
            <a:ext cx="12201525" cy="40629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Roboto"/>
              <a:ea typeface="+mn-ea"/>
              <a:cs typeface="+mn-cs"/>
            </a:endParaRPr>
          </a:p>
        </p:txBody>
      </p:sp>
      <p:pic>
        <p:nvPicPr>
          <p:cNvPr id="23" name="Picture 16" descr="Minster Logo - E&amp;H Drylining &amp; Plastering (South West) Ltd">
            <a:extLst>
              <a:ext uri="{FF2B5EF4-FFF2-40B4-BE49-F238E27FC236}">
                <a16:creationId xmlns:a16="http://schemas.microsoft.com/office/drawing/2014/main" id="{000AACFE-FE7A-A24E-6B8F-91D782C393AF}"/>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18356" y="2107358"/>
            <a:ext cx="1737260" cy="1019825"/>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4" descr="Charter Awardee- Normans - Jersey Good Business Charter">
            <a:extLst>
              <a:ext uri="{FF2B5EF4-FFF2-40B4-BE49-F238E27FC236}">
                <a16:creationId xmlns:a16="http://schemas.microsoft.com/office/drawing/2014/main" id="{B5F33899-5A22-5990-9159-A763C2330E01}"/>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378104" y="2165009"/>
            <a:ext cx="2601768" cy="90452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0">
            <a:extLst>
              <a:ext uri="{FF2B5EF4-FFF2-40B4-BE49-F238E27FC236}">
                <a16:creationId xmlns:a16="http://schemas.microsoft.com/office/drawing/2014/main" id="{7BE2D341-A209-844C-B0FD-BC612ECEB179}"/>
              </a:ext>
            </a:extLst>
          </p:cNvPr>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l="-1776" r="-1776"/>
          <a:stretch/>
        </p:blipFill>
        <p:spPr bwMode="auto">
          <a:xfrm>
            <a:off x="763470" y="3987968"/>
            <a:ext cx="2901236" cy="658412"/>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6">
            <a:extLst>
              <a:ext uri="{FF2B5EF4-FFF2-40B4-BE49-F238E27FC236}">
                <a16:creationId xmlns:a16="http://schemas.microsoft.com/office/drawing/2014/main" id="{5D03132E-1B78-AFF3-B6C5-51F8B057D189}"/>
              </a:ext>
            </a:extLst>
          </p:cNvPr>
          <p:cNvPicPr>
            <a:picLocks noChangeAspect="1"/>
          </p:cNvPicPr>
          <p:nvPr/>
        </p:nvPicPr>
        <p:blipFill>
          <a:blip r:embed="rId6" cstate="email">
            <a:extLst>
              <a:ext uri="{28A0092B-C50C-407E-A947-70E740481C1C}">
                <a14:useLocalDpi xmlns:a14="http://schemas.microsoft.com/office/drawing/2010/main"/>
              </a:ext>
            </a:extLst>
          </a:blip>
          <a:srcRect/>
          <a:stretch/>
        </p:blipFill>
        <p:spPr>
          <a:xfrm>
            <a:off x="4114306" y="4027118"/>
            <a:ext cx="2082671" cy="605430"/>
          </a:xfrm>
          <a:prstGeom prst="rect">
            <a:avLst/>
          </a:prstGeom>
        </p:spPr>
      </p:pic>
      <p:pic>
        <p:nvPicPr>
          <p:cNvPr id="54" name="Picture 53" descr="A black background with grey text&#10;&#10;Description automatically generated">
            <a:extLst>
              <a:ext uri="{FF2B5EF4-FFF2-40B4-BE49-F238E27FC236}">
                <a16:creationId xmlns:a16="http://schemas.microsoft.com/office/drawing/2014/main" id="{28B11014-9F4A-503D-9E12-32EAC90410A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511541" y="3905878"/>
            <a:ext cx="1733025" cy="702726"/>
          </a:xfrm>
          <a:prstGeom prst="rect">
            <a:avLst/>
          </a:prstGeom>
        </p:spPr>
      </p:pic>
      <p:pic>
        <p:nvPicPr>
          <p:cNvPr id="56" name="Picture 55" descr="A logo for a company&#10;&#10;Description automatically generated">
            <a:extLst>
              <a:ext uri="{FF2B5EF4-FFF2-40B4-BE49-F238E27FC236}">
                <a16:creationId xmlns:a16="http://schemas.microsoft.com/office/drawing/2014/main" id="{3D8E2DB6-4037-AD34-76FE-5E533D6468A1}"/>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l="6181" t="17355" r="7552" b="14128"/>
          <a:stretch/>
        </p:blipFill>
        <p:spPr>
          <a:xfrm>
            <a:off x="6737561" y="3959889"/>
            <a:ext cx="2233395" cy="749898"/>
          </a:xfrm>
          <a:prstGeom prst="rect">
            <a:avLst/>
          </a:prstGeom>
        </p:spPr>
      </p:pic>
      <p:sp>
        <p:nvSpPr>
          <p:cNvPr id="2" name="Title 5">
            <a:extLst>
              <a:ext uri="{FF2B5EF4-FFF2-40B4-BE49-F238E27FC236}">
                <a16:creationId xmlns:a16="http://schemas.microsoft.com/office/drawing/2014/main" id="{AC4CB7BB-8EE8-8416-0ED9-9AE279875866}"/>
              </a:ext>
            </a:extLst>
          </p:cNvPr>
          <p:cNvSpPr txBox="1">
            <a:spLocks/>
          </p:cNvSpPr>
          <p:nvPr/>
        </p:nvSpPr>
        <p:spPr>
          <a:xfrm>
            <a:off x="497459" y="388395"/>
            <a:ext cx="11382611" cy="508513"/>
          </a:xfrm>
          <a:prstGeom prst="rect">
            <a:avLst/>
          </a:prstGeom>
        </p:spPr>
        <p:txBody>
          <a:bodyPr vert="horz" wrap="none" lIns="0" tIns="45720" rIns="0" bIns="0" rtlCol="0" anchor="t" anchorCtr="0">
            <a:noAutofit/>
          </a:bodyPr>
          <a:lstStyle>
            <a:lvl1pPr algn="l" defTabSz="914400" rtl="0" eaLnBrk="1" latinLnBrk="0" hangingPunct="1">
              <a:lnSpc>
                <a:spcPct val="90000"/>
              </a:lnSpc>
              <a:spcBef>
                <a:spcPct val="0"/>
              </a:spcBef>
              <a:buNone/>
              <a:defRPr sz="3600" b="1" kern="1200">
                <a:solidFill>
                  <a:schemeClr val="tx2"/>
                </a:solidFill>
                <a:latin typeface="+mj-lt"/>
                <a:ea typeface="+mj-ea"/>
                <a:cs typeface="+mj-cs"/>
              </a:defRPr>
            </a:lvl1pPr>
          </a:lstStyle>
          <a:p>
            <a:pPr marL="0" marR="0" lvl="0" indent="0" algn="l" defTabSz="914400" rtl="0" eaLnBrk="1" fontAlgn="auto" latinLnBrk="0" hangingPunct="1">
              <a:lnSpc>
                <a:spcPts val="1200"/>
              </a:lnSpc>
              <a:spcBef>
                <a:spcPct val="0"/>
              </a:spcBef>
              <a:spcAft>
                <a:spcPts val="0"/>
              </a:spcAft>
              <a:buClrTx/>
              <a:buSzTx/>
              <a:buFontTx/>
              <a:buNone/>
              <a:tabLst/>
              <a:defRPr/>
            </a:pPr>
            <a:endParaRPr kumimoji="0" lang="en-US" sz="2000" b="1" i="0" u="none" strike="noStrike" kern="1200" cap="none" spc="0" normalizeH="0" baseline="0" noProof="0">
              <a:ln>
                <a:noFill/>
              </a:ln>
              <a:solidFill>
                <a:srgbClr val="85ACE3"/>
              </a:solidFill>
              <a:effectLst/>
              <a:uLnTx/>
              <a:uFillTx/>
              <a:latin typeface="Roboto Condensed"/>
              <a:ea typeface="+mj-ea"/>
              <a:cs typeface="+mj-cs"/>
            </a:endParaRPr>
          </a:p>
        </p:txBody>
      </p:sp>
      <p:sp>
        <p:nvSpPr>
          <p:cNvPr id="3" name="Title 2">
            <a:extLst>
              <a:ext uri="{FF2B5EF4-FFF2-40B4-BE49-F238E27FC236}">
                <a16:creationId xmlns:a16="http://schemas.microsoft.com/office/drawing/2014/main" id="{1800EC04-0497-6BF0-2B83-8DB14872C966}"/>
              </a:ext>
            </a:extLst>
          </p:cNvPr>
          <p:cNvSpPr>
            <a:spLocks noGrp="1"/>
          </p:cNvSpPr>
          <p:nvPr>
            <p:ph type="title"/>
          </p:nvPr>
        </p:nvSpPr>
        <p:spPr>
          <a:xfrm>
            <a:off x="514800" y="473075"/>
            <a:ext cx="11161263" cy="554400"/>
          </a:xfrm>
        </p:spPr>
        <p:txBody>
          <a:bodyPr vert="horz" lIns="91440" tIns="45720" rIns="91440" bIns="45720" rtlCol="0" anchor="ctr">
            <a:noAutofit/>
          </a:bodyPr>
          <a:lstStyle/>
          <a:p>
            <a:r>
              <a:rPr lang="en-US" sz="3600" b="1">
                <a:solidFill>
                  <a:srgbClr val="002060"/>
                </a:solidFill>
                <a:latin typeface="Roboto Condensed"/>
                <a:ea typeface="Roboto Condensed"/>
                <a:cs typeface="Roboto Condensed"/>
              </a:rPr>
              <a:t>7 Specialist businesses</a:t>
            </a:r>
            <a:br>
              <a:rPr lang="en-US" sz="3600" b="1">
                <a:latin typeface="Roboto Condensed"/>
              </a:rPr>
            </a:br>
            <a:endParaRPr lang="en-GB" sz="3600" b="1">
              <a:solidFill>
                <a:srgbClr val="002060"/>
              </a:solidFill>
              <a:latin typeface="Roboto Condensed"/>
              <a:ea typeface="Roboto Condensed"/>
              <a:cs typeface="Roboto Condensed"/>
            </a:endParaRPr>
          </a:p>
        </p:txBody>
      </p:sp>
      <p:pic>
        <p:nvPicPr>
          <p:cNvPr id="5" name="Picture 2">
            <a:extLst>
              <a:ext uri="{FF2B5EF4-FFF2-40B4-BE49-F238E27FC236}">
                <a16:creationId xmlns:a16="http://schemas.microsoft.com/office/drawing/2014/main" id="{087FE6B2-C55F-CEA0-426C-AF6AC117B59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195260" y="2165009"/>
            <a:ext cx="4857159" cy="9045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326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250"/>
                                        <p:tgtEl>
                                          <p:spTgt spid="32"/>
                                        </p:tgtEl>
                                      </p:cBhvr>
                                    </p:animEffect>
                                  </p:childTnLst>
                                </p:cTn>
                              </p:par>
                              <p:par>
                                <p:cTn id="8" presetID="42" presetClass="path" presetSubtype="0" decel="100000" fill="hold" nodeType="withEffect">
                                  <p:stCondLst>
                                    <p:cond delay="0"/>
                                  </p:stCondLst>
                                  <p:childTnLst>
                                    <p:animMotion origin="layout" path="M -4.16667E-7 0.03889 L -4.16667E-7 1.85185E-6 " pathEditMode="relative" rAng="0" ptsTypes="AA">
                                      <p:cBhvr>
                                        <p:cTn id="9" dur="500" fill="hold"/>
                                        <p:tgtEl>
                                          <p:spTgt spid="32"/>
                                        </p:tgtEl>
                                        <p:attrNameLst>
                                          <p:attrName>ppt_x</p:attrName>
                                          <p:attrName>ppt_y</p:attrName>
                                        </p:attrNameLst>
                                      </p:cBhvr>
                                      <p:rCtr x="0" y="-1944"/>
                                    </p:animMotion>
                                  </p:childTnLst>
                                </p:cTn>
                              </p:par>
                              <p:par>
                                <p:cTn id="10" presetID="10" presetClass="entr" presetSubtype="0" fill="hold" nodeType="with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250"/>
                                        <p:tgtEl>
                                          <p:spTgt spid="47"/>
                                        </p:tgtEl>
                                      </p:cBhvr>
                                    </p:animEffect>
                                  </p:childTnLst>
                                </p:cTn>
                              </p:par>
                              <p:par>
                                <p:cTn id="13" presetID="42" presetClass="path" presetSubtype="0" decel="100000" fill="hold" nodeType="withEffect">
                                  <p:stCondLst>
                                    <p:cond delay="0"/>
                                  </p:stCondLst>
                                  <p:childTnLst>
                                    <p:animMotion origin="layout" path="M 3.33333E-6 0.03889 L 3.33333E-6 1.11022E-16 " pathEditMode="relative" rAng="0" ptsTypes="AA">
                                      <p:cBhvr>
                                        <p:cTn id="14" dur="500" fill="hold"/>
                                        <p:tgtEl>
                                          <p:spTgt spid="47"/>
                                        </p:tgtEl>
                                        <p:attrNameLst>
                                          <p:attrName>ppt_x</p:attrName>
                                          <p:attrName>ppt_y</p:attrName>
                                        </p:attrNameLst>
                                      </p:cBhvr>
                                      <p:rCtr x="0" y="-1944"/>
                                    </p:animMotion>
                                  </p:childTnLst>
                                </p:cTn>
                              </p:par>
                              <p:par>
                                <p:cTn id="15" presetID="10" presetClass="entr" presetSubtype="0" fill="hold" nodeType="withEffect">
                                  <p:stCondLst>
                                    <p:cond delay="0"/>
                                  </p:stCondLst>
                                  <p:childTnLst>
                                    <p:set>
                                      <p:cBhvr>
                                        <p:cTn id="16" dur="1" fill="hold">
                                          <p:stCondLst>
                                            <p:cond delay="0"/>
                                          </p:stCondLst>
                                        </p:cTn>
                                        <p:tgtEl>
                                          <p:spTgt spid="54"/>
                                        </p:tgtEl>
                                        <p:attrNameLst>
                                          <p:attrName>style.visibility</p:attrName>
                                        </p:attrNameLst>
                                      </p:cBhvr>
                                      <p:to>
                                        <p:strVal val="visible"/>
                                      </p:to>
                                    </p:set>
                                    <p:animEffect transition="in" filter="fade">
                                      <p:cBhvr>
                                        <p:cTn id="17" dur="250"/>
                                        <p:tgtEl>
                                          <p:spTgt spid="54"/>
                                        </p:tgtEl>
                                      </p:cBhvr>
                                    </p:animEffect>
                                  </p:childTnLst>
                                </p:cTn>
                              </p:par>
                              <p:par>
                                <p:cTn id="18" presetID="42" presetClass="path" presetSubtype="0" decel="100000" fill="hold" nodeType="withEffect">
                                  <p:stCondLst>
                                    <p:cond delay="0"/>
                                  </p:stCondLst>
                                  <p:childTnLst>
                                    <p:animMotion origin="layout" path="M -1.875E-6 0.03889 L -1.875E-6 -1.85185E-6 " pathEditMode="relative" rAng="0" ptsTypes="AA">
                                      <p:cBhvr>
                                        <p:cTn id="19" dur="500" fill="hold"/>
                                        <p:tgtEl>
                                          <p:spTgt spid="54"/>
                                        </p:tgtEl>
                                        <p:attrNameLst>
                                          <p:attrName>ppt_x</p:attrName>
                                          <p:attrName>ppt_y</p:attrName>
                                        </p:attrNameLst>
                                      </p:cBhvr>
                                      <p:rCtr x="0" y="-1944"/>
                                    </p:animMotion>
                                  </p:childTnLst>
                                </p:cTn>
                              </p:par>
                              <p:par>
                                <p:cTn id="20" presetID="10" presetClass="entr" presetSubtype="0" fill="hold" nodeType="withEffect">
                                  <p:stCondLst>
                                    <p:cond delay="0"/>
                                  </p:stCondLst>
                                  <p:childTnLst>
                                    <p:set>
                                      <p:cBhvr>
                                        <p:cTn id="21" dur="1" fill="hold">
                                          <p:stCondLst>
                                            <p:cond delay="0"/>
                                          </p:stCondLst>
                                        </p:cTn>
                                        <p:tgtEl>
                                          <p:spTgt spid="56"/>
                                        </p:tgtEl>
                                        <p:attrNameLst>
                                          <p:attrName>style.visibility</p:attrName>
                                        </p:attrNameLst>
                                      </p:cBhvr>
                                      <p:to>
                                        <p:strVal val="visible"/>
                                      </p:to>
                                    </p:set>
                                    <p:animEffect transition="in" filter="fade">
                                      <p:cBhvr>
                                        <p:cTn id="22" dur="250"/>
                                        <p:tgtEl>
                                          <p:spTgt spid="56"/>
                                        </p:tgtEl>
                                      </p:cBhvr>
                                    </p:animEffect>
                                  </p:childTnLst>
                                </p:cTn>
                              </p:par>
                              <p:par>
                                <p:cTn id="23" presetID="42" presetClass="path" presetSubtype="0" decel="100000" fill="hold" nodeType="withEffect">
                                  <p:stCondLst>
                                    <p:cond delay="0"/>
                                  </p:stCondLst>
                                  <p:childTnLst>
                                    <p:animMotion origin="layout" path="M -6.25E-7 0.03889 L -6.25E-7 -4.44444E-6 " pathEditMode="relative" rAng="0" ptsTypes="AA">
                                      <p:cBhvr>
                                        <p:cTn id="24" dur="500" fill="hold"/>
                                        <p:tgtEl>
                                          <p:spTgt spid="56"/>
                                        </p:tgtEl>
                                        <p:attrNameLst>
                                          <p:attrName>ppt_x</p:attrName>
                                          <p:attrName>ppt_y</p:attrName>
                                        </p:attrNameLst>
                                      </p:cBhvr>
                                      <p:rCtr x="0" y="-1944"/>
                                    </p:animMotion>
                                  </p:childTnLst>
                                </p:cTn>
                              </p:par>
                              <p:par>
                                <p:cTn id="25" presetID="10" presetClass="entr" presetSubtype="0" fill="hold" nodeType="withEffect">
                                  <p:stCondLst>
                                    <p:cond delay="0"/>
                                  </p:stCondLst>
                                  <p:childTnLst>
                                    <p:set>
                                      <p:cBhvr>
                                        <p:cTn id="26" dur="1" fill="hold">
                                          <p:stCondLst>
                                            <p:cond delay="0"/>
                                          </p:stCondLst>
                                        </p:cTn>
                                        <p:tgtEl>
                                          <p:spTgt spid="23"/>
                                        </p:tgtEl>
                                        <p:attrNameLst>
                                          <p:attrName>style.visibility</p:attrName>
                                        </p:attrNameLst>
                                      </p:cBhvr>
                                      <p:to>
                                        <p:strVal val="visible"/>
                                      </p:to>
                                    </p:set>
                                    <p:animEffect transition="in" filter="fade">
                                      <p:cBhvr>
                                        <p:cTn id="27" dur="250"/>
                                        <p:tgtEl>
                                          <p:spTgt spid="23"/>
                                        </p:tgtEl>
                                      </p:cBhvr>
                                    </p:animEffect>
                                  </p:childTnLst>
                                </p:cTn>
                              </p:par>
                              <p:par>
                                <p:cTn id="28" presetID="42" presetClass="path" presetSubtype="0" decel="100000" fill="hold" nodeType="withEffect">
                                  <p:stCondLst>
                                    <p:cond delay="0"/>
                                  </p:stCondLst>
                                  <p:childTnLst>
                                    <p:animMotion origin="layout" path="M 2.5E-6 -0.03472 L 2.5E-6 -1.48148E-6 " pathEditMode="relative" rAng="0" ptsTypes="AA">
                                      <p:cBhvr>
                                        <p:cTn id="29" dur="500" fill="hold"/>
                                        <p:tgtEl>
                                          <p:spTgt spid="23"/>
                                        </p:tgtEl>
                                        <p:attrNameLst>
                                          <p:attrName>ppt_x</p:attrName>
                                          <p:attrName>ppt_y</p:attrName>
                                        </p:attrNameLst>
                                      </p:cBhvr>
                                      <p:rCtr x="0" y="1736"/>
                                    </p:animMotion>
                                  </p:childTnLst>
                                </p:cTn>
                              </p:par>
                              <p:par>
                                <p:cTn id="30" presetID="10" presetClass="entr" presetSubtype="0" fill="hold" nodeType="with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250"/>
                                        <p:tgtEl>
                                          <p:spTgt spid="5"/>
                                        </p:tgtEl>
                                      </p:cBhvr>
                                    </p:animEffect>
                                  </p:childTnLst>
                                </p:cTn>
                              </p:par>
                              <p:par>
                                <p:cTn id="33" presetID="42" presetClass="path" presetSubtype="0" decel="100000" fill="hold" nodeType="withEffect">
                                  <p:stCondLst>
                                    <p:cond delay="0"/>
                                  </p:stCondLst>
                                  <p:childTnLst>
                                    <p:animMotion origin="layout" path="M 2.08333E-6 -0.03472 L 2.08333E-6 -2.96296E-6 " pathEditMode="relative" rAng="0" ptsTypes="AA">
                                      <p:cBhvr>
                                        <p:cTn id="34" dur="500" fill="hold"/>
                                        <p:tgtEl>
                                          <p:spTgt spid="5"/>
                                        </p:tgtEl>
                                        <p:attrNameLst>
                                          <p:attrName>ppt_x</p:attrName>
                                          <p:attrName>ppt_y</p:attrName>
                                        </p:attrNameLst>
                                      </p:cBhvr>
                                      <p:rCtr x="0" y="1736"/>
                                    </p:animMotion>
                                  </p:childTnLst>
                                </p:cTn>
                              </p:par>
                              <p:par>
                                <p:cTn id="35" presetID="10" presetClass="entr" presetSubtype="0" fill="hold" nodeType="withEffect">
                                  <p:stCondLst>
                                    <p:cond delay="0"/>
                                  </p:stCondLst>
                                  <p:childTnLst>
                                    <p:set>
                                      <p:cBhvr>
                                        <p:cTn id="36" dur="1" fill="hold">
                                          <p:stCondLst>
                                            <p:cond delay="0"/>
                                          </p:stCondLst>
                                        </p:cTn>
                                        <p:tgtEl>
                                          <p:spTgt spid="28"/>
                                        </p:tgtEl>
                                        <p:attrNameLst>
                                          <p:attrName>style.visibility</p:attrName>
                                        </p:attrNameLst>
                                      </p:cBhvr>
                                      <p:to>
                                        <p:strVal val="visible"/>
                                      </p:to>
                                    </p:set>
                                    <p:animEffect transition="in" filter="fade">
                                      <p:cBhvr>
                                        <p:cTn id="37" dur="250"/>
                                        <p:tgtEl>
                                          <p:spTgt spid="28"/>
                                        </p:tgtEl>
                                      </p:cBhvr>
                                    </p:animEffect>
                                  </p:childTnLst>
                                </p:cTn>
                              </p:par>
                              <p:par>
                                <p:cTn id="38" presetID="42" presetClass="path" presetSubtype="0" decel="100000" fill="hold" nodeType="withEffect">
                                  <p:stCondLst>
                                    <p:cond delay="0"/>
                                  </p:stCondLst>
                                  <p:childTnLst>
                                    <p:animMotion origin="layout" path="M -2.08333E-7 -0.03472 L -2.08333E-7 -2.96296E-6 " pathEditMode="relative" rAng="0" ptsTypes="AA">
                                      <p:cBhvr>
                                        <p:cTn id="39" dur="500" fill="hold"/>
                                        <p:tgtEl>
                                          <p:spTgt spid="28"/>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8719F3D-E310-8741-F9A3-3CE2A7FC091E}"/>
              </a:ext>
            </a:extLst>
          </p:cNvPr>
          <p:cNvSpPr>
            <a:spLocks noGrp="1"/>
          </p:cNvSpPr>
          <p:nvPr>
            <p:ph type="title"/>
          </p:nvPr>
        </p:nvSpPr>
        <p:spPr/>
        <p:txBody>
          <a:bodyPr>
            <a:noAutofit/>
          </a:bodyPr>
          <a:lstStyle/>
          <a:p>
            <a:r>
              <a:rPr lang="en-US" sz="3600" b="1">
                <a:solidFill>
                  <a:srgbClr val="002060"/>
                </a:solidFill>
                <a:latin typeface="Roboto Condensed"/>
                <a:ea typeface="Roboto Condensed"/>
                <a:cs typeface="Roboto Condensed"/>
              </a:rPr>
              <a:t>Jewson’s key strategic priorities</a:t>
            </a:r>
            <a:endParaRPr lang="en-GB" sz="3600" b="1">
              <a:solidFill>
                <a:srgbClr val="002060"/>
              </a:solidFill>
              <a:latin typeface="Roboto Condensed"/>
              <a:ea typeface="Roboto Condensed"/>
              <a:cs typeface="Roboto Condensed"/>
            </a:endParaRPr>
          </a:p>
        </p:txBody>
      </p:sp>
      <p:sp>
        <p:nvSpPr>
          <p:cNvPr id="43" name="Graphic 18">
            <a:extLst>
              <a:ext uri="{FF2B5EF4-FFF2-40B4-BE49-F238E27FC236}">
                <a16:creationId xmlns:a16="http://schemas.microsoft.com/office/drawing/2014/main" id="{340D4E43-32FF-AED1-B02B-5B252BC86C9E}"/>
              </a:ext>
            </a:extLst>
          </p:cNvPr>
          <p:cNvSpPr/>
          <p:nvPr/>
        </p:nvSpPr>
        <p:spPr>
          <a:xfrm>
            <a:off x="531509" y="1288557"/>
            <a:ext cx="2049080" cy="2366210"/>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a:blip r:embed="rId3" cstate="email">
              <a:extLst>
                <a:ext uri="{28A0092B-C50C-407E-A947-70E740481C1C}">
                  <a14:useLocalDpi xmlns:a14="http://schemas.microsoft.com/office/drawing/2010/main"/>
                </a:ext>
              </a:extLst>
            </a:blip>
            <a:stretch>
              <a:fillRect l="1358"/>
            </a:stretch>
          </a:blipFill>
          <a:ln w="38100" cap="flat">
            <a:solidFill>
              <a:schemeClr val="tx2"/>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7" name="Graphic 18">
            <a:extLst>
              <a:ext uri="{FF2B5EF4-FFF2-40B4-BE49-F238E27FC236}">
                <a16:creationId xmlns:a16="http://schemas.microsoft.com/office/drawing/2014/main" id="{90D946ED-1269-C767-F1B7-C805D0260DDB}"/>
              </a:ext>
            </a:extLst>
          </p:cNvPr>
          <p:cNvSpPr/>
          <p:nvPr/>
        </p:nvSpPr>
        <p:spPr>
          <a:xfrm>
            <a:off x="531509" y="3867803"/>
            <a:ext cx="2049080" cy="2366210"/>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a:blip r:embed="rId4" cstate="email">
              <a:extLst>
                <a:ext uri="{28A0092B-C50C-407E-A947-70E740481C1C}">
                  <a14:useLocalDpi xmlns:a14="http://schemas.microsoft.com/office/drawing/2010/main"/>
                </a:ext>
              </a:extLst>
            </a:blip>
            <a:stretch>
              <a:fillRect b="1252"/>
            </a:stretch>
          </a:blipFill>
          <a:ln w="38100" cap="flat">
            <a:solidFill>
              <a:schemeClr val="tx2"/>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34" name="Graphic 18">
            <a:extLst>
              <a:ext uri="{FF2B5EF4-FFF2-40B4-BE49-F238E27FC236}">
                <a16:creationId xmlns:a16="http://schemas.microsoft.com/office/drawing/2014/main" id="{1A863B36-5909-E1BA-C617-7A7B062D93EE}"/>
              </a:ext>
            </a:extLst>
          </p:cNvPr>
          <p:cNvSpPr/>
          <p:nvPr/>
        </p:nvSpPr>
        <p:spPr>
          <a:xfrm>
            <a:off x="531509" y="1288557"/>
            <a:ext cx="2049080" cy="2366210"/>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gradFill>
            <a:gsLst>
              <a:gs pos="0">
                <a:schemeClr val="tx1"/>
              </a:gs>
              <a:gs pos="54000">
                <a:schemeClr val="tx1">
                  <a:alpha val="0"/>
                </a:schemeClr>
              </a:gs>
              <a:gs pos="83000">
                <a:schemeClr val="accent1">
                  <a:lumMod val="45000"/>
                  <a:lumOff val="55000"/>
                  <a:alpha val="0"/>
                </a:schemeClr>
              </a:gs>
              <a:gs pos="100000">
                <a:schemeClr val="accent1">
                  <a:lumMod val="30000"/>
                  <a:lumOff val="70000"/>
                  <a:alpha val="0"/>
                </a:schemeClr>
              </a:gs>
            </a:gsLst>
            <a:lin ang="16200000" scaled="0"/>
          </a:gradFill>
          <a:ln w="38100"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50" name="Graphic 18">
            <a:extLst>
              <a:ext uri="{FF2B5EF4-FFF2-40B4-BE49-F238E27FC236}">
                <a16:creationId xmlns:a16="http://schemas.microsoft.com/office/drawing/2014/main" id="{8DAA219E-294B-9A18-1AE8-4148E34F7AB0}"/>
              </a:ext>
            </a:extLst>
          </p:cNvPr>
          <p:cNvSpPr/>
          <p:nvPr/>
        </p:nvSpPr>
        <p:spPr>
          <a:xfrm>
            <a:off x="531509" y="3867803"/>
            <a:ext cx="2049080" cy="2366210"/>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gradFill>
            <a:gsLst>
              <a:gs pos="0">
                <a:schemeClr val="tx1"/>
              </a:gs>
              <a:gs pos="54000">
                <a:schemeClr val="tx1">
                  <a:alpha val="0"/>
                </a:schemeClr>
              </a:gs>
              <a:gs pos="83000">
                <a:schemeClr val="accent1">
                  <a:lumMod val="45000"/>
                  <a:lumOff val="55000"/>
                  <a:alpha val="0"/>
                </a:schemeClr>
              </a:gs>
              <a:gs pos="100000">
                <a:schemeClr val="accent1">
                  <a:lumMod val="30000"/>
                  <a:lumOff val="70000"/>
                  <a:alpha val="0"/>
                </a:schemeClr>
              </a:gs>
            </a:gsLst>
            <a:lin ang="16200000" scaled="0"/>
          </a:gradFill>
          <a:ln w="38100"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18" name="TextBox 17">
            <a:extLst>
              <a:ext uri="{FF2B5EF4-FFF2-40B4-BE49-F238E27FC236}">
                <a16:creationId xmlns:a16="http://schemas.microsoft.com/office/drawing/2014/main" id="{C347935A-46D3-2E72-DBAC-5DDA42BD810E}"/>
              </a:ext>
            </a:extLst>
          </p:cNvPr>
          <p:cNvSpPr txBox="1"/>
          <p:nvPr/>
        </p:nvSpPr>
        <p:spPr>
          <a:xfrm>
            <a:off x="599832" y="2602416"/>
            <a:ext cx="1912433" cy="582895"/>
          </a:xfrm>
          <a:prstGeom prst="rect">
            <a:avLst/>
          </a:prstGeom>
          <a:noFill/>
          <a:effectLst/>
        </p:spPr>
        <p:txBody>
          <a:bodyPr wrap="square" lIns="0" tIns="0" rIns="0" bIns="0" rtlCol="0" anchor="b" anchorCtr="0">
            <a:noAutofit/>
          </a:bodyPr>
          <a:lstStyle>
            <a:defPPr>
              <a:defRPr lang="en-US"/>
            </a:defPPr>
            <a:lvl1pPr>
              <a:lnSpc>
                <a:spcPct val="80000"/>
              </a:lnSpc>
              <a:defRPr b="1">
                <a:solidFill>
                  <a:schemeClr val="bg1"/>
                </a:solidFill>
                <a:effectLst>
                  <a:glow rad="63500">
                    <a:schemeClr val="tx1">
                      <a:alpha val="40000"/>
                    </a:schemeClr>
                  </a:glow>
                </a:effectLst>
                <a:latin typeface="+mj-lt"/>
              </a:defRPr>
            </a:lvl1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glow rad="63500">
                    <a:srgbClr val="000000">
                      <a:alpha val="40000"/>
                    </a:srgbClr>
                  </a:glow>
                </a:effectLst>
                <a:uLnTx/>
                <a:uFillTx/>
                <a:latin typeface="Roboto Condensed"/>
                <a:ea typeface="+mn-ea"/>
                <a:cs typeface="+mn-cs"/>
              </a:rPr>
              <a:t>ORGANISATION SIMPLIFICATION</a:t>
            </a:r>
            <a:endParaRPr kumimoji="0" lang="cy-GB" sz="1800" b="1" i="0" u="none" strike="noStrike" kern="1200" cap="none" spc="0" normalizeH="0" baseline="0" noProof="0">
              <a:ln>
                <a:noFill/>
              </a:ln>
              <a:solidFill>
                <a:srgbClr val="FFFFFF"/>
              </a:solidFill>
              <a:effectLst>
                <a:glow rad="63500">
                  <a:srgbClr val="000000">
                    <a:alpha val="40000"/>
                  </a:srgbClr>
                </a:glow>
              </a:effectLst>
              <a:uLnTx/>
              <a:uFillTx/>
              <a:latin typeface="Roboto Condensed"/>
              <a:ea typeface="+mn-ea"/>
              <a:cs typeface="+mn-cs"/>
            </a:endParaRPr>
          </a:p>
        </p:txBody>
      </p:sp>
      <p:sp>
        <p:nvSpPr>
          <p:cNvPr id="29" name="TextBox 28">
            <a:extLst>
              <a:ext uri="{FF2B5EF4-FFF2-40B4-BE49-F238E27FC236}">
                <a16:creationId xmlns:a16="http://schemas.microsoft.com/office/drawing/2014/main" id="{340744A3-0C7F-55A6-19DB-A675260482D5}"/>
              </a:ext>
            </a:extLst>
          </p:cNvPr>
          <p:cNvSpPr txBox="1"/>
          <p:nvPr/>
        </p:nvSpPr>
        <p:spPr>
          <a:xfrm>
            <a:off x="1041087" y="5254344"/>
            <a:ext cx="1029924" cy="553998"/>
          </a:xfrm>
          <a:prstGeom prst="rect">
            <a:avLst/>
          </a:prstGeom>
          <a:noFill/>
          <a:effectLst/>
        </p:spPr>
        <p:txBody>
          <a:bodyPr wrap="square" lIns="0" tIns="0" rIns="0" bIns="0" rtlCol="0" anchor="b" anchorCtr="0">
            <a:noAutofit/>
          </a:bodyPr>
          <a:lstStyle>
            <a:defPPr>
              <a:defRPr lang="en-US"/>
            </a:defPPr>
            <a:lvl1pPr>
              <a:lnSpc>
                <a:spcPct val="80000"/>
              </a:lnSpc>
              <a:defRPr b="1">
                <a:solidFill>
                  <a:schemeClr val="bg1"/>
                </a:solidFill>
                <a:effectLst>
                  <a:glow rad="63500">
                    <a:schemeClr val="tx1">
                      <a:alpha val="40000"/>
                    </a:schemeClr>
                  </a:glow>
                </a:effectLst>
                <a:latin typeface="+mj-lt"/>
              </a:defRPr>
            </a:lvl1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glow rad="63500">
                    <a:srgbClr val="000000">
                      <a:alpha val="40000"/>
                    </a:srgbClr>
                  </a:glow>
                </a:effectLst>
                <a:uLnTx/>
                <a:uFillTx/>
                <a:latin typeface="Roboto Condensed"/>
                <a:ea typeface="+mn-ea"/>
                <a:cs typeface="+mn-cs"/>
              </a:rPr>
              <a:t>ALWAYS IN STOCK</a:t>
            </a:r>
            <a:endParaRPr kumimoji="0" lang="cy-GB" sz="1800" b="1" i="0" u="none" strike="noStrike" kern="1200" cap="none" spc="0" normalizeH="0" baseline="0" noProof="0">
              <a:ln>
                <a:noFill/>
              </a:ln>
              <a:solidFill>
                <a:srgbClr val="FFFFFF"/>
              </a:solidFill>
              <a:effectLst>
                <a:glow rad="63500">
                  <a:srgbClr val="000000">
                    <a:alpha val="40000"/>
                  </a:srgbClr>
                </a:glow>
              </a:effectLst>
              <a:uLnTx/>
              <a:uFillTx/>
              <a:latin typeface="Roboto Condensed"/>
              <a:ea typeface="+mn-ea"/>
              <a:cs typeface="+mn-cs"/>
            </a:endParaRPr>
          </a:p>
        </p:txBody>
      </p:sp>
      <p:sp>
        <p:nvSpPr>
          <p:cNvPr id="37" name="Graphic 18">
            <a:extLst>
              <a:ext uri="{FF2B5EF4-FFF2-40B4-BE49-F238E27FC236}">
                <a16:creationId xmlns:a16="http://schemas.microsoft.com/office/drawing/2014/main" id="{A8304D73-9A04-D6A7-9A67-2C73D7FBD208}"/>
              </a:ext>
            </a:extLst>
          </p:cNvPr>
          <p:cNvSpPr/>
          <p:nvPr/>
        </p:nvSpPr>
        <p:spPr>
          <a:xfrm>
            <a:off x="5071459" y="1288557"/>
            <a:ext cx="2049080" cy="2366210"/>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a:blip r:embed="rId5" cstate="email">
              <a:extLst>
                <a:ext uri="{28A0092B-C50C-407E-A947-70E740481C1C}">
                  <a14:useLocalDpi xmlns:a14="http://schemas.microsoft.com/office/drawing/2010/main"/>
                </a:ext>
              </a:extLst>
            </a:blip>
            <a:stretch>
              <a:fillRect b="795"/>
            </a:stretch>
          </a:blipFill>
          <a:ln w="38100" cap="flat">
            <a:solidFill>
              <a:schemeClr val="tx2"/>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38" name="Graphic 18">
            <a:extLst>
              <a:ext uri="{FF2B5EF4-FFF2-40B4-BE49-F238E27FC236}">
                <a16:creationId xmlns:a16="http://schemas.microsoft.com/office/drawing/2014/main" id="{B78D0D83-0B5B-C9FF-A913-50A28BBB4948}"/>
              </a:ext>
            </a:extLst>
          </p:cNvPr>
          <p:cNvSpPr/>
          <p:nvPr/>
        </p:nvSpPr>
        <p:spPr>
          <a:xfrm>
            <a:off x="5071459" y="3867803"/>
            <a:ext cx="2049080" cy="2366210"/>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a:blip r:embed="rId6" cstate="email">
              <a:extLst>
                <a:ext uri="{28A0092B-C50C-407E-A947-70E740481C1C}">
                  <a14:useLocalDpi xmlns:a14="http://schemas.microsoft.com/office/drawing/2010/main"/>
                </a:ext>
              </a:extLst>
            </a:blip>
            <a:stretch>
              <a:fillRect b="6530"/>
            </a:stretch>
          </a:blipFill>
          <a:ln w="38100" cap="flat">
            <a:solidFill>
              <a:schemeClr val="tx2"/>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39" name="Graphic 18">
            <a:extLst>
              <a:ext uri="{FF2B5EF4-FFF2-40B4-BE49-F238E27FC236}">
                <a16:creationId xmlns:a16="http://schemas.microsoft.com/office/drawing/2014/main" id="{D64957C9-7F57-C4B2-7A9A-68DD9D571086}"/>
              </a:ext>
            </a:extLst>
          </p:cNvPr>
          <p:cNvSpPr/>
          <p:nvPr/>
        </p:nvSpPr>
        <p:spPr>
          <a:xfrm>
            <a:off x="5071459" y="1288557"/>
            <a:ext cx="2049080" cy="2366210"/>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gradFill>
            <a:gsLst>
              <a:gs pos="0">
                <a:schemeClr val="tx1"/>
              </a:gs>
              <a:gs pos="54000">
                <a:schemeClr val="tx1">
                  <a:alpha val="0"/>
                </a:schemeClr>
              </a:gs>
              <a:gs pos="83000">
                <a:schemeClr val="accent1">
                  <a:lumMod val="45000"/>
                  <a:lumOff val="55000"/>
                  <a:alpha val="0"/>
                </a:schemeClr>
              </a:gs>
              <a:gs pos="100000">
                <a:schemeClr val="accent1">
                  <a:lumMod val="30000"/>
                  <a:lumOff val="70000"/>
                  <a:alpha val="0"/>
                </a:schemeClr>
              </a:gs>
            </a:gsLst>
            <a:lin ang="16200000" scaled="0"/>
          </a:gradFill>
          <a:ln w="38100"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52" name="Graphic 18">
            <a:extLst>
              <a:ext uri="{FF2B5EF4-FFF2-40B4-BE49-F238E27FC236}">
                <a16:creationId xmlns:a16="http://schemas.microsoft.com/office/drawing/2014/main" id="{2D2D9A00-A466-2C2A-D155-24A9237C5F52}"/>
              </a:ext>
            </a:extLst>
          </p:cNvPr>
          <p:cNvSpPr/>
          <p:nvPr/>
        </p:nvSpPr>
        <p:spPr>
          <a:xfrm>
            <a:off x="5071459" y="3867803"/>
            <a:ext cx="2049080" cy="2366210"/>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gradFill>
            <a:gsLst>
              <a:gs pos="0">
                <a:schemeClr val="tx1"/>
              </a:gs>
              <a:gs pos="54000">
                <a:schemeClr val="tx1">
                  <a:alpha val="0"/>
                </a:schemeClr>
              </a:gs>
              <a:gs pos="83000">
                <a:schemeClr val="accent1">
                  <a:lumMod val="45000"/>
                  <a:lumOff val="55000"/>
                  <a:alpha val="0"/>
                </a:schemeClr>
              </a:gs>
              <a:gs pos="100000">
                <a:schemeClr val="accent1">
                  <a:lumMod val="30000"/>
                  <a:lumOff val="70000"/>
                  <a:alpha val="0"/>
                </a:schemeClr>
              </a:gs>
            </a:gsLst>
            <a:lin ang="16200000" scaled="0"/>
          </a:gradFill>
          <a:ln w="38100"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9" name="TextBox 8">
            <a:extLst>
              <a:ext uri="{FF2B5EF4-FFF2-40B4-BE49-F238E27FC236}">
                <a16:creationId xmlns:a16="http://schemas.microsoft.com/office/drawing/2014/main" id="{AE8BC1AB-699D-EE64-FD4E-65DD1DA5DBF3}"/>
              </a:ext>
            </a:extLst>
          </p:cNvPr>
          <p:cNvSpPr txBox="1"/>
          <p:nvPr/>
        </p:nvSpPr>
        <p:spPr>
          <a:xfrm>
            <a:off x="5139782" y="2616864"/>
            <a:ext cx="1912433" cy="582895"/>
          </a:xfrm>
          <a:prstGeom prst="rect">
            <a:avLst/>
          </a:prstGeom>
          <a:noFill/>
          <a:effectLst/>
        </p:spPr>
        <p:txBody>
          <a:bodyPr wrap="square" lIns="0" tIns="0" rIns="0" bIns="0" rtlCol="0" anchor="b" anchorCtr="0">
            <a:noAutofit/>
          </a:bodyPr>
          <a:lstStyle>
            <a:defPPr>
              <a:defRPr lang="en-US"/>
            </a:defPPr>
            <a:lvl1pPr>
              <a:lnSpc>
                <a:spcPct val="80000"/>
              </a:lnSpc>
              <a:defRPr b="1">
                <a:solidFill>
                  <a:schemeClr val="bg1"/>
                </a:solidFill>
                <a:effectLst>
                  <a:glow rad="63500">
                    <a:schemeClr val="tx1">
                      <a:alpha val="40000"/>
                    </a:schemeClr>
                  </a:glow>
                </a:effectLst>
                <a:latin typeface="+mj-lt"/>
              </a:defRPr>
            </a:lvl1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glow rad="63500">
                    <a:srgbClr val="000000">
                      <a:alpha val="40000"/>
                    </a:srgbClr>
                  </a:glow>
                </a:effectLst>
                <a:uLnTx/>
                <a:uFillTx/>
                <a:latin typeface="Roboto Condensed"/>
                <a:ea typeface="+mn-ea"/>
                <a:cs typeface="+mn-cs"/>
              </a:rPr>
              <a:t>BETTER PRICING GUIDANCE</a:t>
            </a:r>
            <a:endParaRPr kumimoji="0" lang="cy-GB" sz="1800" b="1" i="0" u="none" strike="noStrike" kern="1200" cap="none" spc="0" normalizeH="0" baseline="0" noProof="0">
              <a:ln>
                <a:noFill/>
              </a:ln>
              <a:solidFill>
                <a:srgbClr val="FFFFFF"/>
              </a:solidFill>
              <a:effectLst>
                <a:glow rad="63500">
                  <a:srgbClr val="000000">
                    <a:alpha val="40000"/>
                  </a:srgbClr>
                </a:glow>
              </a:effectLst>
              <a:uLnTx/>
              <a:uFillTx/>
              <a:latin typeface="Roboto Condensed"/>
              <a:ea typeface="+mn-ea"/>
              <a:cs typeface="+mn-cs"/>
            </a:endParaRPr>
          </a:p>
        </p:txBody>
      </p:sp>
      <p:sp>
        <p:nvSpPr>
          <p:cNvPr id="8" name="TextBox 7">
            <a:extLst>
              <a:ext uri="{FF2B5EF4-FFF2-40B4-BE49-F238E27FC236}">
                <a16:creationId xmlns:a16="http://schemas.microsoft.com/office/drawing/2014/main" id="{A77E109E-F58F-F936-14AD-C61FB6715465}"/>
              </a:ext>
            </a:extLst>
          </p:cNvPr>
          <p:cNvSpPr txBox="1"/>
          <p:nvPr/>
        </p:nvSpPr>
        <p:spPr>
          <a:xfrm>
            <a:off x="5254574" y="5254344"/>
            <a:ext cx="1682848" cy="553998"/>
          </a:xfrm>
          <a:prstGeom prst="rect">
            <a:avLst/>
          </a:prstGeom>
          <a:noFill/>
          <a:effectLst/>
        </p:spPr>
        <p:txBody>
          <a:bodyPr wrap="square" lIns="0" tIns="0" rIns="0" bIns="0" rtlCol="0" anchor="b" anchorCtr="0">
            <a:noAutofit/>
          </a:bodyPr>
          <a:lstStyle>
            <a:defPPr>
              <a:defRPr lang="en-US"/>
            </a:defPPr>
            <a:lvl1pPr>
              <a:lnSpc>
                <a:spcPct val="80000"/>
              </a:lnSpc>
              <a:defRPr b="1">
                <a:solidFill>
                  <a:schemeClr val="bg1"/>
                </a:solidFill>
                <a:effectLst>
                  <a:glow rad="63500">
                    <a:schemeClr val="tx1">
                      <a:alpha val="40000"/>
                    </a:schemeClr>
                  </a:glow>
                </a:effectLst>
                <a:latin typeface="+mj-lt"/>
              </a:defRPr>
            </a:lvl1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glow rad="63500">
                    <a:srgbClr val="000000">
                      <a:alpha val="40000"/>
                    </a:srgbClr>
                  </a:glow>
                </a:effectLst>
                <a:uLnTx/>
                <a:uFillTx/>
                <a:latin typeface="Roboto Condensed"/>
                <a:ea typeface="+mn-ea"/>
                <a:cs typeface="+mn-cs"/>
              </a:rPr>
              <a:t>TRUSTED DELIVERIES</a:t>
            </a:r>
            <a:endParaRPr kumimoji="0" lang="cy-GB" sz="1800" b="1" i="0" u="none" strike="noStrike" kern="1200" cap="none" spc="0" normalizeH="0" baseline="0" noProof="0">
              <a:ln>
                <a:noFill/>
              </a:ln>
              <a:solidFill>
                <a:srgbClr val="FFFFFF"/>
              </a:solidFill>
              <a:effectLst>
                <a:glow rad="63500">
                  <a:srgbClr val="000000">
                    <a:alpha val="40000"/>
                  </a:srgbClr>
                </a:glow>
              </a:effectLst>
              <a:uLnTx/>
              <a:uFillTx/>
              <a:latin typeface="Roboto Condensed"/>
              <a:ea typeface="+mn-ea"/>
              <a:cs typeface="+mn-cs"/>
            </a:endParaRPr>
          </a:p>
        </p:txBody>
      </p:sp>
      <p:sp>
        <p:nvSpPr>
          <p:cNvPr id="42" name="Graphic 18">
            <a:extLst>
              <a:ext uri="{FF2B5EF4-FFF2-40B4-BE49-F238E27FC236}">
                <a16:creationId xmlns:a16="http://schemas.microsoft.com/office/drawing/2014/main" id="{991CB35A-BD79-8EBC-32F7-336835BF5663}"/>
              </a:ext>
            </a:extLst>
          </p:cNvPr>
          <p:cNvSpPr/>
          <p:nvPr/>
        </p:nvSpPr>
        <p:spPr>
          <a:xfrm>
            <a:off x="7341434" y="1288557"/>
            <a:ext cx="2049080" cy="2366210"/>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a:blip r:embed="rId7" cstate="email">
              <a:extLst>
                <a:ext uri="{28A0092B-C50C-407E-A947-70E740481C1C}">
                  <a14:useLocalDpi xmlns:a14="http://schemas.microsoft.com/office/drawing/2010/main"/>
                </a:ext>
              </a:extLst>
            </a:blip>
            <a:stretch>
              <a:fillRect t="17685"/>
            </a:stretch>
          </a:blipFill>
          <a:ln w="38100" cap="flat">
            <a:solidFill>
              <a:schemeClr val="tx2"/>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1" name="Graphic 18">
            <a:extLst>
              <a:ext uri="{FF2B5EF4-FFF2-40B4-BE49-F238E27FC236}">
                <a16:creationId xmlns:a16="http://schemas.microsoft.com/office/drawing/2014/main" id="{3750FACB-B8B0-2FD6-DB36-1F8FE86645C2}"/>
              </a:ext>
            </a:extLst>
          </p:cNvPr>
          <p:cNvSpPr/>
          <p:nvPr/>
        </p:nvSpPr>
        <p:spPr>
          <a:xfrm>
            <a:off x="7341434" y="3856267"/>
            <a:ext cx="2049080" cy="2366210"/>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a:blip r:embed="rId8" cstate="email">
              <a:extLst>
                <a:ext uri="{28A0092B-C50C-407E-A947-70E740481C1C}">
                  <a14:useLocalDpi xmlns:a14="http://schemas.microsoft.com/office/drawing/2010/main"/>
                </a:ext>
              </a:extLst>
            </a:blip>
            <a:stretch>
              <a:fillRect/>
            </a:stretch>
          </a:blipFill>
          <a:ln w="38100" cap="flat">
            <a:solidFill>
              <a:schemeClr val="tx2"/>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6" name="Graphic 18">
            <a:extLst>
              <a:ext uri="{FF2B5EF4-FFF2-40B4-BE49-F238E27FC236}">
                <a16:creationId xmlns:a16="http://schemas.microsoft.com/office/drawing/2014/main" id="{6BC656A3-468F-7CBF-0252-A7BA2CBE5B82}"/>
              </a:ext>
            </a:extLst>
          </p:cNvPr>
          <p:cNvSpPr/>
          <p:nvPr/>
        </p:nvSpPr>
        <p:spPr>
          <a:xfrm>
            <a:off x="7341434" y="1288557"/>
            <a:ext cx="2049080" cy="2366210"/>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gradFill>
            <a:gsLst>
              <a:gs pos="0">
                <a:schemeClr val="tx1"/>
              </a:gs>
              <a:gs pos="54000">
                <a:schemeClr val="tx1">
                  <a:alpha val="0"/>
                </a:schemeClr>
              </a:gs>
              <a:gs pos="83000">
                <a:schemeClr val="accent1">
                  <a:lumMod val="45000"/>
                  <a:lumOff val="55000"/>
                  <a:alpha val="0"/>
                </a:schemeClr>
              </a:gs>
              <a:gs pos="100000">
                <a:schemeClr val="accent1">
                  <a:lumMod val="30000"/>
                  <a:lumOff val="70000"/>
                  <a:alpha val="0"/>
                </a:schemeClr>
              </a:gs>
            </a:gsLst>
            <a:lin ang="16200000" scaled="0"/>
          </a:gradFill>
          <a:ln w="38100"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53" name="Graphic 18">
            <a:extLst>
              <a:ext uri="{FF2B5EF4-FFF2-40B4-BE49-F238E27FC236}">
                <a16:creationId xmlns:a16="http://schemas.microsoft.com/office/drawing/2014/main" id="{3B05F74F-51C8-2786-A4BA-6C0A3D8D566F}"/>
              </a:ext>
            </a:extLst>
          </p:cNvPr>
          <p:cNvSpPr/>
          <p:nvPr/>
        </p:nvSpPr>
        <p:spPr>
          <a:xfrm>
            <a:off x="7341434" y="3856267"/>
            <a:ext cx="2049080" cy="2366210"/>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gradFill>
            <a:gsLst>
              <a:gs pos="0">
                <a:schemeClr val="tx1"/>
              </a:gs>
              <a:gs pos="54000">
                <a:schemeClr val="tx1">
                  <a:alpha val="0"/>
                </a:schemeClr>
              </a:gs>
              <a:gs pos="83000">
                <a:schemeClr val="accent1">
                  <a:lumMod val="45000"/>
                  <a:lumOff val="55000"/>
                  <a:alpha val="0"/>
                </a:schemeClr>
              </a:gs>
              <a:gs pos="100000">
                <a:schemeClr val="accent1">
                  <a:lumMod val="30000"/>
                  <a:lumOff val="70000"/>
                  <a:alpha val="0"/>
                </a:schemeClr>
              </a:gs>
            </a:gsLst>
            <a:lin ang="16200000" scaled="0"/>
          </a:gradFill>
          <a:ln w="38100"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5" name="TextBox 4">
            <a:extLst>
              <a:ext uri="{FF2B5EF4-FFF2-40B4-BE49-F238E27FC236}">
                <a16:creationId xmlns:a16="http://schemas.microsoft.com/office/drawing/2014/main" id="{DBD0A794-E0D2-D26F-4014-C3F1D97E8FFB}"/>
              </a:ext>
            </a:extLst>
          </p:cNvPr>
          <p:cNvSpPr txBox="1"/>
          <p:nvPr/>
        </p:nvSpPr>
        <p:spPr>
          <a:xfrm>
            <a:off x="7409757" y="2602416"/>
            <a:ext cx="1912433" cy="582895"/>
          </a:xfrm>
          <a:prstGeom prst="rect">
            <a:avLst/>
          </a:prstGeom>
          <a:noFill/>
          <a:effectLst/>
        </p:spPr>
        <p:txBody>
          <a:bodyPr wrap="square" lIns="0" tIns="0" rIns="0" bIns="0" rtlCol="0" anchor="b" anchorCtr="0">
            <a:noAutofit/>
          </a:bodyPr>
          <a:lstStyle>
            <a:defPPr>
              <a:defRPr lang="en-US"/>
            </a:defPPr>
            <a:lvl1pPr>
              <a:lnSpc>
                <a:spcPct val="80000"/>
              </a:lnSpc>
              <a:defRPr b="1">
                <a:solidFill>
                  <a:schemeClr val="bg1"/>
                </a:solidFill>
                <a:effectLst>
                  <a:glow rad="63500">
                    <a:schemeClr val="tx1">
                      <a:alpha val="40000"/>
                    </a:schemeClr>
                  </a:glow>
                </a:effectLst>
                <a:latin typeface="+mj-lt"/>
              </a:defRPr>
            </a:lvl1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glow rad="63500">
                    <a:srgbClr val="000000">
                      <a:alpha val="40000"/>
                    </a:srgbClr>
                  </a:glow>
                </a:effectLst>
                <a:uLnTx/>
                <a:uFillTx/>
                <a:latin typeface="Roboto Condensed"/>
                <a:ea typeface="+mn-ea"/>
                <a:cs typeface="+mn-cs"/>
              </a:rPr>
              <a:t>STARK GROUP SOURCING POWER</a:t>
            </a:r>
            <a:endParaRPr kumimoji="0" lang="cy-GB" sz="1800" b="1" i="0" u="none" strike="noStrike" kern="1200" cap="none" spc="0" normalizeH="0" baseline="0" noProof="0">
              <a:ln>
                <a:noFill/>
              </a:ln>
              <a:solidFill>
                <a:srgbClr val="FFFFFF"/>
              </a:solidFill>
              <a:effectLst>
                <a:glow rad="63500">
                  <a:srgbClr val="000000">
                    <a:alpha val="40000"/>
                  </a:srgbClr>
                </a:glow>
              </a:effectLst>
              <a:uLnTx/>
              <a:uFillTx/>
              <a:latin typeface="Roboto Condensed"/>
              <a:ea typeface="+mn-ea"/>
              <a:cs typeface="+mn-cs"/>
            </a:endParaRPr>
          </a:p>
        </p:txBody>
      </p:sp>
      <p:sp>
        <p:nvSpPr>
          <p:cNvPr id="30" name="TextBox 29">
            <a:extLst>
              <a:ext uri="{FF2B5EF4-FFF2-40B4-BE49-F238E27FC236}">
                <a16:creationId xmlns:a16="http://schemas.microsoft.com/office/drawing/2014/main" id="{EDA280A8-0163-048A-68B3-D86630112425}"/>
              </a:ext>
            </a:extLst>
          </p:cNvPr>
          <p:cNvSpPr txBox="1"/>
          <p:nvPr/>
        </p:nvSpPr>
        <p:spPr>
          <a:xfrm>
            <a:off x="7592189" y="5254344"/>
            <a:ext cx="1547570" cy="553998"/>
          </a:xfrm>
          <a:prstGeom prst="rect">
            <a:avLst/>
          </a:prstGeom>
          <a:noFill/>
          <a:effectLst/>
        </p:spPr>
        <p:txBody>
          <a:bodyPr wrap="square" lIns="0" tIns="0" rIns="0" bIns="0" rtlCol="0" anchor="b" anchorCtr="0">
            <a:noAutofit/>
          </a:bodyPr>
          <a:lstStyle>
            <a:defPPr>
              <a:defRPr lang="en-US"/>
            </a:defPPr>
            <a:lvl1pPr>
              <a:lnSpc>
                <a:spcPct val="80000"/>
              </a:lnSpc>
              <a:defRPr b="1">
                <a:solidFill>
                  <a:schemeClr val="bg1"/>
                </a:solidFill>
                <a:effectLst>
                  <a:glow rad="63500">
                    <a:schemeClr val="tx1">
                      <a:alpha val="40000"/>
                    </a:schemeClr>
                  </a:glow>
                </a:effectLst>
                <a:latin typeface="+mj-lt"/>
              </a:defRPr>
            </a:lvl1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glow rad="63500">
                    <a:srgbClr val="000000">
                      <a:alpha val="40000"/>
                    </a:srgbClr>
                  </a:glow>
                </a:effectLst>
                <a:uLnTx/>
                <a:uFillTx/>
                <a:latin typeface="Roboto Condensed"/>
                <a:ea typeface="+mn-ea"/>
                <a:cs typeface="+mn-cs"/>
              </a:rPr>
              <a:t>BETTER BRANCHES</a:t>
            </a:r>
            <a:endParaRPr kumimoji="0" lang="cy-GB" sz="1800" b="1" i="0" u="none" strike="noStrike" kern="1200" cap="none" spc="0" normalizeH="0" baseline="0" noProof="0">
              <a:ln>
                <a:noFill/>
              </a:ln>
              <a:solidFill>
                <a:srgbClr val="FFFFFF"/>
              </a:solidFill>
              <a:effectLst>
                <a:glow rad="63500">
                  <a:srgbClr val="000000">
                    <a:alpha val="40000"/>
                  </a:srgbClr>
                </a:glow>
              </a:effectLst>
              <a:uLnTx/>
              <a:uFillTx/>
              <a:latin typeface="Roboto Condensed"/>
              <a:ea typeface="+mn-ea"/>
              <a:cs typeface="+mn-cs"/>
            </a:endParaRPr>
          </a:p>
        </p:txBody>
      </p:sp>
      <p:sp>
        <p:nvSpPr>
          <p:cNvPr id="45" name="Graphic 18">
            <a:extLst>
              <a:ext uri="{FF2B5EF4-FFF2-40B4-BE49-F238E27FC236}">
                <a16:creationId xmlns:a16="http://schemas.microsoft.com/office/drawing/2014/main" id="{C106CFED-7AF5-21B9-DD59-2C2BD985A123}"/>
              </a:ext>
            </a:extLst>
          </p:cNvPr>
          <p:cNvSpPr/>
          <p:nvPr/>
        </p:nvSpPr>
        <p:spPr>
          <a:xfrm>
            <a:off x="2801484" y="1288557"/>
            <a:ext cx="2049080" cy="2366210"/>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a:blip r:embed="rId9" cstate="email">
              <a:extLst>
                <a:ext uri="{28A0092B-C50C-407E-A947-70E740481C1C}">
                  <a14:useLocalDpi xmlns:a14="http://schemas.microsoft.com/office/drawing/2010/main"/>
                </a:ext>
              </a:extLst>
            </a:blip>
            <a:stretch>
              <a:fillRect b="635"/>
            </a:stretch>
          </a:blipFill>
          <a:ln w="38100" cap="flat">
            <a:solidFill>
              <a:schemeClr val="tx2"/>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24" name="Graphic 18">
            <a:extLst>
              <a:ext uri="{FF2B5EF4-FFF2-40B4-BE49-F238E27FC236}">
                <a16:creationId xmlns:a16="http://schemas.microsoft.com/office/drawing/2014/main" id="{97AE80A2-797A-BC3A-8E27-49DAF159C2AE}"/>
              </a:ext>
            </a:extLst>
          </p:cNvPr>
          <p:cNvSpPr/>
          <p:nvPr/>
        </p:nvSpPr>
        <p:spPr>
          <a:xfrm>
            <a:off x="2801484" y="3867803"/>
            <a:ext cx="2049080" cy="2366210"/>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a:blip r:embed="rId10" cstate="email">
              <a:extLst>
                <a:ext uri="{28A0092B-C50C-407E-A947-70E740481C1C}">
                  <a14:useLocalDpi xmlns:a14="http://schemas.microsoft.com/office/drawing/2010/main"/>
                </a:ext>
              </a:extLst>
            </a:blip>
            <a:stretch>
              <a:fillRect b="1252"/>
            </a:stretch>
          </a:blipFill>
          <a:ln w="38100" cap="flat">
            <a:solidFill>
              <a:schemeClr val="tx2"/>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36" name="Graphic 18">
            <a:extLst>
              <a:ext uri="{FF2B5EF4-FFF2-40B4-BE49-F238E27FC236}">
                <a16:creationId xmlns:a16="http://schemas.microsoft.com/office/drawing/2014/main" id="{BB708FBF-4284-4A89-4743-83DB85E703EC}"/>
              </a:ext>
            </a:extLst>
          </p:cNvPr>
          <p:cNvSpPr/>
          <p:nvPr/>
        </p:nvSpPr>
        <p:spPr>
          <a:xfrm>
            <a:off x="2801484" y="1288557"/>
            <a:ext cx="2049080" cy="2366210"/>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gradFill>
            <a:gsLst>
              <a:gs pos="0">
                <a:schemeClr val="tx1"/>
              </a:gs>
              <a:gs pos="54000">
                <a:schemeClr val="tx1">
                  <a:alpha val="0"/>
                </a:schemeClr>
              </a:gs>
              <a:gs pos="83000">
                <a:schemeClr val="accent1">
                  <a:lumMod val="45000"/>
                  <a:lumOff val="55000"/>
                  <a:alpha val="0"/>
                </a:schemeClr>
              </a:gs>
              <a:gs pos="100000">
                <a:schemeClr val="accent1">
                  <a:lumMod val="30000"/>
                  <a:lumOff val="70000"/>
                  <a:alpha val="0"/>
                </a:schemeClr>
              </a:gs>
            </a:gsLst>
            <a:lin ang="16200000" scaled="0"/>
          </a:gradFill>
          <a:ln w="38100"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51" name="Graphic 18">
            <a:extLst>
              <a:ext uri="{FF2B5EF4-FFF2-40B4-BE49-F238E27FC236}">
                <a16:creationId xmlns:a16="http://schemas.microsoft.com/office/drawing/2014/main" id="{8FF2EE2B-34A7-0E59-3BF9-CB0916E73BD7}"/>
              </a:ext>
            </a:extLst>
          </p:cNvPr>
          <p:cNvSpPr/>
          <p:nvPr/>
        </p:nvSpPr>
        <p:spPr>
          <a:xfrm>
            <a:off x="2801484" y="3867803"/>
            <a:ext cx="2049080" cy="2366210"/>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gradFill>
            <a:gsLst>
              <a:gs pos="0">
                <a:schemeClr val="tx1"/>
              </a:gs>
              <a:gs pos="54000">
                <a:schemeClr val="tx1">
                  <a:alpha val="0"/>
                </a:schemeClr>
              </a:gs>
              <a:gs pos="83000">
                <a:schemeClr val="accent1">
                  <a:lumMod val="45000"/>
                  <a:lumOff val="55000"/>
                  <a:alpha val="0"/>
                </a:schemeClr>
              </a:gs>
              <a:gs pos="100000">
                <a:schemeClr val="accent1">
                  <a:lumMod val="30000"/>
                  <a:lumOff val="70000"/>
                  <a:alpha val="0"/>
                </a:schemeClr>
              </a:gs>
            </a:gsLst>
            <a:lin ang="16200000" scaled="0"/>
          </a:gradFill>
          <a:ln w="38100"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35" name="TextBox 34">
            <a:extLst>
              <a:ext uri="{FF2B5EF4-FFF2-40B4-BE49-F238E27FC236}">
                <a16:creationId xmlns:a16="http://schemas.microsoft.com/office/drawing/2014/main" id="{109A6874-4960-D623-BF99-FC5983C42AB9}"/>
              </a:ext>
            </a:extLst>
          </p:cNvPr>
          <p:cNvSpPr txBox="1"/>
          <p:nvPr/>
        </p:nvSpPr>
        <p:spPr>
          <a:xfrm>
            <a:off x="3029249" y="2602416"/>
            <a:ext cx="1593552" cy="582895"/>
          </a:xfrm>
          <a:prstGeom prst="rect">
            <a:avLst/>
          </a:prstGeom>
          <a:noFill/>
          <a:effectLst/>
        </p:spPr>
        <p:txBody>
          <a:bodyPr wrap="square" lIns="0" tIns="0" rIns="0" bIns="0" rtlCol="0" anchor="b" anchorCtr="0">
            <a:noAutofit/>
          </a:bodyPr>
          <a:lstStyle>
            <a:defPPr>
              <a:defRPr lang="en-US"/>
            </a:defPPr>
            <a:lvl1pPr>
              <a:lnSpc>
                <a:spcPct val="80000"/>
              </a:lnSpc>
              <a:defRPr b="1">
                <a:solidFill>
                  <a:schemeClr val="bg1"/>
                </a:solidFill>
                <a:effectLst>
                  <a:glow rad="63500">
                    <a:schemeClr val="tx1">
                      <a:alpha val="40000"/>
                    </a:schemeClr>
                  </a:glow>
                </a:effectLst>
                <a:latin typeface="+mj-lt"/>
              </a:defRPr>
            </a:lvl1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glow rad="63500">
                    <a:srgbClr val="000000">
                      <a:alpha val="40000"/>
                    </a:srgbClr>
                  </a:glow>
                </a:effectLst>
                <a:uLnTx/>
                <a:uFillTx/>
                <a:latin typeface="Roboto Condensed"/>
                <a:ea typeface="+mn-ea"/>
                <a:cs typeface="+mn-cs"/>
              </a:rPr>
              <a:t>BRANCH TEAMS @ HEART</a:t>
            </a:r>
            <a:endParaRPr kumimoji="0" lang="cy-GB" sz="1800" b="1" i="0" u="none" strike="noStrike" kern="1200" cap="none" spc="0" normalizeH="0" baseline="0" noProof="0">
              <a:ln>
                <a:noFill/>
              </a:ln>
              <a:solidFill>
                <a:srgbClr val="FFFFFF"/>
              </a:solidFill>
              <a:effectLst>
                <a:glow rad="63500">
                  <a:srgbClr val="000000">
                    <a:alpha val="40000"/>
                  </a:srgbClr>
                </a:glow>
              </a:effectLst>
              <a:uLnTx/>
              <a:uFillTx/>
              <a:latin typeface="Roboto Condensed"/>
              <a:ea typeface="+mn-ea"/>
              <a:cs typeface="+mn-cs"/>
            </a:endParaRPr>
          </a:p>
        </p:txBody>
      </p:sp>
      <p:sp>
        <p:nvSpPr>
          <p:cNvPr id="40" name="TextBox 39">
            <a:extLst>
              <a:ext uri="{FF2B5EF4-FFF2-40B4-BE49-F238E27FC236}">
                <a16:creationId xmlns:a16="http://schemas.microsoft.com/office/drawing/2014/main" id="{8B758BA0-FE93-3BF4-C200-AB4A6DD2D6A5}"/>
              </a:ext>
            </a:extLst>
          </p:cNvPr>
          <p:cNvSpPr txBox="1"/>
          <p:nvPr/>
        </p:nvSpPr>
        <p:spPr>
          <a:xfrm>
            <a:off x="2966533" y="5254344"/>
            <a:ext cx="1718981" cy="553998"/>
          </a:xfrm>
          <a:prstGeom prst="rect">
            <a:avLst/>
          </a:prstGeom>
          <a:noFill/>
          <a:effectLst/>
        </p:spPr>
        <p:txBody>
          <a:bodyPr wrap="square" lIns="0" tIns="0" rIns="0" bIns="0" rtlCol="0" anchor="b" anchorCtr="0">
            <a:noAutofit/>
          </a:bodyPr>
          <a:lstStyle>
            <a:defPPr>
              <a:defRPr lang="en-US"/>
            </a:defPPr>
            <a:lvl1pPr>
              <a:lnSpc>
                <a:spcPct val="80000"/>
              </a:lnSpc>
              <a:defRPr b="1">
                <a:solidFill>
                  <a:schemeClr val="bg1"/>
                </a:solidFill>
                <a:effectLst>
                  <a:glow rad="63500">
                    <a:schemeClr val="tx1">
                      <a:alpha val="40000"/>
                    </a:schemeClr>
                  </a:glow>
                </a:effectLst>
                <a:latin typeface="+mj-lt"/>
              </a:defRPr>
            </a:lvl1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glow rad="63500">
                    <a:srgbClr val="000000">
                      <a:alpha val="40000"/>
                    </a:srgbClr>
                  </a:glow>
                </a:effectLst>
                <a:uLnTx/>
                <a:uFillTx/>
                <a:latin typeface="Roboto Condensed"/>
                <a:ea typeface="+mn-ea"/>
                <a:cs typeface="+mn-cs"/>
              </a:rPr>
              <a:t>TOOL HIRE GROWTH</a:t>
            </a:r>
            <a:endParaRPr kumimoji="0" lang="cy-GB" sz="1800" b="1" i="0" u="none" strike="noStrike" kern="1200" cap="none" spc="0" normalizeH="0" baseline="0" noProof="0">
              <a:ln>
                <a:noFill/>
              </a:ln>
              <a:solidFill>
                <a:srgbClr val="FFFFFF"/>
              </a:solidFill>
              <a:effectLst>
                <a:glow rad="63500">
                  <a:srgbClr val="000000">
                    <a:alpha val="40000"/>
                  </a:srgbClr>
                </a:glow>
              </a:effectLst>
              <a:uLnTx/>
              <a:uFillTx/>
              <a:latin typeface="Roboto Condensed"/>
              <a:ea typeface="+mn-ea"/>
              <a:cs typeface="+mn-cs"/>
            </a:endParaRPr>
          </a:p>
        </p:txBody>
      </p:sp>
      <p:sp>
        <p:nvSpPr>
          <p:cNvPr id="44" name="Graphic 18">
            <a:extLst>
              <a:ext uri="{FF2B5EF4-FFF2-40B4-BE49-F238E27FC236}">
                <a16:creationId xmlns:a16="http://schemas.microsoft.com/office/drawing/2014/main" id="{C88BB1B4-4372-A08F-5602-D0BEB23DF31B}"/>
              </a:ext>
            </a:extLst>
          </p:cNvPr>
          <p:cNvSpPr/>
          <p:nvPr/>
        </p:nvSpPr>
        <p:spPr>
          <a:xfrm>
            <a:off x="9611409" y="1288557"/>
            <a:ext cx="2049080" cy="2366210"/>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a:blip r:embed="rId11" cstate="email">
              <a:extLst>
                <a:ext uri="{28A0092B-C50C-407E-A947-70E740481C1C}">
                  <a14:useLocalDpi xmlns:a14="http://schemas.microsoft.com/office/drawing/2010/main"/>
                </a:ext>
              </a:extLst>
            </a:blip>
            <a:stretch>
              <a:fillRect r="1"/>
            </a:stretch>
          </a:blipFill>
          <a:ln w="38100" cap="flat">
            <a:solidFill>
              <a:schemeClr val="tx2"/>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9" name="Graphic 18">
            <a:extLst>
              <a:ext uri="{FF2B5EF4-FFF2-40B4-BE49-F238E27FC236}">
                <a16:creationId xmlns:a16="http://schemas.microsoft.com/office/drawing/2014/main" id="{0885D6A5-3A32-96D9-A5D0-72CE69917354}"/>
              </a:ext>
            </a:extLst>
          </p:cNvPr>
          <p:cNvSpPr/>
          <p:nvPr/>
        </p:nvSpPr>
        <p:spPr>
          <a:xfrm>
            <a:off x="9611409" y="3856267"/>
            <a:ext cx="2049080" cy="2366210"/>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a:blip r:embed="rId12" cstate="email">
              <a:extLst>
                <a:ext uri="{28A0092B-C50C-407E-A947-70E740481C1C}">
                  <a14:useLocalDpi xmlns:a14="http://schemas.microsoft.com/office/drawing/2010/main"/>
                </a:ext>
              </a:extLst>
            </a:blip>
            <a:stretch>
              <a:fillRect/>
            </a:stretch>
          </a:blipFill>
          <a:ln w="38100" cap="flat">
            <a:solidFill>
              <a:schemeClr val="tx2"/>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8" name="Graphic 18">
            <a:extLst>
              <a:ext uri="{FF2B5EF4-FFF2-40B4-BE49-F238E27FC236}">
                <a16:creationId xmlns:a16="http://schemas.microsoft.com/office/drawing/2014/main" id="{CAA210B9-04D6-5AA6-12E7-2D1CE20C2C1D}"/>
              </a:ext>
            </a:extLst>
          </p:cNvPr>
          <p:cNvSpPr/>
          <p:nvPr/>
        </p:nvSpPr>
        <p:spPr>
          <a:xfrm>
            <a:off x="9611409" y="1288557"/>
            <a:ext cx="2049080" cy="2366210"/>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gradFill>
            <a:gsLst>
              <a:gs pos="0">
                <a:schemeClr val="tx1"/>
              </a:gs>
              <a:gs pos="54000">
                <a:schemeClr val="tx1">
                  <a:alpha val="0"/>
                </a:schemeClr>
              </a:gs>
              <a:gs pos="83000">
                <a:schemeClr val="accent1">
                  <a:lumMod val="45000"/>
                  <a:lumOff val="55000"/>
                  <a:alpha val="0"/>
                </a:schemeClr>
              </a:gs>
              <a:gs pos="100000">
                <a:schemeClr val="accent1">
                  <a:lumMod val="30000"/>
                  <a:lumOff val="70000"/>
                  <a:alpha val="0"/>
                </a:schemeClr>
              </a:gs>
            </a:gsLst>
            <a:lin ang="16200000" scaled="0"/>
          </a:gradFill>
          <a:ln w="38100"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54" name="Graphic 18">
            <a:extLst>
              <a:ext uri="{FF2B5EF4-FFF2-40B4-BE49-F238E27FC236}">
                <a16:creationId xmlns:a16="http://schemas.microsoft.com/office/drawing/2014/main" id="{5CFABB68-39FB-6305-2B68-88738DE554C2}"/>
              </a:ext>
            </a:extLst>
          </p:cNvPr>
          <p:cNvSpPr/>
          <p:nvPr/>
        </p:nvSpPr>
        <p:spPr>
          <a:xfrm>
            <a:off x="9611409" y="3856267"/>
            <a:ext cx="2049080" cy="2366210"/>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gradFill>
            <a:gsLst>
              <a:gs pos="0">
                <a:schemeClr val="tx1"/>
              </a:gs>
              <a:gs pos="54000">
                <a:schemeClr val="tx1">
                  <a:alpha val="0"/>
                </a:schemeClr>
              </a:gs>
              <a:gs pos="83000">
                <a:schemeClr val="accent1">
                  <a:lumMod val="45000"/>
                  <a:lumOff val="55000"/>
                  <a:alpha val="0"/>
                </a:schemeClr>
              </a:gs>
              <a:gs pos="100000">
                <a:schemeClr val="accent1">
                  <a:lumMod val="30000"/>
                  <a:lumOff val="70000"/>
                  <a:alpha val="0"/>
                </a:schemeClr>
              </a:gs>
            </a:gsLst>
            <a:lin ang="16200000" scaled="0"/>
          </a:gradFill>
          <a:ln w="38100"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33" name="TextBox 32">
            <a:extLst>
              <a:ext uri="{FF2B5EF4-FFF2-40B4-BE49-F238E27FC236}">
                <a16:creationId xmlns:a16="http://schemas.microsoft.com/office/drawing/2014/main" id="{612C44CD-D0A1-D541-60A4-9F4DFB6725B4}"/>
              </a:ext>
            </a:extLst>
          </p:cNvPr>
          <p:cNvSpPr txBox="1"/>
          <p:nvPr/>
        </p:nvSpPr>
        <p:spPr>
          <a:xfrm>
            <a:off x="9679732" y="2602416"/>
            <a:ext cx="1912433" cy="582895"/>
          </a:xfrm>
          <a:prstGeom prst="rect">
            <a:avLst/>
          </a:prstGeom>
          <a:noFill/>
          <a:effectLst/>
        </p:spPr>
        <p:txBody>
          <a:bodyPr wrap="square" lIns="0" tIns="0" rIns="0" bIns="0" rtlCol="0" anchor="b" anchorCtr="0">
            <a:noAutofit/>
          </a:bodyPr>
          <a:lstStyle>
            <a:defPPr>
              <a:defRPr lang="en-US"/>
            </a:defPPr>
            <a:lvl1pPr>
              <a:lnSpc>
                <a:spcPct val="80000"/>
              </a:lnSpc>
              <a:defRPr b="1">
                <a:solidFill>
                  <a:schemeClr val="bg1"/>
                </a:solidFill>
                <a:effectLst>
                  <a:glow rad="63500">
                    <a:schemeClr val="tx1">
                      <a:alpha val="40000"/>
                    </a:schemeClr>
                  </a:glow>
                </a:effectLst>
                <a:latin typeface="+mj-lt"/>
              </a:defRPr>
            </a:lvl1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glow rad="63500">
                    <a:srgbClr val="000000">
                      <a:alpha val="40000"/>
                    </a:srgbClr>
                  </a:glow>
                </a:effectLst>
                <a:uLnTx/>
                <a:uFillTx/>
                <a:latin typeface="Roboto Condensed"/>
                <a:ea typeface="+mn-ea"/>
                <a:cs typeface="+mn-cs"/>
              </a:rPr>
              <a:t>COMPLETE RANGE FOR THE JOB</a:t>
            </a:r>
            <a:endParaRPr kumimoji="0" lang="cy-GB" sz="1800" b="1" i="0" u="none" strike="noStrike" kern="1200" cap="none" spc="0" normalizeH="0" baseline="0" noProof="0">
              <a:ln>
                <a:noFill/>
              </a:ln>
              <a:solidFill>
                <a:srgbClr val="FFFFFF"/>
              </a:solidFill>
              <a:effectLst>
                <a:glow rad="63500">
                  <a:srgbClr val="000000">
                    <a:alpha val="40000"/>
                  </a:srgbClr>
                </a:glow>
              </a:effectLst>
              <a:uLnTx/>
              <a:uFillTx/>
              <a:latin typeface="Roboto Condensed"/>
              <a:ea typeface="+mn-ea"/>
              <a:cs typeface="+mn-cs"/>
            </a:endParaRPr>
          </a:p>
        </p:txBody>
      </p:sp>
      <p:sp>
        <p:nvSpPr>
          <p:cNvPr id="13" name="TextBox 12">
            <a:extLst>
              <a:ext uri="{FF2B5EF4-FFF2-40B4-BE49-F238E27FC236}">
                <a16:creationId xmlns:a16="http://schemas.microsoft.com/office/drawing/2014/main" id="{4CA26851-B2EA-B40C-5D78-840C023CEA06}"/>
              </a:ext>
            </a:extLst>
          </p:cNvPr>
          <p:cNvSpPr txBox="1"/>
          <p:nvPr/>
        </p:nvSpPr>
        <p:spPr>
          <a:xfrm>
            <a:off x="9893813" y="5254344"/>
            <a:ext cx="1484270" cy="553998"/>
          </a:xfrm>
          <a:prstGeom prst="rect">
            <a:avLst/>
          </a:prstGeom>
          <a:noFill/>
          <a:effectLst/>
        </p:spPr>
        <p:txBody>
          <a:bodyPr wrap="square" lIns="0" tIns="0" rIns="0" bIns="0" rtlCol="0" anchor="b" anchorCtr="0">
            <a:noAutofit/>
          </a:bodyPr>
          <a:lstStyle>
            <a:defPPr>
              <a:defRPr lang="en-US"/>
            </a:defPPr>
            <a:lvl1pPr>
              <a:lnSpc>
                <a:spcPct val="80000"/>
              </a:lnSpc>
              <a:defRPr b="1">
                <a:solidFill>
                  <a:schemeClr val="bg1"/>
                </a:solidFill>
                <a:effectLst>
                  <a:glow rad="63500">
                    <a:schemeClr val="tx1">
                      <a:alpha val="40000"/>
                    </a:schemeClr>
                  </a:glow>
                </a:effectLst>
                <a:latin typeface="+mj-lt"/>
              </a:defRPr>
            </a:lvl1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glow rad="63500">
                    <a:srgbClr val="000000">
                      <a:alpha val="40000"/>
                    </a:srgbClr>
                  </a:glow>
                </a:effectLst>
                <a:uLnTx/>
                <a:uFillTx/>
                <a:latin typeface="Roboto Condensed"/>
                <a:ea typeface="+mn-ea"/>
                <a:cs typeface="+mn-cs"/>
              </a:rPr>
              <a:t>BRANCH OF THE FUTURE</a:t>
            </a:r>
            <a:endParaRPr kumimoji="0" lang="cy-GB" sz="1800" b="1" i="0" u="none" strike="noStrike" kern="1200" cap="none" spc="0" normalizeH="0" baseline="0" noProof="0">
              <a:ln>
                <a:noFill/>
              </a:ln>
              <a:solidFill>
                <a:srgbClr val="FFFFFF"/>
              </a:solidFill>
              <a:effectLst>
                <a:glow rad="63500">
                  <a:srgbClr val="000000">
                    <a:alpha val="40000"/>
                  </a:srgbClr>
                </a:glow>
              </a:effectLst>
              <a:uLnTx/>
              <a:uFillTx/>
              <a:latin typeface="Roboto Condensed"/>
              <a:ea typeface="+mn-ea"/>
              <a:cs typeface="+mn-cs"/>
            </a:endParaRPr>
          </a:p>
        </p:txBody>
      </p:sp>
    </p:spTree>
    <p:extLst>
      <p:ext uri="{BB962C8B-B14F-4D97-AF65-F5344CB8AC3E}">
        <p14:creationId xmlns:p14="http://schemas.microsoft.com/office/powerpoint/2010/main" val="2715511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02D1F26A-B012-9A07-C213-72ACFF2FE5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8" name="think-cell data - do not delete" hidden="1">
                        <a:extLst>
                          <a:ext uri="{FF2B5EF4-FFF2-40B4-BE49-F238E27FC236}">
                            <a16:creationId xmlns:a16="http://schemas.microsoft.com/office/drawing/2014/main" id="{02D1F26A-B012-9A07-C213-72ACFF2FE5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3" name="Title 8">
            <a:extLst>
              <a:ext uri="{FF2B5EF4-FFF2-40B4-BE49-F238E27FC236}">
                <a16:creationId xmlns:a16="http://schemas.microsoft.com/office/drawing/2014/main" id="{0174D30B-20D6-BAD7-2D82-75099C24576E}"/>
              </a:ext>
            </a:extLst>
          </p:cNvPr>
          <p:cNvSpPr>
            <a:spLocks noGrp="1"/>
          </p:cNvSpPr>
          <p:nvPr>
            <p:ph type="title"/>
          </p:nvPr>
        </p:nvSpPr>
        <p:spPr/>
        <p:txBody>
          <a:bodyPr>
            <a:normAutofit fontScale="90000"/>
          </a:bodyPr>
          <a:lstStyle/>
          <a:p>
            <a:r>
              <a:rPr lang="cy-GB" sz="3600" b="1" err="1">
                <a:solidFill>
                  <a:srgbClr val="002060"/>
                </a:solidFill>
                <a:latin typeface="Roboto Condensed"/>
                <a:ea typeface="Roboto Condensed"/>
                <a:cs typeface="Roboto Condensed"/>
              </a:rPr>
              <a:t>Our</a:t>
            </a:r>
            <a:r>
              <a:rPr lang="cy-GB" sz="3600" b="1">
                <a:solidFill>
                  <a:srgbClr val="002060"/>
                </a:solidFill>
                <a:latin typeface="Roboto Condensed"/>
                <a:ea typeface="Roboto Condensed"/>
                <a:cs typeface="Roboto Condensed"/>
              </a:rPr>
              <a:t> </a:t>
            </a:r>
            <a:r>
              <a:rPr lang="cy-GB" sz="3600" b="1" err="1">
                <a:solidFill>
                  <a:srgbClr val="002060"/>
                </a:solidFill>
                <a:latin typeface="Roboto Condensed"/>
                <a:ea typeface="Roboto Condensed"/>
                <a:cs typeface="Roboto Condensed"/>
              </a:rPr>
              <a:t>progress</a:t>
            </a:r>
            <a:r>
              <a:rPr lang="cy-GB" sz="3600" b="1">
                <a:solidFill>
                  <a:srgbClr val="002060"/>
                </a:solidFill>
                <a:latin typeface="Roboto Condensed"/>
                <a:ea typeface="Roboto Condensed"/>
                <a:cs typeface="Roboto Condensed"/>
              </a:rPr>
              <a:t> – </a:t>
            </a:r>
            <a:r>
              <a:rPr lang="cy-GB" sz="3600" b="1" err="1">
                <a:solidFill>
                  <a:schemeClr val="accent2"/>
                </a:solidFill>
                <a:latin typeface="Roboto Condensed"/>
                <a:ea typeface="Roboto Condensed"/>
                <a:cs typeface="Roboto Condensed"/>
              </a:rPr>
              <a:t>Autumn</a:t>
            </a:r>
            <a:r>
              <a:rPr lang="cy-GB" sz="3600" b="1">
                <a:solidFill>
                  <a:schemeClr val="accent2"/>
                </a:solidFill>
                <a:latin typeface="Roboto Condensed"/>
                <a:ea typeface="Roboto Condensed"/>
                <a:cs typeface="Roboto Condensed"/>
              </a:rPr>
              <a:t> 2023								</a:t>
            </a:r>
            <a:endParaRPr lang="en-GB" sz="3600" b="1">
              <a:solidFill>
                <a:schemeClr val="accent2"/>
              </a:solidFill>
              <a:latin typeface="Roboto Condensed"/>
              <a:ea typeface="Roboto Condensed"/>
              <a:cs typeface="Roboto Condensed"/>
            </a:endParaRPr>
          </a:p>
        </p:txBody>
      </p:sp>
      <p:sp>
        <p:nvSpPr>
          <p:cNvPr id="18" name="Rectangle 17">
            <a:extLst>
              <a:ext uri="{FF2B5EF4-FFF2-40B4-BE49-F238E27FC236}">
                <a16:creationId xmlns:a16="http://schemas.microsoft.com/office/drawing/2014/main" id="{744A9550-C36E-264A-ADC3-A2A0E434330B}"/>
              </a:ext>
            </a:extLst>
          </p:cNvPr>
          <p:cNvSpPr/>
          <p:nvPr/>
        </p:nvSpPr>
        <p:spPr>
          <a:xfrm>
            <a:off x="402296" y="2046859"/>
            <a:ext cx="1901696" cy="9676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Roboto"/>
                <a:ea typeface="+mn-ea"/>
                <a:cs typeface="+mn-cs"/>
              </a:rPr>
              <a:t>Sep 2023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Roboto"/>
                <a:ea typeface="+mn-ea"/>
                <a:cs typeface="+mn-cs"/>
              </a:rPr>
              <a:t>Locally-based pricing guidance rolled out for KVIs</a:t>
            </a:r>
          </a:p>
        </p:txBody>
      </p:sp>
      <p:sp>
        <p:nvSpPr>
          <p:cNvPr id="21" name="Rectangle 20">
            <a:extLst>
              <a:ext uri="{FF2B5EF4-FFF2-40B4-BE49-F238E27FC236}">
                <a16:creationId xmlns:a16="http://schemas.microsoft.com/office/drawing/2014/main" id="{B73C4DBE-3B09-24B5-33C9-F57912268D4A}"/>
              </a:ext>
            </a:extLst>
          </p:cNvPr>
          <p:cNvSpPr/>
          <p:nvPr/>
        </p:nvSpPr>
        <p:spPr>
          <a:xfrm>
            <a:off x="3889915" y="2060144"/>
            <a:ext cx="1367811" cy="9676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Roboto"/>
                <a:ea typeface="+mn-ea"/>
                <a:cs typeface="+mn-cs"/>
              </a:rPr>
              <a:t>October 2023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Roboto"/>
                <a:ea typeface="+mn-ea"/>
                <a:cs typeface="+mn-cs"/>
              </a:rPr>
              <a:t>Loss &amp; damage waiver launch</a:t>
            </a:r>
          </a:p>
        </p:txBody>
      </p:sp>
      <p:sp>
        <p:nvSpPr>
          <p:cNvPr id="33" name="Rectangle 32">
            <a:extLst>
              <a:ext uri="{FF2B5EF4-FFF2-40B4-BE49-F238E27FC236}">
                <a16:creationId xmlns:a16="http://schemas.microsoft.com/office/drawing/2014/main" id="{C1D773DB-E207-6025-BF42-413398DB3466}"/>
              </a:ext>
            </a:extLst>
          </p:cNvPr>
          <p:cNvSpPr/>
          <p:nvPr/>
        </p:nvSpPr>
        <p:spPr>
          <a:xfrm>
            <a:off x="1988725" y="4473427"/>
            <a:ext cx="1874513" cy="9676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Roboto"/>
                <a:ea typeface="+mn-ea"/>
                <a:cs typeface="+mn-cs"/>
              </a:rPr>
              <a:t>Sep 2023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Roboto"/>
                <a:ea typeface="+mn-ea"/>
                <a:cs typeface="+mn-cs"/>
              </a:rPr>
              <a:t>Distribution Centre service restructuring scoping</a:t>
            </a:r>
          </a:p>
        </p:txBody>
      </p:sp>
      <p:sp>
        <p:nvSpPr>
          <p:cNvPr id="61" name="Rectangle 60">
            <a:extLst>
              <a:ext uri="{FF2B5EF4-FFF2-40B4-BE49-F238E27FC236}">
                <a16:creationId xmlns:a16="http://schemas.microsoft.com/office/drawing/2014/main" id="{459D214D-DE4C-6F0D-98C4-2248461BE5BB}"/>
              </a:ext>
            </a:extLst>
          </p:cNvPr>
          <p:cNvSpPr/>
          <p:nvPr/>
        </p:nvSpPr>
        <p:spPr>
          <a:xfrm>
            <a:off x="0" y="3072564"/>
            <a:ext cx="12190511" cy="413786"/>
          </a:xfrm>
          <a:prstGeom prst="rect">
            <a:avLst/>
          </a:prstGeom>
          <a:solidFill>
            <a:schemeClr val="bg1">
              <a:lumMod val="85000"/>
            </a:schemeClr>
          </a:solidFill>
        </p:spPr>
        <p:txBody>
          <a:bodyPr wrap="squar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prstClr val="black"/>
              </a:solidFill>
              <a:effectLst/>
              <a:uLnTx/>
              <a:uFillTx/>
              <a:latin typeface="Roboto"/>
              <a:ea typeface="+mn-ea"/>
              <a:cs typeface="+mn-cs"/>
            </a:endParaRPr>
          </a:p>
        </p:txBody>
      </p:sp>
      <p:sp>
        <p:nvSpPr>
          <p:cNvPr id="62" name="Rectangle 61">
            <a:extLst>
              <a:ext uri="{FF2B5EF4-FFF2-40B4-BE49-F238E27FC236}">
                <a16:creationId xmlns:a16="http://schemas.microsoft.com/office/drawing/2014/main" id="{3CCC7CAB-6EA9-E521-19B7-BCAFAD9C65EC}"/>
              </a:ext>
            </a:extLst>
          </p:cNvPr>
          <p:cNvSpPr/>
          <p:nvPr/>
        </p:nvSpPr>
        <p:spPr>
          <a:xfrm>
            <a:off x="1255804" y="3146579"/>
            <a:ext cx="1048188" cy="2803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Roboto"/>
                <a:ea typeface="+mn-ea"/>
                <a:cs typeface="+mn-cs"/>
              </a:rPr>
              <a:t>Sept</a:t>
            </a:r>
            <a:endParaRPr kumimoji="0" lang="en-GB" sz="1400" b="0" i="0" u="none" strike="noStrike" kern="1200" cap="none" spc="0" normalizeH="0" baseline="0" noProof="0">
              <a:ln>
                <a:noFill/>
              </a:ln>
              <a:solidFill>
                <a:srgbClr val="000000"/>
              </a:solidFill>
              <a:effectLst/>
              <a:uLnTx/>
              <a:uFillTx/>
              <a:latin typeface="Roboto"/>
              <a:ea typeface="+mn-ea"/>
              <a:cs typeface="+mn-cs"/>
            </a:endParaRPr>
          </a:p>
        </p:txBody>
      </p:sp>
      <p:sp>
        <p:nvSpPr>
          <p:cNvPr id="63" name="Rectangle 62">
            <a:extLst>
              <a:ext uri="{FF2B5EF4-FFF2-40B4-BE49-F238E27FC236}">
                <a16:creationId xmlns:a16="http://schemas.microsoft.com/office/drawing/2014/main" id="{912B67A5-0635-2564-3364-F0D6BAA32CE6}"/>
              </a:ext>
            </a:extLst>
          </p:cNvPr>
          <p:cNvSpPr/>
          <p:nvPr/>
        </p:nvSpPr>
        <p:spPr>
          <a:xfrm>
            <a:off x="4324839" y="3138211"/>
            <a:ext cx="1048188" cy="2803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Roboto"/>
                <a:ea typeface="+mn-ea"/>
                <a:cs typeface="+mn-cs"/>
              </a:rPr>
              <a:t>Oct</a:t>
            </a:r>
            <a:endParaRPr kumimoji="0" lang="en-GB" sz="1400" b="0" i="0" u="none" strike="noStrike" kern="1200" cap="none" spc="0" normalizeH="0" baseline="0" noProof="0">
              <a:ln>
                <a:noFill/>
              </a:ln>
              <a:solidFill>
                <a:srgbClr val="000000"/>
              </a:solidFill>
              <a:effectLst/>
              <a:uLnTx/>
              <a:uFillTx/>
              <a:latin typeface="Roboto"/>
              <a:ea typeface="+mn-ea"/>
              <a:cs typeface="+mn-cs"/>
            </a:endParaRPr>
          </a:p>
        </p:txBody>
      </p:sp>
      <p:sp>
        <p:nvSpPr>
          <p:cNvPr id="74" name="Rectangle 73">
            <a:extLst>
              <a:ext uri="{FF2B5EF4-FFF2-40B4-BE49-F238E27FC236}">
                <a16:creationId xmlns:a16="http://schemas.microsoft.com/office/drawing/2014/main" id="{CAAE761D-D7D8-C39C-7F47-13C193E90266}"/>
              </a:ext>
            </a:extLst>
          </p:cNvPr>
          <p:cNvSpPr/>
          <p:nvPr/>
        </p:nvSpPr>
        <p:spPr>
          <a:xfrm>
            <a:off x="5160309" y="4473427"/>
            <a:ext cx="1257058" cy="9676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Roboto"/>
                <a:ea typeface="+mn-ea"/>
                <a:cs typeface="+mn-cs"/>
              </a:rPr>
              <a:t>Oct 2023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Roboto"/>
                <a:ea typeface="+mn-ea"/>
                <a:cs typeface="+mn-cs"/>
              </a:rPr>
              <a:t>Material cost price reduction</a:t>
            </a:r>
          </a:p>
        </p:txBody>
      </p:sp>
      <p:sp>
        <p:nvSpPr>
          <p:cNvPr id="79" name="Rectangle 78">
            <a:extLst>
              <a:ext uri="{FF2B5EF4-FFF2-40B4-BE49-F238E27FC236}">
                <a16:creationId xmlns:a16="http://schemas.microsoft.com/office/drawing/2014/main" id="{399D750A-3CE6-42C7-D96C-D5864DA3C238}"/>
              </a:ext>
            </a:extLst>
          </p:cNvPr>
          <p:cNvSpPr/>
          <p:nvPr/>
        </p:nvSpPr>
        <p:spPr>
          <a:xfrm>
            <a:off x="8586393" y="1997523"/>
            <a:ext cx="1743834" cy="9676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Roboto"/>
                <a:ea typeface="+mn-ea"/>
                <a:cs typeface="+mn-cs"/>
              </a:rPr>
              <a:t>Nov 20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Roboto"/>
                <a:ea typeface="+mn-ea"/>
                <a:cs typeface="+mn-cs"/>
              </a:rPr>
              <a:t>Price guidance extended to middle tail items</a:t>
            </a:r>
          </a:p>
        </p:txBody>
      </p:sp>
      <p:sp>
        <p:nvSpPr>
          <p:cNvPr id="91" name="Rectangle 90">
            <a:extLst>
              <a:ext uri="{FF2B5EF4-FFF2-40B4-BE49-F238E27FC236}">
                <a16:creationId xmlns:a16="http://schemas.microsoft.com/office/drawing/2014/main" id="{B50D53A3-5411-1235-E58A-1BCCB702375C}"/>
              </a:ext>
            </a:extLst>
          </p:cNvPr>
          <p:cNvSpPr/>
          <p:nvPr/>
        </p:nvSpPr>
        <p:spPr>
          <a:xfrm>
            <a:off x="7393874" y="3146579"/>
            <a:ext cx="1048188" cy="2803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Roboto"/>
                <a:ea typeface="+mn-ea"/>
                <a:cs typeface="+mn-cs"/>
              </a:rPr>
              <a:t>Nov</a:t>
            </a:r>
            <a:endParaRPr kumimoji="0" lang="en-GB" sz="1400" b="0" i="0" u="none" strike="noStrike" kern="1200" cap="none" spc="0" normalizeH="0" baseline="0" noProof="0">
              <a:ln>
                <a:noFill/>
              </a:ln>
              <a:solidFill>
                <a:srgbClr val="000000"/>
              </a:solidFill>
              <a:effectLst/>
              <a:uLnTx/>
              <a:uFillTx/>
              <a:latin typeface="Roboto"/>
              <a:ea typeface="+mn-ea"/>
              <a:cs typeface="+mn-cs"/>
            </a:endParaRPr>
          </a:p>
        </p:txBody>
      </p:sp>
      <p:sp>
        <p:nvSpPr>
          <p:cNvPr id="4" name="Rectangle 3">
            <a:extLst>
              <a:ext uri="{FF2B5EF4-FFF2-40B4-BE49-F238E27FC236}">
                <a16:creationId xmlns:a16="http://schemas.microsoft.com/office/drawing/2014/main" id="{F880C1CC-D1FB-8261-82DE-64DF957BEF6F}"/>
              </a:ext>
            </a:extLst>
          </p:cNvPr>
          <p:cNvSpPr/>
          <p:nvPr/>
        </p:nvSpPr>
        <p:spPr>
          <a:xfrm>
            <a:off x="7633106" y="4473427"/>
            <a:ext cx="1779342" cy="9676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Roboto"/>
                <a:ea typeface="+mn-ea"/>
                <a:cs typeface="+mn-cs"/>
              </a:rPr>
              <a:t>Ongo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Roboto"/>
                <a:ea typeface="+mn-ea"/>
                <a:cs typeface="+mn-cs"/>
              </a:rPr>
              <a:t>Acquisition of Raptor Brand and existing Own Brand clearance commenced</a:t>
            </a:r>
          </a:p>
        </p:txBody>
      </p:sp>
      <p:grpSp>
        <p:nvGrpSpPr>
          <p:cNvPr id="87" name="Group 86">
            <a:extLst>
              <a:ext uri="{FF2B5EF4-FFF2-40B4-BE49-F238E27FC236}">
                <a16:creationId xmlns:a16="http://schemas.microsoft.com/office/drawing/2014/main" id="{748060F3-B663-34C5-82C2-C025B607B984}"/>
              </a:ext>
            </a:extLst>
          </p:cNvPr>
          <p:cNvGrpSpPr/>
          <p:nvPr/>
        </p:nvGrpSpPr>
        <p:grpSpPr>
          <a:xfrm rot="10800000">
            <a:off x="350136" y="2681588"/>
            <a:ext cx="176289" cy="388791"/>
            <a:chOff x="982713" y="3010457"/>
            <a:chExt cx="139179" cy="306948"/>
          </a:xfrm>
        </p:grpSpPr>
        <p:cxnSp>
          <p:nvCxnSpPr>
            <p:cNvPr id="88" name="Straight Connector 87">
              <a:extLst>
                <a:ext uri="{FF2B5EF4-FFF2-40B4-BE49-F238E27FC236}">
                  <a16:creationId xmlns:a16="http://schemas.microsoft.com/office/drawing/2014/main" id="{AA23647C-8ECB-FBE8-C32A-AE66BFC66FF0}"/>
                </a:ext>
              </a:extLst>
            </p:cNvPr>
            <p:cNvCxnSpPr>
              <a:cxnSpLocks/>
            </p:cNvCxnSpPr>
            <p:nvPr/>
          </p:nvCxnSpPr>
          <p:spPr>
            <a:xfrm flipH="1" flipV="1">
              <a:off x="1052303" y="3010457"/>
              <a:ext cx="1489" cy="242074"/>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89" name="Oval 88">
              <a:extLst>
                <a:ext uri="{FF2B5EF4-FFF2-40B4-BE49-F238E27FC236}">
                  <a16:creationId xmlns:a16="http://schemas.microsoft.com/office/drawing/2014/main" id="{7BDC4E14-3C83-7876-D0DB-3C8561244D4D}"/>
                </a:ext>
              </a:extLst>
            </p:cNvPr>
            <p:cNvSpPr/>
            <p:nvPr/>
          </p:nvSpPr>
          <p:spPr>
            <a:xfrm>
              <a:off x="982713" y="3178228"/>
              <a:ext cx="139179" cy="139177"/>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a:ea typeface="+mn-ea"/>
                <a:cs typeface="+mn-cs"/>
              </a:endParaRPr>
            </a:p>
          </p:txBody>
        </p:sp>
      </p:grpSp>
      <p:grpSp>
        <p:nvGrpSpPr>
          <p:cNvPr id="90" name="Group 89">
            <a:extLst>
              <a:ext uri="{FF2B5EF4-FFF2-40B4-BE49-F238E27FC236}">
                <a16:creationId xmlns:a16="http://schemas.microsoft.com/office/drawing/2014/main" id="{09DD23A4-FB9F-F5C8-906E-6ABE0C063E27}"/>
              </a:ext>
            </a:extLst>
          </p:cNvPr>
          <p:cNvGrpSpPr/>
          <p:nvPr/>
        </p:nvGrpSpPr>
        <p:grpSpPr>
          <a:xfrm rot="10800000">
            <a:off x="3826960" y="2681588"/>
            <a:ext cx="176289" cy="388791"/>
            <a:chOff x="982713" y="3010457"/>
            <a:chExt cx="139179" cy="306948"/>
          </a:xfrm>
        </p:grpSpPr>
        <p:cxnSp>
          <p:nvCxnSpPr>
            <p:cNvPr id="119" name="Straight Connector 118">
              <a:extLst>
                <a:ext uri="{FF2B5EF4-FFF2-40B4-BE49-F238E27FC236}">
                  <a16:creationId xmlns:a16="http://schemas.microsoft.com/office/drawing/2014/main" id="{DBDE3B78-2ACB-CEE8-BD98-393E22D4E87F}"/>
                </a:ext>
              </a:extLst>
            </p:cNvPr>
            <p:cNvCxnSpPr>
              <a:cxnSpLocks/>
            </p:cNvCxnSpPr>
            <p:nvPr/>
          </p:nvCxnSpPr>
          <p:spPr>
            <a:xfrm flipH="1" flipV="1">
              <a:off x="1052303" y="3010457"/>
              <a:ext cx="1489" cy="242074"/>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0" name="Oval 119">
              <a:extLst>
                <a:ext uri="{FF2B5EF4-FFF2-40B4-BE49-F238E27FC236}">
                  <a16:creationId xmlns:a16="http://schemas.microsoft.com/office/drawing/2014/main" id="{B417E8A5-2BC6-5FA4-7EF9-E0B9D2C5CB6A}"/>
                </a:ext>
              </a:extLst>
            </p:cNvPr>
            <p:cNvSpPr/>
            <p:nvPr/>
          </p:nvSpPr>
          <p:spPr>
            <a:xfrm>
              <a:off x="982713" y="3178228"/>
              <a:ext cx="139179" cy="139177"/>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a:ea typeface="+mn-ea"/>
                <a:cs typeface="+mn-cs"/>
              </a:endParaRPr>
            </a:p>
          </p:txBody>
        </p:sp>
      </p:grpSp>
      <p:grpSp>
        <p:nvGrpSpPr>
          <p:cNvPr id="121" name="Group 120">
            <a:extLst>
              <a:ext uri="{FF2B5EF4-FFF2-40B4-BE49-F238E27FC236}">
                <a16:creationId xmlns:a16="http://schemas.microsoft.com/office/drawing/2014/main" id="{AFDCEFEC-7385-4F17-F7AA-2E613A9B0B1D}"/>
              </a:ext>
            </a:extLst>
          </p:cNvPr>
          <p:cNvGrpSpPr/>
          <p:nvPr/>
        </p:nvGrpSpPr>
        <p:grpSpPr>
          <a:xfrm rot="10800000">
            <a:off x="8442747" y="2681588"/>
            <a:ext cx="176289" cy="388791"/>
            <a:chOff x="982713" y="3010457"/>
            <a:chExt cx="139179" cy="306948"/>
          </a:xfrm>
        </p:grpSpPr>
        <p:cxnSp>
          <p:nvCxnSpPr>
            <p:cNvPr id="122" name="Straight Connector 121">
              <a:extLst>
                <a:ext uri="{FF2B5EF4-FFF2-40B4-BE49-F238E27FC236}">
                  <a16:creationId xmlns:a16="http://schemas.microsoft.com/office/drawing/2014/main" id="{B27B016D-6C5C-D201-1AF4-54025BED5D1A}"/>
                </a:ext>
              </a:extLst>
            </p:cNvPr>
            <p:cNvCxnSpPr>
              <a:cxnSpLocks/>
            </p:cNvCxnSpPr>
            <p:nvPr/>
          </p:nvCxnSpPr>
          <p:spPr>
            <a:xfrm flipH="1" flipV="1">
              <a:off x="1052303" y="3010457"/>
              <a:ext cx="1489" cy="242074"/>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3" name="Oval 122">
              <a:extLst>
                <a:ext uri="{FF2B5EF4-FFF2-40B4-BE49-F238E27FC236}">
                  <a16:creationId xmlns:a16="http://schemas.microsoft.com/office/drawing/2014/main" id="{AE5AE66D-416D-4B95-E662-FD597CD9634D}"/>
                </a:ext>
              </a:extLst>
            </p:cNvPr>
            <p:cNvSpPr/>
            <p:nvPr/>
          </p:nvSpPr>
          <p:spPr>
            <a:xfrm>
              <a:off x="982713" y="3178228"/>
              <a:ext cx="139179" cy="139177"/>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a:ea typeface="+mn-ea"/>
                <a:cs typeface="+mn-cs"/>
              </a:endParaRPr>
            </a:p>
          </p:txBody>
        </p:sp>
      </p:grpSp>
      <p:grpSp>
        <p:nvGrpSpPr>
          <p:cNvPr id="124" name="Group 123">
            <a:extLst>
              <a:ext uri="{FF2B5EF4-FFF2-40B4-BE49-F238E27FC236}">
                <a16:creationId xmlns:a16="http://schemas.microsoft.com/office/drawing/2014/main" id="{E7EEFA5B-1543-AC08-E6B8-0B44403C22D4}"/>
              </a:ext>
            </a:extLst>
          </p:cNvPr>
          <p:cNvGrpSpPr/>
          <p:nvPr/>
        </p:nvGrpSpPr>
        <p:grpSpPr>
          <a:xfrm>
            <a:off x="2457081" y="3488564"/>
            <a:ext cx="176289" cy="388791"/>
            <a:chOff x="982713" y="3010457"/>
            <a:chExt cx="139179" cy="306948"/>
          </a:xfrm>
        </p:grpSpPr>
        <p:cxnSp>
          <p:nvCxnSpPr>
            <p:cNvPr id="125" name="Straight Connector 124">
              <a:extLst>
                <a:ext uri="{FF2B5EF4-FFF2-40B4-BE49-F238E27FC236}">
                  <a16:creationId xmlns:a16="http://schemas.microsoft.com/office/drawing/2014/main" id="{77B29926-B8D8-D029-909A-3DF20353CF4F}"/>
                </a:ext>
              </a:extLst>
            </p:cNvPr>
            <p:cNvCxnSpPr>
              <a:cxnSpLocks/>
            </p:cNvCxnSpPr>
            <p:nvPr/>
          </p:nvCxnSpPr>
          <p:spPr>
            <a:xfrm flipH="1" flipV="1">
              <a:off x="1052303" y="3010457"/>
              <a:ext cx="1489" cy="242074"/>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6" name="Oval 125">
              <a:extLst>
                <a:ext uri="{FF2B5EF4-FFF2-40B4-BE49-F238E27FC236}">
                  <a16:creationId xmlns:a16="http://schemas.microsoft.com/office/drawing/2014/main" id="{E4F7FE2F-0424-E285-095E-D06BA6F02DED}"/>
                </a:ext>
              </a:extLst>
            </p:cNvPr>
            <p:cNvSpPr/>
            <p:nvPr/>
          </p:nvSpPr>
          <p:spPr>
            <a:xfrm>
              <a:off x="982713" y="3178228"/>
              <a:ext cx="139179" cy="139177"/>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a:ea typeface="+mn-ea"/>
                <a:cs typeface="+mn-cs"/>
              </a:endParaRPr>
            </a:p>
          </p:txBody>
        </p:sp>
      </p:grpSp>
      <p:grpSp>
        <p:nvGrpSpPr>
          <p:cNvPr id="127" name="Group 126">
            <a:extLst>
              <a:ext uri="{FF2B5EF4-FFF2-40B4-BE49-F238E27FC236}">
                <a16:creationId xmlns:a16="http://schemas.microsoft.com/office/drawing/2014/main" id="{5C06EFA4-0F43-6183-D996-71DBF0449581}"/>
              </a:ext>
            </a:extLst>
          </p:cNvPr>
          <p:cNvGrpSpPr/>
          <p:nvPr/>
        </p:nvGrpSpPr>
        <p:grpSpPr>
          <a:xfrm>
            <a:off x="5595774" y="3488564"/>
            <a:ext cx="176289" cy="388791"/>
            <a:chOff x="982713" y="3010457"/>
            <a:chExt cx="139179" cy="306948"/>
          </a:xfrm>
        </p:grpSpPr>
        <p:cxnSp>
          <p:nvCxnSpPr>
            <p:cNvPr id="128" name="Straight Connector 127">
              <a:extLst>
                <a:ext uri="{FF2B5EF4-FFF2-40B4-BE49-F238E27FC236}">
                  <a16:creationId xmlns:a16="http://schemas.microsoft.com/office/drawing/2014/main" id="{B9B88D52-154A-4150-814F-DFD6771837D9}"/>
                </a:ext>
              </a:extLst>
            </p:cNvPr>
            <p:cNvCxnSpPr>
              <a:cxnSpLocks/>
            </p:cNvCxnSpPr>
            <p:nvPr/>
          </p:nvCxnSpPr>
          <p:spPr>
            <a:xfrm flipH="1" flipV="1">
              <a:off x="1052303" y="3010457"/>
              <a:ext cx="1489" cy="242074"/>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9" name="Oval 128">
              <a:extLst>
                <a:ext uri="{FF2B5EF4-FFF2-40B4-BE49-F238E27FC236}">
                  <a16:creationId xmlns:a16="http://schemas.microsoft.com/office/drawing/2014/main" id="{00365091-9937-5EF0-719D-5C8044EB3F67}"/>
                </a:ext>
              </a:extLst>
            </p:cNvPr>
            <p:cNvSpPr/>
            <p:nvPr/>
          </p:nvSpPr>
          <p:spPr>
            <a:xfrm>
              <a:off x="982713" y="3178228"/>
              <a:ext cx="139179" cy="139177"/>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a:ea typeface="+mn-ea"/>
                <a:cs typeface="+mn-cs"/>
              </a:endParaRPr>
            </a:p>
          </p:txBody>
        </p:sp>
      </p:grpSp>
      <p:grpSp>
        <p:nvGrpSpPr>
          <p:cNvPr id="130" name="Group 129">
            <a:extLst>
              <a:ext uri="{FF2B5EF4-FFF2-40B4-BE49-F238E27FC236}">
                <a16:creationId xmlns:a16="http://schemas.microsoft.com/office/drawing/2014/main" id="{F9981CC4-43BB-9B89-5A27-5197EBC0FB15}"/>
              </a:ext>
            </a:extLst>
          </p:cNvPr>
          <p:cNvGrpSpPr/>
          <p:nvPr/>
        </p:nvGrpSpPr>
        <p:grpSpPr>
          <a:xfrm>
            <a:off x="8041115" y="3488564"/>
            <a:ext cx="176289" cy="388791"/>
            <a:chOff x="982713" y="3010457"/>
            <a:chExt cx="139179" cy="306948"/>
          </a:xfrm>
        </p:grpSpPr>
        <p:cxnSp>
          <p:nvCxnSpPr>
            <p:cNvPr id="131" name="Straight Connector 130">
              <a:extLst>
                <a:ext uri="{FF2B5EF4-FFF2-40B4-BE49-F238E27FC236}">
                  <a16:creationId xmlns:a16="http://schemas.microsoft.com/office/drawing/2014/main" id="{C2D95A90-0DE5-CF94-BCCC-D3BB5920B8AB}"/>
                </a:ext>
              </a:extLst>
            </p:cNvPr>
            <p:cNvCxnSpPr>
              <a:cxnSpLocks/>
            </p:cNvCxnSpPr>
            <p:nvPr/>
          </p:nvCxnSpPr>
          <p:spPr>
            <a:xfrm flipH="1" flipV="1">
              <a:off x="1052303" y="3010457"/>
              <a:ext cx="1489" cy="242074"/>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32" name="Oval 131">
              <a:extLst>
                <a:ext uri="{FF2B5EF4-FFF2-40B4-BE49-F238E27FC236}">
                  <a16:creationId xmlns:a16="http://schemas.microsoft.com/office/drawing/2014/main" id="{3AA5CC5E-7A2F-D121-36BE-E41C2CC5FAEE}"/>
                </a:ext>
              </a:extLst>
            </p:cNvPr>
            <p:cNvSpPr/>
            <p:nvPr/>
          </p:nvSpPr>
          <p:spPr>
            <a:xfrm>
              <a:off x="982713" y="3178228"/>
              <a:ext cx="139179" cy="139177"/>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a:ea typeface="+mn-ea"/>
                <a:cs typeface="+mn-cs"/>
              </a:endParaRPr>
            </a:p>
          </p:txBody>
        </p:sp>
      </p:grpSp>
      <p:grpSp>
        <p:nvGrpSpPr>
          <p:cNvPr id="39" name="Group 38">
            <a:extLst>
              <a:ext uri="{FF2B5EF4-FFF2-40B4-BE49-F238E27FC236}">
                <a16:creationId xmlns:a16="http://schemas.microsoft.com/office/drawing/2014/main" id="{9C9282FB-1EFE-B60E-F9D7-CA8AC5763A70}"/>
              </a:ext>
            </a:extLst>
          </p:cNvPr>
          <p:cNvGrpSpPr/>
          <p:nvPr/>
        </p:nvGrpSpPr>
        <p:grpSpPr>
          <a:xfrm>
            <a:off x="5161264" y="3839043"/>
            <a:ext cx="470554" cy="543380"/>
            <a:chOff x="6377669" y="3839043"/>
            <a:chExt cx="470554" cy="543380"/>
          </a:xfrm>
        </p:grpSpPr>
        <p:sp>
          <p:nvSpPr>
            <p:cNvPr id="70" name="Graphic 18">
              <a:extLst>
                <a:ext uri="{FF2B5EF4-FFF2-40B4-BE49-F238E27FC236}">
                  <a16:creationId xmlns:a16="http://schemas.microsoft.com/office/drawing/2014/main" id="{5C2C44F7-E0BA-4750-0D32-DE4A2171133E}"/>
                </a:ext>
              </a:extLst>
            </p:cNvPr>
            <p:cNvSpPr/>
            <p:nvPr/>
          </p:nvSpPr>
          <p:spPr>
            <a:xfrm>
              <a:off x="6377669" y="3839043"/>
              <a:ext cx="470554" cy="543380"/>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pic>
          <p:nvPicPr>
            <p:cNvPr id="5" name="Graphic 4">
              <a:extLst>
                <a:ext uri="{FF2B5EF4-FFF2-40B4-BE49-F238E27FC236}">
                  <a16:creationId xmlns:a16="http://schemas.microsoft.com/office/drawing/2014/main" id="{3DF1EC6C-7D21-F141-5A5F-129CA629A219}"/>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457475" y="3961976"/>
              <a:ext cx="328423" cy="299997"/>
            </a:xfrm>
            <a:prstGeom prst="rect">
              <a:avLst/>
            </a:prstGeom>
          </p:spPr>
        </p:pic>
      </p:grpSp>
      <p:grpSp>
        <p:nvGrpSpPr>
          <p:cNvPr id="36" name="Group 35">
            <a:extLst>
              <a:ext uri="{FF2B5EF4-FFF2-40B4-BE49-F238E27FC236}">
                <a16:creationId xmlns:a16="http://schemas.microsoft.com/office/drawing/2014/main" id="{23991956-1A73-AFD8-1588-C868B89876BA}"/>
              </a:ext>
            </a:extLst>
          </p:cNvPr>
          <p:cNvGrpSpPr/>
          <p:nvPr/>
        </p:nvGrpSpPr>
        <p:grpSpPr>
          <a:xfrm>
            <a:off x="376569" y="1456712"/>
            <a:ext cx="470554" cy="543380"/>
            <a:chOff x="1081245" y="1456712"/>
            <a:chExt cx="470554" cy="543380"/>
          </a:xfrm>
        </p:grpSpPr>
        <p:sp>
          <p:nvSpPr>
            <p:cNvPr id="65" name="Graphic 18">
              <a:extLst>
                <a:ext uri="{FF2B5EF4-FFF2-40B4-BE49-F238E27FC236}">
                  <a16:creationId xmlns:a16="http://schemas.microsoft.com/office/drawing/2014/main" id="{0224CC9E-BBE0-AF95-9E8E-BA14DD6CF1C5}"/>
                </a:ext>
              </a:extLst>
            </p:cNvPr>
            <p:cNvSpPr/>
            <p:nvPr/>
          </p:nvSpPr>
          <p:spPr>
            <a:xfrm>
              <a:off x="1081245" y="1456712"/>
              <a:ext cx="470554" cy="543380"/>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grpSp>
          <p:nvGrpSpPr>
            <p:cNvPr id="8" name="Graphic 6">
              <a:extLst>
                <a:ext uri="{FF2B5EF4-FFF2-40B4-BE49-F238E27FC236}">
                  <a16:creationId xmlns:a16="http://schemas.microsoft.com/office/drawing/2014/main" id="{BD51EB19-C616-617F-4722-EFE90D673930}"/>
                </a:ext>
              </a:extLst>
            </p:cNvPr>
            <p:cNvGrpSpPr/>
            <p:nvPr/>
          </p:nvGrpSpPr>
          <p:grpSpPr>
            <a:xfrm>
              <a:off x="1131983" y="1590797"/>
              <a:ext cx="369077" cy="302380"/>
              <a:chOff x="2666882" y="619725"/>
              <a:chExt cx="6858117" cy="5618768"/>
            </a:xfrm>
            <a:solidFill>
              <a:schemeClr val="bg1"/>
            </a:solidFill>
          </p:grpSpPr>
          <p:sp>
            <p:nvSpPr>
              <p:cNvPr id="9" name="Freeform: Shape 8">
                <a:extLst>
                  <a:ext uri="{FF2B5EF4-FFF2-40B4-BE49-F238E27FC236}">
                    <a16:creationId xmlns:a16="http://schemas.microsoft.com/office/drawing/2014/main" id="{5E66D2CD-1474-E748-07E2-FB5896E09E74}"/>
                  </a:ext>
                </a:extLst>
              </p:cNvPr>
              <p:cNvSpPr/>
              <p:nvPr/>
            </p:nvSpPr>
            <p:spPr>
              <a:xfrm>
                <a:off x="3906277" y="619725"/>
                <a:ext cx="5618722" cy="5618768"/>
              </a:xfrm>
              <a:custGeom>
                <a:avLst/>
                <a:gdLst>
                  <a:gd name="connsiteX0" fmla="*/ 2991252 w 5618722"/>
                  <a:gd name="connsiteY0" fmla="*/ 5618769 h 5618768"/>
                  <a:gd name="connsiteX1" fmla="*/ 2657998 w 5618722"/>
                  <a:gd name="connsiteY1" fmla="*/ 5480534 h 5618768"/>
                  <a:gd name="connsiteX2" fmla="*/ 30527 w 5618722"/>
                  <a:gd name="connsiteY2" fmla="*/ 2851977 h 5618768"/>
                  <a:gd name="connsiteX3" fmla="*/ 523 w 5618722"/>
                  <a:gd name="connsiteY3" fmla="*/ 2768395 h 5618768"/>
                  <a:gd name="connsiteX4" fmla="*/ 229838 w 5618722"/>
                  <a:gd name="connsiteY4" fmla="*/ 323061 h 5618768"/>
                  <a:gd name="connsiteX5" fmla="*/ 323061 w 5618722"/>
                  <a:gd name="connsiteY5" fmla="*/ 229838 h 5618768"/>
                  <a:gd name="connsiteX6" fmla="*/ 2769424 w 5618722"/>
                  <a:gd name="connsiteY6" fmla="*/ 523 h 5618768"/>
                  <a:gd name="connsiteX7" fmla="*/ 2853006 w 5618722"/>
                  <a:gd name="connsiteY7" fmla="*/ 30527 h 5618768"/>
                  <a:gd name="connsiteX8" fmla="*/ 5481563 w 5618722"/>
                  <a:gd name="connsiteY8" fmla="*/ 2659084 h 5618768"/>
                  <a:gd name="connsiteX9" fmla="*/ 5618723 w 5618722"/>
                  <a:gd name="connsiteY9" fmla="*/ 2991269 h 5618768"/>
                  <a:gd name="connsiteX10" fmla="*/ 5480489 w 5618722"/>
                  <a:gd name="connsiteY10" fmla="*/ 3324522 h 5618768"/>
                  <a:gd name="connsiteX11" fmla="*/ 3324505 w 5618722"/>
                  <a:gd name="connsiteY11" fmla="*/ 5480506 h 5618768"/>
                  <a:gd name="connsiteX12" fmla="*/ 2991252 w 5618722"/>
                  <a:gd name="connsiteY12" fmla="*/ 5618740 h 5618768"/>
                  <a:gd name="connsiteX13" fmla="*/ 211590 w 5618722"/>
                  <a:gd name="connsiteY13" fmla="*/ 2739494 h 5618768"/>
                  <a:gd name="connsiteX14" fmla="*/ 2804771 w 5618722"/>
                  <a:gd name="connsiteY14" fmla="*/ 5333762 h 5618768"/>
                  <a:gd name="connsiteX15" fmla="*/ 3176601 w 5618722"/>
                  <a:gd name="connsiteY15" fmla="*/ 5333762 h 5618768"/>
                  <a:gd name="connsiteX16" fmla="*/ 5332584 w 5618722"/>
                  <a:gd name="connsiteY16" fmla="*/ 3177778 h 5618768"/>
                  <a:gd name="connsiteX17" fmla="*/ 5409737 w 5618722"/>
                  <a:gd name="connsiteY17" fmla="*/ 2991326 h 5618768"/>
                  <a:gd name="connsiteX18" fmla="*/ 5332584 w 5618722"/>
                  <a:gd name="connsiteY18" fmla="*/ 2804874 h 5618768"/>
                  <a:gd name="connsiteX19" fmla="*/ 2739403 w 5618722"/>
                  <a:gd name="connsiteY19" fmla="*/ 211693 h 5618768"/>
                  <a:gd name="connsiteX20" fmla="*/ 428028 w 5618722"/>
                  <a:gd name="connsiteY20" fmla="*/ 428148 h 5618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18722" h="5618768">
                    <a:moveTo>
                      <a:pt x="2991252" y="5618769"/>
                    </a:moveTo>
                    <a:cubicBezTo>
                      <a:pt x="2865876" y="5618769"/>
                      <a:pt x="2746935" y="5569477"/>
                      <a:pt x="2657998" y="5480534"/>
                    </a:cubicBezTo>
                    <a:lnTo>
                      <a:pt x="30527" y="2851977"/>
                    </a:lnTo>
                    <a:cubicBezTo>
                      <a:pt x="9096" y="2830546"/>
                      <a:pt x="-2691" y="2799470"/>
                      <a:pt x="523" y="2768395"/>
                    </a:cubicBezTo>
                    <a:lnTo>
                      <a:pt x="229838" y="323061"/>
                    </a:lnTo>
                    <a:cubicBezTo>
                      <a:pt x="234124" y="273769"/>
                      <a:pt x="273772" y="234124"/>
                      <a:pt x="323061" y="229838"/>
                    </a:cubicBezTo>
                    <a:lnTo>
                      <a:pt x="2769424" y="523"/>
                    </a:lnTo>
                    <a:cubicBezTo>
                      <a:pt x="2800499" y="-2691"/>
                      <a:pt x="2830506" y="9096"/>
                      <a:pt x="2853006" y="30527"/>
                    </a:cubicBezTo>
                    <a:lnTo>
                      <a:pt x="5481563" y="2659084"/>
                    </a:lnTo>
                    <a:cubicBezTo>
                      <a:pt x="5569431" y="2746952"/>
                      <a:pt x="5618723" y="2865899"/>
                      <a:pt x="5618723" y="2991269"/>
                    </a:cubicBezTo>
                    <a:cubicBezTo>
                      <a:pt x="5618723" y="3116639"/>
                      <a:pt x="5569431" y="3235585"/>
                      <a:pt x="5480489" y="3324522"/>
                    </a:cubicBezTo>
                    <a:lnTo>
                      <a:pt x="3324505" y="5480506"/>
                    </a:lnTo>
                    <a:cubicBezTo>
                      <a:pt x="3235568" y="5569443"/>
                      <a:pt x="3117690" y="5618740"/>
                      <a:pt x="2991252" y="5618740"/>
                    </a:cubicBezTo>
                    <a:close/>
                    <a:moveTo>
                      <a:pt x="211590" y="2739494"/>
                    </a:moveTo>
                    <a:lnTo>
                      <a:pt x="2804771" y="5333762"/>
                    </a:lnTo>
                    <a:cubicBezTo>
                      <a:pt x="2907641" y="5436632"/>
                      <a:pt x="3074805" y="5436632"/>
                      <a:pt x="3176601" y="5333762"/>
                    </a:cubicBezTo>
                    <a:lnTo>
                      <a:pt x="5332584" y="3177778"/>
                    </a:lnTo>
                    <a:cubicBezTo>
                      <a:pt x="5381876" y="3128486"/>
                      <a:pt x="5409737" y="3062049"/>
                      <a:pt x="5409737" y="2991326"/>
                    </a:cubicBezTo>
                    <a:cubicBezTo>
                      <a:pt x="5409737" y="2920603"/>
                      <a:pt x="5381876" y="2855241"/>
                      <a:pt x="5332584" y="2804874"/>
                    </a:cubicBezTo>
                    <a:lnTo>
                      <a:pt x="2739403" y="211693"/>
                    </a:lnTo>
                    <a:lnTo>
                      <a:pt x="428028" y="428148"/>
                    </a:ln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10" name="Freeform: Shape 9">
                <a:extLst>
                  <a:ext uri="{FF2B5EF4-FFF2-40B4-BE49-F238E27FC236}">
                    <a16:creationId xmlns:a16="http://schemas.microsoft.com/office/drawing/2014/main" id="{36DFE40C-97CB-1F77-E8DA-6D7BFDD15BB7}"/>
                  </a:ext>
                </a:extLst>
              </p:cNvPr>
              <p:cNvSpPr/>
              <p:nvPr/>
            </p:nvSpPr>
            <p:spPr>
              <a:xfrm>
                <a:off x="4685806" y="1398403"/>
                <a:ext cx="1277285" cy="1276233"/>
              </a:xfrm>
              <a:custGeom>
                <a:avLst/>
                <a:gdLst>
                  <a:gd name="connsiteX0" fmla="*/ 637583 w 1277285"/>
                  <a:gd name="connsiteY0" fmla="*/ 1276217 h 1276233"/>
                  <a:gd name="connsiteX1" fmla="*/ 186452 w 1277285"/>
                  <a:gd name="connsiteY1" fmla="*/ 1089765 h 1276233"/>
                  <a:gd name="connsiteX2" fmla="*/ 186452 w 1277285"/>
                  <a:gd name="connsiteY2" fmla="*/ 186452 h 1276233"/>
                  <a:gd name="connsiteX3" fmla="*/ 1089765 w 1277285"/>
                  <a:gd name="connsiteY3" fmla="*/ 186452 h 1276233"/>
                  <a:gd name="connsiteX4" fmla="*/ 1277285 w 1277285"/>
                  <a:gd name="connsiteY4" fmla="*/ 637583 h 1276233"/>
                  <a:gd name="connsiteX5" fmla="*/ 1089765 w 1277285"/>
                  <a:gd name="connsiteY5" fmla="*/ 1088713 h 1276233"/>
                  <a:gd name="connsiteX6" fmla="*/ 637565 w 1277285"/>
                  <a:gd name="connsiteY6" fmla="*/ 1276234 h 1276233"/>
                  <a:gd name="connsiteX7" fmla="*/ 637583 w 1277285"/>
                  <a:gd name="connsiteY7" fmla="*/ 207855 h 1276233"/>
                  <a:gd name="connsiteX8" fmla="*/ 333259 w 1277285"/>
                  <a:gd name="connsiteY8" fmla="*/ 334299 h 1276233"/>
                  <a:gd name="connsiteX9" fmla="*/ 333259 w 1277285"/>
                  <a:gd name="connsiteY9" fmla="*/ 944032 h 1276233"/>
                  <a:gd name="connsiteX10" fmla="*/ 942992 w 1277285"/>
                  <a:gd name="connsiteY10" fmla="*/ 944032 h 1276233"/>
                  <a:gd name="connsiteX11" fmla="*/ 1069437 w 1277285"/>
                  <a:gd name="connsiteY11" fmla="*/ 639709 h 1276233"/>
                  <a:gd name="connsiteX12" fmla="*/ 942992 w 1277285"/>
                  <a:gd name="connsiteY12" fmla="*/ 335385 h 1276233"/>
                  <a:gd name="connsiteX13" fmla="*/ 637594 w 1277285"/>
                  <a:gd name="connsiteY13" fmla="*/ 207872 h 1276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77285" h="1276233">
                    <a:moveTo>
                      <a:pt x="637583" y="1276217"/>
                    </a:moveTo>
                    <a:cubicBezTo>
                      <a:pt x="473631" y="1276217"/>
                      <a:pt x="310753" y="1214066"/>
                      <a:pt x="186452" y="1089765"/>
                    </a:cubicBezTo>
                    <a:cubicBezTo>
                      <a:pt x="-62151" y="841162"/>
                      <a:pt x="-62151" y="435054"/>
                      <a:pt x="186452" y="186452"/>
                    </a:cubicBezTo>
                    <a:cubicBezTo>
                      <a:pt x="435054" y="-62151"/>
                      <a:pt x="841162" y="-62151"/>
                      <a:pt x="1089765" y="186452"/>
                    </a:cubicBezTo>
                    <a:cubicBezTo>
                      <a:pt x="1210854" y="307541"/>
                      <a:pt x="1277285" y="467201"/>
                      <a:pt x="1277285" y="637583"/>
                    </a:cubicBezTo>
                    <a:cubicBezTo>
                      <a:pt x="1277285" y="807964"/>
                      <a:pt x="1210849" y="968698"/>
                      <a:pt x="1089765" y="1088713"/>
                    </a:cubicBezTo>
                    <a:cubicBezTo>
                      <a:pt x="964389" y="1214089"/>
                      <a:pt x="800443" y="1276234"/>
                      <a:pt x="637565" y="1276234"/>
                    </a:cubicBezTo>
                    <a:close/>
                    <a:moveTo>
                      <a:pt x="637583" y="207855"/>
                    </a:moveTo>
                    <a:cubicBezTo>
                      <a:pt x="527214" y="207855"/>
                      <a:pt x="416841" y="249645"/>
                      <a:pt x="333259" y="334299"/>
                    </a:cubicBezTo>
                    <a:cubicBezTo>
                      <a:pt x="165021" y="502537"/>
                      <a:pt x="165021" y="775783"/>
                      <a:pt x="333259" y="944032"/>
                    </a:cubicBezTo>
                    <a:cubicBezTo>
                      <a:pt x="501497" y="1112282"/>
                      <a:pt x="774743" y="1112270"/>
                      <a:pt x="942992" y="944032"/>
                    </a:cubicBezTo>
                    <a:cubicBezTo>
                      <a:pt x="1024431" y="862594"/>
                      <a:pt x="1069437" y="754363"/>
                      <a:pt x="1069437" y="639709"/>
                    </a:cubicBezTo>
                    <a:cubicBezTo>
                      <a:pt x="1069437" y="525054"/>
                      <a:pt x="1024431" y="416824"/>
                      <a:pt x="942992" y="335385"/>
                    </a:cubicBezTo>
                    <a:cubicBezTo>
                      <a:pt x="858341" y="249660"/>
                      <a:pt x="746899" y="207872"/>
                      <a:pt x="637594" y="207872"/>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11" name="Freeform: Shape 10">
                <a:extLst>
                  <a:ext uri="{FF2B5EF4-FFF2-40B4-BE49-F238E27FC236}">
                    <a16:creationId xmlns:a16="http://schemas.microsoft.com/office/drawing/2014/main" id="{2FCD3350-9D5A-303F-65C1-361B4A443C81}"/>
                  </a:ext>
                </a:extLst>
              </p:cNvPr>
              <p:cNvSpPr/>
              <p:nvPr/>
            </p:nvSpPr>
            <p:spPr>
              <a:xfrm>
                <a:off x="2666882" y="1491508"/>
                <a:ext cx="2760144" cy="987044"/>
              </a:xfrm>
              <a:custGeom>
                <a:avLst/>
                <a:gdLst>
                  <a:gd name="connsiteX0" fmla="*/ 1622492 w 2760144"/>
                  <a:gd name="connsiteY0" fmla="*/ 987030 h 987044"/>
                  <a:gd name="connsiteX1" fmla="*/ 26921 w 2760144"/>
                  <a:gd name="connsiteY1" fmla="*/ 173728 h 987044"/>
                  <a:gd name="connsiteX2" fmla="*/ 34422 w 2760144"/>
                  <a:gd name="connsiteY2" fmla="*/ 26921 h 987044"/>
                  <a:gd name="connsiteX3" fmla="*/ 181229 w 2760144"/>
                  <a:gd name="connsiteY3" fmla="*/ 34422 h 987044"/>
                  <a:gd name="connsiteX4" fmla="*/ 2591187 w 2760144"/>
                  <a:gd name="connsiteY4" fmla="*/ 465190 h 987044"/>
                  <a:gd name="connsiteX5" fmla="*/ 2736920 w 2760144"/>
                  <a:gd name="connsiteY5" fmla="*/ 480192 h 987044"/>
                  <a:gd name="connsiteX6" fmla="*/ 2721918 w 2760144"/>
                  <a:gd name="connsiteY6" fmla="*/ 625925 h 987044"/>
                  <a:gd name="connsiteX7" fmla="*/ 1622466 w 2760144"/>
                  <a:gd name="connsiteY7" fmla="*/ 987044 h 987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0144" h="987044">
                    <a:moveTo>
                      <a:pt x="1622492" y="987030"/>
                    </a:moveTo>
                    <a:cubicBezTo>
                      <a:pt x="1160651" y="987030"/>
                      <a:pt x="598078" y="803795"/>
                      <a:pt x="26921" y="173728"/>
                    </a:cubicBezTo>
                    <a:cubicBezTo>
                      <a:pt x="-11655" y="130866"/>
                      <a:pt x="-8440" y="65497"/>
                      <a:pt x="34422" y="26921"/>
                    </a:cubicBezTo>
                    <a:cubicBezTo>
                      <a:pt x="77285" y="-11655"/>
                      <a:pt x="142653" y="-8440"/>
                      <a:pt x="181229" y="34422"/>
                    </a:cubicBezTo>
                    <a:cubicBezTo>
                      <a:pt x="1411383" y="1391049"/>
                      <a:pt x="2542953" y="502698"/>
                      <a:pt x="2591187" y="465190"/>
                    </a:cubicBezTo>
                    <a:cubicBezTo>
                      <a:pt x="2636193" y="428757"/>
                      <a:pt x="2701556" y="436258"/>
                      <a:pt x="2736920" y="480192"/>
                    </a:cubicBezTo>
                    <a:cubicBezTo>
                      <a:pt x="2773353" y="524126"/>
                      <a:pt x="2765852" y="589492"/>
                      <a:pt x="2721918" y="625925"/>
                    </a:cubicBezTo>
                    <a:cubicBezTo>
                      <a:pt x="2714417" y="632354"/>
                      <a:pt x="2265432" y="987044"/>
                      <a:pt x="1622466" y="987044"/>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grpSp>
      <p:grpSp>
        <p:nvGrpSpPr>
          <p:cNvPr id="37" name="Group 36">
            <a:extLst>
              <a:ext uri="{FF2B5EF4-FFF2-40B4-BE49-F238E27FC236}">
                <a16:creationId xmlns:a16="http://schemas.microsoft.com/office/drawing/2014/main" id="{93235B3C-E407-AB85-4CB4-13D2AEACA959}"/>
              </a:ext>
            </a:extLst>
          </p:cNvPr>
          <p:cNvGrpSpPr/>
          <p:nvPr/>
        </p:nvGrpSpPr>
        <p:grpSpPr>
          <a:xfrm>
            <a:off x="3845744" y="1469997"/>
            <a:ext cx="470554" cy="543380"/>
            <a:chOff x="5867493" y="1469997"/>
            <a:chExt cx="470554" cy="543380"/>
          </a:xfrm>
        </p:grpSpPr>
        <p:sp>
          <p:nvSpPr>
            <p:cNvPr id="66" name="Graphic 18">
              <a:extLst>
                <a:ext uri="{FF2B5EF4-FFF2-40B4-BE49-F238E27FC236}">
                  <a16:creationId xmlns:a16="http://schemas.microsoft.com/office/drawing/2014/main" id="{4915C970-192F-D33F-0B30-034769F25EE1}"/>
                </a:ext>
              </a:extLst>
            </p:cNvPr>
            <p:cNvSpPr/>
            <p:nvPr/>
          </p:nvSpPr>
          <p:spPr>
            <a:xfrm>
              <a:off x="5867493" y="1469997"/>
              <a:ext cx="470554" cy="543380"/>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grpSp>
          <p:nvGrpSpPr>
            <p:cNvPr id="14" name="Graphic 12">
              <a:extLst>
                <a:ext uri="{FF2B5EF4-FFF2-40B4-BE49-F238E27FC236}">
                  <a16:creationId xmlns:a16="http://schemas.microsoft.com/office/drawing/2014/main" id="{805D5D30-71AE-B752-4249-9D4E85440543}"/>
                </a:ext>
              </a:extLst>
            </p:cNvPr>
            <p:cNvGrpSpPr/>
            <p:nvPr/>
          </p:nvGrpSpPr>
          <p:grpSpPr>
            <a:xfrm>
              <a:off x="5947956" y="1584179"/>
              <a:ext cx="312580" cy="293246"/>
              <a:chOff x="2838464" y="370331"/>
              <a:chExt cx="6513365" cy="6110496"/>
            </a:xfrm>
            <a:solidFill>
              <a:schemeClr val="bg1"/>
            </a:solidFill>
          </p:grpSpPr>
          <p:sp>
            <p:nvSpPr>
              <p:cNvPr id="15" name="Freeform: Shape 14">
                <a:extLst>
                  <a:ext uri="{FF2B5EF4-FFF2-40B4-BE49-F238E27FC236}">
                    <a16:creationId xmlns:a16="http://schemas.microsoft.com/office/drawing/2014/main" id="{92950C6C-D716-EA05-A289-41A1FDAEF5B5}"/>
                  </a:ext>
                </a:extLst>
              </p:cNvPr>
              <p:cNvSpPr/>
              <p:nvPr/>
            </p:nvSpPr>
            <p:spPr>
              <a:xfrm>
                <a:off x="2838464" y="3408414"/>
                <a:ext cx="3024357" cy="3019229"/>
              </a:xfrm>
              <a:custGeom>
                <a:avLst/>
                <a:gdLst>
                  <a:gd name="connsiteX0" fmla="*/ 61713 w 3024357"/>
                  <a:gd name="connsiteY0" fmla="*/ 1940825 h 3019229"/>
                  <a:gd name="connsiteX1" fmla="*/ 61713 w 3024357"/>
                  <a:gd name="connsiteY1" fmla="*/ 2228850 h 3019229"/>
                  <a:gd name="connsiteX2" fmla="*/ 795519 w 3024357"/>
                  <a:gd name="connsiteY2" fmla="*/ 2962656 h 3019229"/>
                  <a:gd name="connsiteX3" fmla="*/ 1083544 w 3024357"/>
                  <a:gd name="connsiteY3" fmla="*/ 2962656 h 3019229"/>
                  <a:gd name="connsiteX4" fmla="*/ 3024358 w 3024357"/>
                  <a:gd name="connsiteY4" fmla="*/ 1021842 h 3019229"/>
                  <a:gd name="connsiteX5" fmla="*/ 2002516 w 3024357"/>
                  <a:gd name="connsiteY5" fmla="*/ 0 h 3019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24357" h="3019229">
                    <a:moveTo>
                      <a:pt x="61713" y="1940825"/>
                    </a:moveTo>
                    <a:cubicBezTo>
                      <a:pt x="-20571" y="2016258"/>
                      <a:pt x="-20571" y="2146565"/>
                      <a:pt x="61713" y="2228850"/>
                    </a:cubicBezTo>
                    <a:lnTo>
                      <a:pt x="795519" y="2962656"/>
                    </a:lnTo>
                    <a:cubicBezTo>
                      <a:pt x="870952" y="3038088"/>
                      <a:pt x="1001259" y="3038088"/>
                      <a:pt x="1083544" y="2962656"/>
                    </a:cubicBezTo>
                    <a:lnTo>
                      <a:pt x="3024358" y="1021842"/>
                    </a:lnTo>
                    <a:lnTo>
                      <a:pt x="2002516" y="0"/>
                    </a:ln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16" name="Freeform: Shape 15">
                <a:extLst>
                  <a:ext uri="{FF2B5EF4-FFF2-40B4-BE49-F238E27FC236}">
                    <a16:creationId xmlns:a16="http://schemas.microsoft.com/office/drawing/2014/main" id="{09F86047-C443-E9D8-E11E-EC76D7404C5B}"/>
                  </a:ext>
                </a:extLst>
              </p:cNvPr>
              <p:cNvSpPr/>
              <p:nvPr/>
            </p:nvSpPr>
            <p:spPr>
              <a:xfrm>
                <a:off x="6342882" y="427758"/>
                <a:ext cx="3008947" cy="2500621"/>
              </a:xfrm>
              <a:custGeom>
                <a:avLst/>
                <a:gdLst>
                  <a:gd name="connsiteX0" fmla="*/ 2983236 w 3008947"/>
                  <a:gd name="connsiteY0" fmla="*/ 1396469 h 2500621"/>
                  <a:gd name="connsiteX1" fmla="*/ 2619751 w 3008947"/>
                  <a:gd name="connsiteY1" fmla="*/ 1032984 h 2500621"/>
                  <a:gd name="connsiteX2" fmla="*/ 2475739 w 3008947"/>
                  <a:gd name="connsiteY2" fmla="*/ 1032984 h 2500621"/>
                  <a:gd name="connsiteX3" fmla="*/ 2420865 w 3008947"/>
                  <a:gd name="connsiteY3" fmla="*/ 1087857 h 2500621"/>
                  <a:gd name="connsiteX4" fmla="*/ 1618479 w 3008947"/>
                  <a:gd name="connsiteY4" fmla="*/ 285471 h 2500621"/>
                  <a:gd name="connsiteX5" fmla="*/ 205731 w 3008947"/>
                  <a:gd name="connsiteY5" fmla="*/ 141458 h 2500621"/>
                  <a:gd name="connsiteX6" fmla="*/ 260604 w 3008947"/>
                  <a:gd name="connsiteY6" fmla="*/ 333494 h 2500621"/>
                  <a:gd name="connsiteX7" fmla="*/ 1145286 w 3008947"/>
                  <a:gd name="connsiteY7" fmla="*/ 902719 h 2500621"/>
                  <a:gd name="connsiteX8" fmla="*/ 0 w 3008947"/>
                  <a:gd name="connsiteY8" fmla="*/ 2041147 h 2500621"/>
                  <a:gd name="connsiteX9" fmla="*/ 459475 w 3008947"/>
                  <a:gd name="connsiteY9" fmla="*/ 2500622 h 2500621"/>
                  <a:gd name="connsiteX10" fmla="*/ 1563613 w 3008947"/>
                  <a:gd name="connsiteY10" fmla="*/ 1396484 h 2500621"/>
                  <a:gd name="connsiteX11" fmla="*/ 1824228 w 3008947"/>
                  <a:gd name="connsiteY11" fmla="*/ 1691389 h 2500621"/>
                  <a:gd name="connsiteX12" fmla="*/ 1762501 w 3008947"/>
                  <a:gd name="connsiteY12" fmla="*/ 1753117 h 2500621"/>
                  <a:gd name="connsiteX13" fmla="*/ 1762501 w 3008947"/>
                  <a:gd name="connsiteY13" fmla="*/ 1897129 h 2500621"/>
                  <a:gd name="connsiteX14" fmla="*/ 2125986 w 3008947"/>
                  <a:gd name="connsiteY14" fmla="*/ 2260615 h 2500621"/>
                  <a:gd name="connsiteX15" fmla="*/ 2269999 w 3008947"/>
                  <a:gd name="connsiteY15" fmla="*/ 2260615 h 2500621"/>
                  <a:gd name="connsiteX16" fmla="*/ 2983230 w 3008947"/>
                  <a:gd name="connsiteY16" fmla="*/ 1547383 h 2500621"/>
                  <a:gd name="connsiteX17" fmla="*/ 2983230 w 3008947"/>
                  <a:gd name="connsiteY17" fmla="*/ 1396495 h 2500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08947" h="2500621">
                    <a:moveTo>
                      <a:pt x="2983236" y="1396469"/>
                    </a:moveTo>
                    <a:lnTo>
                      <a:pt x="2619751" y="1032984"/>
                    </a:lnTo>
                    <a:cubicBezTo>
                      <a:pt x="2578607" y="991840"/>
                      <a:pt x="2516881" y="991840"/>
                      <a:pt x="2475739" y="1032984"/>
                    </a:cubicBezTo>
                    <a:lnTo>
                      <a:pt x="2420865" y="1087857"/>
                    </a:lnTo>
                    <a:cubicBezTo>
                      <a:pt x="2420865" y="1087857"/>
                      <a:pt x="1645911" y="312903"/>
                      <a:pt x="1618479" y="285471"/>
                    </a:cubicBezTo>
                    <a:cubicBezTo>
                      <a:pt x="1254994" y="-78015"/>
                      <a:pt x="528057" y="-57429"/>
                      <a:pt x="205731" y="141458"/>
                    </a:cubicBezTo>
                    <a:cubicBezTo>
                      <a:pt x="116566" y="196332"/>
                      <a:pt x="157734" y="333494"/>
                      <a:pt x="260604" y="333494"/>
                    </a:cubicBezTo>
                    <a:cubicBezTo>
                      <a:pt x="678936" y="354077"/>
                      <a:pt x="932688" y="648956"/>
                      <a:pt x="1145286" y="902719"/>
                    </a:cubicBezTo>
                    <a:lnTo>
                      <a:pt x="0" y="2041147"/>
                    </a:lnTo>
                    <a:lnTo>
                      <a:pt x="459475" y="2500622"/>
                    </a:lnTo>
                    <a:lnTo>
                      <a:pt x="1563613" y="1396484"/>
                    </a:lnTo>
                    <a:lnTo>
                      <a:pt x="1824228" y="1691389"/>
                    </a:lnTo>
                    <a:lnTo>
                      <a:pt x="1762501" y="1753117"/>
                    </a:lnTo>
                    <a:cubicBezTo>
                      <a:pt x="1721357" y="1794261"/>
                      <a:pt x="1721357" y="1855987"/>
                      <a:pt x="1762501" y="1897129"/>
                    </a:cubicBezTo>
                    <a:lnTo>
                      <a:pt x="2125986" y="2260615"/>
                    </a:lnTo>
                    <a:cubicBezTo>
                      <a:pt x="2167129" y="2301758"/>
                      <a:pt x="2228856" y="2301758"/>
                      <a:pt x="2269999" y="2260615"/>
                    </a:cubicBezTo>
                    <a:lnTo>
                      <a:pt x="2983230" y="1547383"/>
                    </a:lnTo>
                    <a:cubicBezTo>
                      <a:pt x="3017520" y="1506217"/>
                      <a:pt x="3017520" y="1437638"/>
                      <a:pt x="2983230" y="1396495"/>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19" name="Freeform: Shape 18">
                <a:extLst>
                  <a:ext uri="{FF2B5EF4-FFF2-40B4-BE49-F238E27FC236}">
                    <a16:creationId xmlns:a16="http://schemas.microsoft.com/office/drawing/2014/main" id="{E805D6E0-099C-46E2-970C-9F2E4AD8BCA1}"/>
                  </a:ext>
                </a:extLst>
              </p:cNvPr>
              <p:cNvSpPr/>
              <p:nvPr/>
            </p:nvSpPr>
            <p:spPr>
              <a:xfrm>
                <a:off x="3030206" y="370331"/>
                <a:ext cx="6099335" cy="6110496"/>
              </a:xfrm>
              <a:custGeom>
                <a:avLst/>
                <a:gdLst>
                  <a:gd name="connsiteX0" fmla="*/ 4732287 w 6099335"/>
                  <a:gd name="connsiteY0" fmla="*/ 3902203 h 6110496"/>
                  <a:gd name="connsiteX1" fmla="*/ 2208543 w 6099335"/>
                  <a:gd name="connsiteY1" fmla="*/ 1378459 h 6110496"/>
                  <a:gd name="connsiteX2" fmla="*/ 1913638 w 6099335"/>
                  <a:gd name="connsiteY2" fmla="*/ 329185 h 6110496"/>
                  <a:gd name="connsiteX3" fmla="*/ 706630 w 6099335"/>
                  <a:gd name="connsiteY3" fmla="*/ 82303 h 6110496"/>
                  <a:gd name="connsiteX4" fmla="*/ 1268974 w 6099335"/>
                  <a:gd name="connsiteY4" fmla="*/ 644647 h 6110496"/>
                  <a:gd name="connsiteX5" fmla="*/ 1268974 w 6099335"/>
                  <a:gd name="connsiteY5" fmla="*/ 1268725 h 6110496"/>
                  <a:gd name="connsiteX6" fmla="*/ 644896 w 6099335"/>
                  <a:gd name="connsiteY6" fmla="*/ 1268725 h 6110496"/>
                  <a:gd name="connsiteX7" fmla="*/ 82552 w 6099335"/>
                  <a:gd name="connsiteY7" fmla="*/ 706381 h 6110496"/>
                  <a:gd name="connsiteX8" fmla="*/ 322582 w 6099335"/>
                  <a:gd name="connsiteY8" fmla="*/ 1913389 h 6110496"/>
                  <a:gd name="connsiteX9" fmla="*/ 1371856 w 6099335"/>
                  <a:gd name="connsiteY9" fmla="*/ 2208294 h 6110496"/>
                  <a:gd name="connsiteX10" fmla="*/ 3895600 w 6099335"/>
                  <a:gd name="connsiteY10" fmla="*/ 4732038 h 6110496"/>
                  <a:gd name="connsiteX11" fmla="*/ 4190505 w 6099335"/>
                  <a:gd name="connsiteY11" fmla="*/ 5781312 h 6110496"/>
                  <a:gd name="connsiteX12" fmla="*/ 5397513 w 6099335"/>
                  <a:gd name="connsiteY12" fmla="*/ 6028195 h 6110496"/>
                  <a:gd name="connsiteX13" fmla="*/ 4835169 w 6099335"/>
                  <a:gd name="connsiteY13" fmla="*/ 5465850 h 6110496"/>
                  <a:gd name="connsiteX14" fmla="*/ 4835169 w 6099335"/>
                  <a:gd name="connsiteY14" fmla="*/ 4841772 h 6110496"/>
                  <a:gd name="connsiteX15" fmla="*/ 5459247 w 6099335"/>
                  <a:gd name="connsiteY15" fmla="*/ 4841772 h 6110496"/>
                  <a:gd name="connsiteX16" fmla="*/ 6021591 w 6099335"/>
                  <a:gd name="connsiteY16" fmla="*/ 5404116 h 6110496"/>
                  <a:gd name="connsiteX17" fmla="*/ 5774709 w 6099335"/>
                  <a:gd name="connsiteY17" fmla="*/ 4197109 h 6110496"/>
                  <a:gd name="connsiteX18" fmla="*/ 4732293 w 6099335"/>
                  <a:gd name="connsiteY18" fmla="*/ 3902186 h 6110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9335" h="6110496">
                    <a:moveTo>
                      <a:pt x="4732287" y="3902203"/>
                    </a:moveTo>
                    <a:lnTo>
                      <a:pt x="2208543" y="1378459"/>
                    </a:lnTo>
                    <a:cubicBezTo>
                      <a:pt x="2297709" y="1014973"/>
                      <a:pt x="2194836" y="617221"/>
                      <a:pt x="1913638" y="329185"/>
                    </a:cubicBezTo>
                    <a:cubicBezTo>
                      <a:pt x="1584442" y="-11"/>
                      <a:pt x="1111252" y="-82295"/>
                      <a:pt x="706630" y="82303"/>
                    </a:cubicBezTo>
                    <a:lnTo>
                      <a:pt x="1268974" y="644647"/>
                    </a:lnTo>
                    <a:cubicBezTo>
                      <a:pt x="1440424" y="816097"/>
                      <a:pt x="1440424" y="1097270"/>
                      <a:pt x="1268974" y="1268725"/>
                    </a:cubicBezTo>
                    <a:cubicBezTo>
                      <a:pt x="1097524" y="1440181"/>
                      <a:pt x="816352" y="1440175"/>
                      <a:pt x="644896" y="1268725"/>
                    </a:cubicBezTo>
                    <a:lnTo>
                      <a:pt x="82552" y="706381"/>
                    </a:lnTo>
                    <a:cubicBezTo>
                      <a:pt x="-82046" y="1111008"/>
                      <a:pt x="267" y="1591063"/>
                      <a:pt x="322582" y="1913389"/>
                    </a:cubicBezTo>
                    <a:cubicBezTo>
                      <a:pt x="610606" y="2201413"/>
                      <a:pt x="1008382" y="2297431"/>
                      <a:pt x="1371856" y="2208294"/>
                    </a:cubicBezTo>
                    <a:lnTo>
                      <a:pt x="3895600" y="4732038"/>
                    </a:lnTo>
                    <a:cubicBezTo>
                      <a:pt x="3806435" y="5095524"/>
                      <a:pt x="3909307" y="5500134"/>
                      <a:pt x="4190505" y="5781312"/>
                    </a:cubicBezTo>
                    <a:cubicBezTo>
                      <a:pt x="4519701" y="6110508"/>
                      <a:pt x="4992892" y="6192792"/>
                      <a:pt x="5397513" y="6028195"/>
                    </a:cubicBezTo>
                    <a:lnTo>
                      <a:pt x="4835169" y="5465850"/>
                    </a:lnTo>
                    <a:cubicBezTo>
                      <a:pt x="4663719" y="5294400"/>
                      <a:pt x="4663719" y="5013228"/>
                      <a:pt x="4835169" y="4841772"/>
                    </a:cubicBezTo>
                    <a:cubicBezTo>
                      <a:pt x="5006619" y="4670316"/>
                      <a:pt x="5287791" y="4670322"/>
                      <a:pt x="5459247" y="4841772"/>
                    </a:cubicBezTo>
                    <a:lnTo>
                      <a:pt x="6021591" y="5404116"/>
                    </a:lnTo>
                    <a:cubicBezTo>
                      <a:pt x="6179337" y="4999489"/>
                      <a:pt x="6097024" y="4519434"/>
                      <a:pt x="5774709" y="4197109"/>
                    </a:cubicBezTo>
                    <a:cubicBezTo>
                      <a:pt x="5500366" y="3915890"/>
                      <a:pt x="5095767" y="3813020"/>
                      <a:pt x="4732293" y="3902186"/>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grpSp>
      <p:sp>
        <p:nvSpPr>
          <p:cNvPr id="69" name="Graphic 18">
            <a:extLst>
              <a:ext uri="{FF2B5EF4-FFF2-40B4-BE49-F238E27FC236}">
                <a16:creationId xmlns:a16="http://schemas.microsoft.com/office/drawing/2014/main" id="{2AF0E132-D6FC-E2B0-9040-AFD416584DD2}"/>
              </a:ext>
            </a:extLst>
          </p:cNvPr>
          <p:cNvSpPr/>
          <p:nvPr/>
        </p:nvSpPr>
        <p:spPr>
          <a:xfrm>
            <a:off x="2015550" y="3839043"/>
            <a:ext cx="470554" cy="543380"/>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accent1"/>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grpSp>
        <p:nvGrpSpPr>
          <p:cNvPr id="138" name="Group 137">
            <a:extLst>
              <a:ext uri="{FF2B5EF4-FFF2-40B4-BE49-F238E27FC236}">
                <a16:creationId xmlns:a16="http://schemas.microsoft.com/office/drawing/2014/main" id="{45309144-0631-54C1-AD7B-BC1AAC01B715}"/>
              </a:ext>
            </a:extLst>
          </p:cNvPr>
          <p:cNvGrpSpPr/>
          <p:nvPr/>
        </p:nvGrpSpPr>
        <p:grpSpPr>
          <a:xfrm>
            <a:off x="8507193" y="1415890"/>
            <a:ext cx="470554" cy="543380"/>
            <a:chOff x="1081245" y="1456712"/>
            <a:chExt cx="470554" cy="543380"/>
          </a:xfrm>
        </p:grpSpPr>
        <p:sp>
          <p:nvSpPr>
            <p:cNvPr id="139" name="Graphic 18">
              <a:extLst>
                <a:ext uri="{FF2B5EF4-FFF2-40B4-BE49-F238E27FC236}">
                  <a16:creationId xmlns:a16="http://schemas.microsoft.com/office/drawing/2014/main" id="{B7AB3B8E-5369-202D-C704-760717819D62}"/>
                </a:ext>
              </a:extLst>
            </p:cNvPr>
            <p:cNvSpPr/>
            <p:nvPr/>
          </p:nvSpPr>
          <p:spPr>
            <a:xfrm>
              <a:off x="1081245" y="1456712"/>
              <a:ext cx="470554" cy="543380"/>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grpSp>
          <p:nvGrpSpPr>
            <p:cNvPr id="140" name="Graphic 6">
              <a:extLst>
                <a:ext uri="{FF2B5EF4-FFF2-40B4-BE49-F238E27FC236}">
                  <a16:creationId xmlns:a16="http://schemas.microsoft.com/office/drawing/2014/main" id="{C3A0F61C-2CC1-2259-FB2D-7E8C4DCBB58E}"/>
                </a:ext>
              </a:extLst>
            </p:cNvPr>
            <p:cNvGrpSpPr/>
            <p:nvPr/>
          </p:nvGrpSpPr>
          <p:grpSpPr>
            <a:xfrm>
              <a:off x="1131983" y="1590797"/>
              <a:ext cx="369077" cy="302380"/>
              <a:chOff x="2666882" y="619725"/>
              <a:chExt cx="6858117" cy="5618768"/>
            </a:xfrm>
            <a:solidFill>
              <a:schemeClr val="bg1"/>
            </a:solidFill>
          </p:grpSpPr>
          <p:sp>
            <p:nvSpPr>
              <p:cNvPr id="141" name="Freeform: Shape 140">
                <a:extLst>
                  <a:ext uri="{FF2B5EF4-FFF2-40B4-BE49-F238E27FC236}">
                    <a16:creationId xmlns:a16="http://schemas.microsoft.com/office/drawing/2014/main" id="{8A7D1FEF-8525-4B2C-EC19-8C5D6611CD5F}"/>
                  </a:ext>
                </a:extLst>
              </p:cNvPr>
              <p:cNvSpPr/>
              <p:nvPr/>
            </p:nvSpPr>
            <p:spPr>
              <a:xfrm>
                <a:off x="3906277" y="619725"/>
                <a:ext cx="5618722" cy="5618768"/>
              </a:xfrm>
              <a:custGeom>
                <a:avLst/>
                <a:gdLst>
                  <a:gd name="connsiteX0" fmla="*/ 2991252 w 5618722"/>
                  <a:gd name="connsiteY0" fmla="*/ 5618769 h 5618768"/>
                  <a:gd name="connsiteX1" fmla="*/ 2657998 w 5618722"/>
                  <a:gd name="connsiteY1" fmla="*/ 5480534 h 5618768"/>
                  <a:gd name="connsiteX2" fmla="*/ 30527 w 5618722"/>
                  <a:gd name="connsiteY2" fmla="*/ 2851977 h 5618768"/>
                  <a:gd name="connsiteX3" fmla="*/ 523 w 5618722"/>
                  <a:gd name="connsiteY3" fmla="*/ 2768395 h 5618768"/>
                  <a:gd name="connsiteX4" fmla="*/ 229838 w 5618722"/>
                  <a:gd name="connsiteY4" fmla="*/ 323061 h 5618768"/>
                  <a:gd name="connsiteX5" fmla="*/ 323061 w 5618722"/>
                  <a:gd name="connsiteY5" fmla="*/ 229838 h 5618768"/>
                  <a:gd name="connsiteX6" fmla="*/ 2769424 w 5618722"/>
                  <a:gd name="connsiteY6" fmla="*/ 523 h 5618768"/>
                  <a:gd name="connsiteX7" fmla="*/ 2853006 w 5618722"/>
                  <a:gd name="connsiteY7" fmla="*/ 30527 h 5618768"/>
                  <a:gd name="connsiteX8" fmla="*/ 5481563 w 5618722"/>
                  <a:gd name="connsiteY8" fmla="*/ 2659084 h 5618768"/>
                  <a:gd name="connsiteX9" fmla="*/ 5618723 w 5618722"/>
                  <a:gd name="connsiteY9" fmla="*/ 2991269 h 5618768"/>
                  <a:gd name="connsiteX10" fmla="*/ 5480489 w 5618722"/>
                  <a:gd name="connsiteY10" fmla="*/ 3324522 h 5618768"/>
                  <a:gd name="connsiteX11" fmla="*/ 3324505 w 5618722"/>
                  <a:gd name="connsiteY11" fmla="*/ 5480506 h 5618768"/>
                  <a:gd name="connsiteX12" fmla="*/ 2991252 w 5618722"/>
                  <a:gd name="connsiteY12" fmla="*/ 5618740 h 5618768"/>
                  <a:gd name="connsiteX13" fmla="*/ 211590 w 5618722"/>
                  <a:gd name="connsiteY13" fmla="*/ 2739494 h 5618768"/>
                  <a:gd name="connsiteX14" fmla="*/ 2804771 w 5618722"/>
                  <a:gd name="connsiteY14" fmla="*/ 5333762 h 5618768"/>
                  <a:gd name="connsiteX15" fmla="*/ 3176601 w 5618722"/>
                  <a:gd name="connsiteY15" fmla="*/ 5333762 h 5618768"/>
                  <a:gd name="connsiteX16" fmla="*/ 5332584 w 5618722"/>
                  <a:gd name="connsiteY16" fmla="*/ 3177778 h 5618768"/>
                  <a:gd name="connsiteX17" fmla="*/ 5409737 w 5618722"/>
                  <a:gd name="connsiteY17" fmla="*/ 2991326 h 5618768"/>
                  <a:gd name="connsiteX18" fmla="*/ 5332584 w 5618722"/>
                  <a:gd name="connsiteY18" fmla="*/ 2804874 h 5618768"/>
                  <a:gd name="connsiteX19" fmla="*/ 2739403 w 5618722"/>
                  <a:gd name="connsiteY19" fmla="*/ 211693 h 5618768"/>
                  <a:gd name="connsiteX20" fmla="*/ 428028 w 5618722"/>
                  <a:gd name="connsiteY20" fmla="*/ 428148 h 5618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18722" h="5618768">
                    <a:moveTo>
                      <a:pt x="2991252" y="5618769"/>
                    </a:moveTo>
                    <a:cubicBezTo>
                      <a:pt x="2865876" y="5618769"/>
                      <a:pt x="2746935" y="5569477"/>
                      <a:pt x="2657998" y="5480534"/>
                    </a:cubicBezTo>
                    <a:lnTo>
                      <a:pt x="30527" y="2851977"/>
                    </a:lnTo>
                    <a:cubicBezTo>
                      <a:pt x="9096" y="2830546"/>
                      <a:pt x="-2691" y="2799470"/>
                      <a:pt x="523" y="2768395"/>
                    </a:cubicBezTo>
                    <a:lnTo>
                      <a:pt x="229838" y="323061"/>
                    </a:lnTo>
                    <a:cubicBezTo>
                      <a:pt x="234124" y="273769"/>
                      <a:pt x="273772" y="234124"/>
                      <a:pt x="323061" y="229838"/>
                    </a:cubicBezTo>
                    <a:lnTo>
                      <a:pt x="2769424" y="523"/>
                    </a:lnTo>
                    <a:cubicBezTo>
                      <a:pt x="2800499" y="-2691"/>
                      <a:pt x="2830506" y="9096"/>
                      <a:pt x="2853006" y="30527"/>
                    </a:cubicBezTo>
                    <a:lnTo>
                      <a:pt x="5481563" y="2659084"/>
                    </a:lnTo>
                    <a:cubicBezTo>
                      <a:pt x="5569431" y="2746952"/>
                      <a:pt x="5618723" y="2865899"/>
                      <a:pt x="5618723" y="2991269"/>
                    </a:cubicBezTo>
                    <a:cubicBezTo>
                      <a:pt x="5618723" y="3116639"/>
                      <a:pt x="5569431" y="3235585"/>
                      <a:pt x="5480489" y="3324522"/>
                    </a:cubicBezTo>
                    <a:lnTo>
                      <a:pt x="3324505" y="5480506"/>
                    </a:lnTo>
                    <a:cubicBezTo>
                      <a:pt x="3235568" y="5569443"/>
                      <a:pt x="3117690" y="5618740"/>
                      <a:pt x="2991252" y="5618740"/>
                    </a:cubicBezTo>
                    <a:close/>
                    <a:moveTo>
                      <a:pt x="211590" y="2739494"/>
                    </a:moveTo>
                    <a:lnTo>
                      <a:pt x="2804771" y="5333762"/>
                    </a:lnTo>
                    <a:cubicBezTo>
                      <a:pt x="2907641" y="5436632"/>
                      <a:pt x="3074805" y="5436632"/>
                      <a:pt x="3176601" y="5333762"/>
                    </a:cubicBezTo>
                    <a:lnTo>
                      <a:pt x="5332584" y="3177778"/>
                    </a:lnTo>
                    <a:cubicBezTo>
                      <a:pt x="5381876" y="3128486"/>
                      <a:pt x="5409737" y="3062049"/>
                      <a:pt x="5409737" y="2991326"/>
                    </a:cubicBezTo>
                    <a:cubicBezTo>
                      <a:pt x="5409737" y="2920603"/>
                      <a:pt x="5381876" y="2855241"/>
                      <a:pt x="5332584" y="2804874"/>
                    </a:cubicBezTo>
                    <a:lnTo>
                      <a:pt x="2739403" y="211693"/>
                    </a:lnTo>
                    <a:lnTo>
                      <a:pt x="428028" y="428148"/>
                    </a:ln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142" name="Freeform: Shape 141">
                <a:extLst>
                  <a:ext uri="{FF2B5EF4-FFF2-40B4-BE49-F238E27FC236}">
                    <a16:creationId xmlns:a16="http://schemas.microsoft.com/office/drawing/2014/main" id="{DF0E7817-F3FF-FC1E-30E5-C201E2A39D14}"/>
                  </a:ext>
                </a:extLst>
              </p:cNvPr>
              <p:cNvSpPr/>
              <p:nvPr/>
            </p:nvSpPr>
            <p:spPr>
              <a:xfrm>
                <a:off x="4685806" y="1398403"/>
                <a:ext cx="1277285" cy="1276233"/>
              </a:xfrm>
              <a:custGeom>
                <a:avLst/>
                <a:gdLst>
                  <a:gd name="connsiteX0" fmla="*/ 637583 w 1277285"/>
                  <a:gd name="connsiteY0" fmla="*/ 1276217 h 1276233"/>
                  <a:gd name="connsiteX1" fmla="*/ 186452 w 1277285"/>
                  <a:gd name="connsiteY1" fmla="*/ 1089765 h 1276233"/>
                  <a:gd name="connsiteX2" fmla="*/ 186452 w 1277285"/>
                  <a:gd name="connsiteY2" fmla="*/ 186452 h 1276233"/>
                  <a:gd name="connsiteX3" fmla="*/ 1089765 w 1277285"/>
                  <a:gd name="connsiteY3" fmla="*/ 186452 h 1276233"/>
                  <a:gd name="connsiteX4" fmla="*/ 1277285 w 1277285"/>
                  <a:gd name="connsiteY4" fmla="*/ 637583 h 1276233"/>
                  <a:gd name="connsiteX5" fmla="*/ 1089765 w 1277285"/>
                  <a:gd name="connsiteY5" fmla="*/ 1088713 h 1276233"/>
                  <a:gd name="connsiteX6" fmla="*/ 637565 w 1277285"/>
                  <a:gd name="connsiteY6" fmla="*/ 1276234 h 1276233"/>
                  <a:gd name="connsiteX7" fmla="*/ 637583 w 1277285"/>
                  <a:gd name="connsiteY7" fmla="*/ 207855 h 1276233"/>
                  <a:gd name="connsiteX8" fmla="*/ 333259 w 1277285"/>
                  <a:gd name="connsiteY8" fmla="*/ 334299 h 1276233"/>
                  <a:gd name="connsiteX9" fmla="*/ 333259 w 1277285"/>
                  <a:gd name="connsiteY9" fmla="*/ 944032 h 1276233"/>
                  <a:gd name="connsiteX10" fmla="*/ 942992 w 1277285"/>
                  <a:gd name="connsiteY10" fmla="*/ 944032 h 1276233"/>
                  <a:gd name="connsiteX11" fmla="*/ 1069437 w 1277285"/>
                  <a:gd name="connsiteY11" fmla="*/ 639709 h 1276233"/>
                  <a:gd name="connsiteX12" fmla="*/ 942992 w 1277285"/>
                  <a:gd name="connsiteY12" fmla="*/ 335385 h 1276233"/>
                  <a:gd name="connsiteX13" fmla="*/ 637594 w 1277285"/>
                  <a:gd name="connsiteY13" fmla="*/ 207872 h 1276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77285" h="1276233">
                    <a:moveTo>
                      <a:pt x="637583" y="1276217"/>
                    </a:moveTo>
                    <a:cubicBezTo>
                      <a:pt x="473631" y="1276217"/>
                      <a:pt x="310753" y="1214066"/>
                      <a:pt x="186452" y="1089765"/>
                    </a:cubicBezTo>
                    <a:cubicBezTo>
                      <a:pt x="-62151" y="841162"/>
                      <a:pt x="-62151" y="435054"/>
                      <a:pt x="186452" y="186452"/>
                    </a:cubicBezTo>
                    <a:cubicBezTo>
                      <a:pt x="435054" y="-62151"/>
                      <a:pt x="841162" y="-62151"/>
                      <a:pt x="1089765" y="186452"/>
                    </a:cubicBezTo>
                    <a:cubicBezTo>
                      <a:pt x="1210854" y="307541"/>
                      <a:pt x="1277285" y="467201"/>
                      <a:pt x="1277285" y="637583"/>
                    </a:cubicBezTo>
                    <a:cubicBezTo>
                      <a:pt x="1277285" y="807964"/>
                      <a:pt x="1210849" y="968698"/>
                      <a:pt x="1089765" y="1088713"/>
                    </a:cubicBezTo>
                    <a:cubicBezTo>
                      <a:pt x="964389" y="1214089"/>
                      <a:pt x="800443" y="1276234"/>
                      <a:pt x="637565" y="1276234"/>
                    </a:cubicBezTo>
                    <a:close/>
                    <a:moveTo>
                      <a:pt x="637583" y="207855"/>
                    </a:moveTo>
                    <a:cubicBezTo>
                      <a:pt x="527214" y="207855"/>
                      <a:pt x="416841" y="249645"/>
                      <a:pt x="333259" y="334299"/>
                    </a:cubicBezTo>
                    <a:cubicBezTo>
                      <a:pt x="165021" y="502537"/>
                      <a:pt x="165021" y="775783"/>
                      <a:pt x="333259" y="944032"/>
                    </a:cubicBezTo>
                    <a:cubicBezTo>
                      <a:pt x="501497" y="1112282"/>
                      <a:pt x="774743" y="1112270"/>
                      <a:pt x="942992" y="944032"/>
                    </a:cubicBezTo>
                    <a:cubicBezTo>
                      <a:pt x="1024431" y="862594"/>
                      <a:pt x="1069437" y="754363"/>
                      <a:pt x="1069437" y="639709"/>
                    </a:cubicBezTo>
                    <a:cubicBezTo>
                      <a:pt x="1069437" y="525054"/>
                      <a:pt x="1024431" y="416824"/>
                      <a:pt x="942992" y="335385"/>
                    </a:cubicBezTo>
                    <a:cubicBezTo>
                      <a:pt x="858341" y="249660"/>
                      <a:pt x="746899" y="207872"/>
                      <a:pt x="637594" y="207872"/>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143" name="Freeform: Shape 142">
                <a:extLst>
                  <a:ext uri="{FF2B5EF4-FFF2-40B4-BE49-F238E27FC236}">
                    <a16:creationId xmlns:a16="http://schemas.microsoft.com/office/drawing/2014/main" id="{87DC318F-1E55-39B6-C3D8-4E29C9A948B8}"/>
                  </a:ext>
                </a:extLst>
              </p:cNvPr>
              <p:cNvSpPr/>
              <p:nvPr/>
            </p:nvSpPr>
            <p:spPr>
              <a:xfrm>
                <a:off x="2666882" y="1491508"/>
                <a:ext cx="2760144" cy="987044"/>
              </a:xfrm>
              <a:custGeom>
                <a:avLst/>
                <a:gdLst>
                  <a:gd name="connsiteX0" fmla="*/ 1622492 w 2760144"/>
                  <a:gd name="connsiteY0" fmla="*/ 987030 h 987044"/>
                  <a:gd name="connsiteX1" fmla="*/ 26921 w 2760144"/>
                  <a:gd name="connsiteY1" fmla="*/ 173728 h 987044"/>
                  <a:gd name="connsiteX2" fmla="*/ 34422 w 2760144"/>
                  <a:gd name="connsiteY2" fmla="*/ 26921 h 987044"/>
                  <a:gd name="connsiteX3" fmla="*/ 181229 w 2760144"/>
                  <a:gd name="connsiteY3" fmla="*/ 34422 h 987044"/>
                  <a:gd name="connsiteX4" fmla="*/ 2591187 w 2760144"/>
                  <a:gd name="connsiteY4" fmla="*/ 465190 h 987044"/>
                  <a:gd name="connsiteX5" fmla="*/ 2736920 w 2760144"/>
                  <a:gd name="connsiteY5" fmla="*/ 480192 h 987044"/>
                  <a:gd name="connsiteX6" fmla="*/ 2721918 w 2760144"/>
                  <a:gd name="connsiteY6" fmla="*/ 625925 h 987044"/>
                  <a:gd name="connsiteX7" fmla="*/ 1622466 w 2760144"/>
                  <a:gd name="connsiteY7" fmla="*/ 987044 h 987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0144" h="987044">
                    <a:moveTo>
                      <a:pt x="1622492" y="987030"/>
                    </a:moveTo>
                    <a:cubicBezTo>
                      <a:pt x="1160651" y="987030"/>
                      <a:pt x="598078" y="803795"/>
                      <a:pt x="26921" y="173728"/>
                    </a:cubicBezTo>
                    <a:cubicBezTo>
                      <a:pt x="-11655" y="130866"/>
                      <a:pt x="-8440" y="65497"/>
                      <a:pt x="34422" y="26921"/>
                    </a:cubicBezTo>
                    <a:cubicBezTo>
                      <a:pt x="77285" y="-11655"/>
                      <a:pt x="142653" y="-8440"/>
                      <a:pt x="181229" y="34422"/>
                    </a:cubicBezTo>
                    <a:cubicBezTo>
                      <a:pt x="1411383" y="1391049"/>
                      <a:pt x="2542953" y="502698"/>
                      <a:pt x="2591187" y="465190"/>
                    </a:cubicBezTo>
                    <a:cubicBezTo>
                      <a:pt x="2636193" y="428757"/>
                      <a:pt x="2701556" y="436258"/>
                      <a:pt x="2736920" y="480192"/>
                    </a:cubicBezTo>
                    <a:cubicBezTo>
                      <a:pt x="2773353" y="524126"/>
                      <a:pt x="2765852" y="589492"/>
                      <a:pt x="2721918" y="625925"/>
                    </a:cubicBezTo>
                    <a:cubicBezTo>
                      <a:pt x="2714417" y="632354"/>
                      <a:pt x="2265432" y="987044"/>
                      <a:pt x="1622466" y="987044"/>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grpSp>
      <p:grpSp>
        <p:nvGrpSpPr>
          <p:cNvPr id="144" name="Group 143">
            <a:extLst>
              <a:ext uri="{FF2B5EF4-FFF2-40B4-BE49-F238E27FC236}">
                <a16:creationId xmlns:a16="http://schemas.microsoft.com/office/drawing/2014/main" id="{82B00D50-4516-C783-DBBF-A0C59540BD22}"/>
              </a:ext>
            </a:extLst>
          </p:cNvPr>
          <p:cNvGrpSpPr/>
          <p:nvPr/>
        </p:nvGrpSpPr>
        <p:grpSpPr>
          <a:xfrm>
            <a:off x="7658705" y="3839043"/>
            <a:ext cx="470554" cy="543380"/>
            <a:chOff x="6377669" y="3839043"/>
            <a:chExt cx="470554" cy="543380"/>
          </a:xfrm>
        </p:grpSpPr>
        <p:sp>
          <p:nvSpPr>
            <p:cNvPr id="145" name="Graphic 18">
              <a:extLst>
                <a:ext uri="{FF2B5EF4-FFF2-40B4-BE49-F238E27FC236}">
                  <a16:creationId xmlns:a16="http://schemas.microsoft.com/office/drawing/2014/main" id="{6A9F851A-594C-2774-ACA0-D956CAEE79D9}"/>
                </a:ext>
              </a:extLst>
            </p:cNvPr>
            <p:cNvSpPr/>
            <p:nvPr/>
          </p:nvSpPr>
          <p:spPr>
            <a:xfrm>
              <a:off x="6377669" y="3839043"/>
              <a:ext cx="470554" cy="543380"/>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pic>
          <p:nvPicPr>
            <p:cNvPr id="146" name="Graphic 145">
              <a:extLst>
                <a:ext uri="{FF2B5EF4-FFF2-40B4-BE49-F238E27FC236}">
                  <a16:creationId xmlns:a16="http://schemas.microsoft.com/office/drawing/2014/main" id="{13DDC3F1-7C69-52F5-4666-0F97EA48451C}"/>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457475" y="3961976"/>
              <a:ext cx="328423" cy="299997"/>
            </a:xfrm>
            <a:prstGeom prst="rect">
              <a:avLst/>
            </a:prstGeom>
          </p:spPr>
        </p:pic>
      </p:grpSp>
      <p:sp>
        <p:nvSpPr>
          <p:cNvPr id="232" name="Rectangle 231">
            <a:extLst>
              <a:ext uri="{FF2B5EF4-FFF2-40B4-BE49-F238E27FC236}">
                <a16:creationId xmlns:a16="http://schemas.microsoft.com/office/drawing/2014/main" id="{869489AF-7BAF-AFE3-CD28-DC4374273B61}"/>
              </a:ext>
            </a:extLst>
          </p:cNvPr>
          <p:cNvSpPr/>
          <p:nvPr/>
        </p:nvSpPr>
        <p:spPr>
          <a:xfrm>
            <a:off x="515937" y="5455816"/>
            <a:ext cx="8246031" cy="8797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Roboto"/>
              <a:ea typeface="+mn-ea"/>
              <a:cs typeface="+mn-cs"/>
            </a:endParaRPr>
          </a:p>
        </p:txBody>
      </p:sp>
      <p:pic>
        <p:nvPicPr>
          <p:cNvPr id="3" name="Graphic 2">
            <a:extLst>
              <a:ext uri="{FF2B5EF4-FFF2-40B4-BE49-F238E27FC236}">
                <a16:creationId xmlns:a16="http://schemas.microsoft.com/office/drawing/2014/main" id="{08410790-C5BE-21AC-E797-301AB8C9C7BF}"/>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079344" y="3944868"/>
            <a:ext cx="342965" cy="342403"/>
          </a:xfrm>
          <a:prstGeom prst="rect">
            <a:avLst/>
          </a:prstGeom>
        </p:spPr>
      </p:pic>
      <p:grpSp>
        <p:nvGrpSpPr>
          <p:cNvPr id="106" name="Group 105">
            <a:extLst>
              <a:ext uri="{FF2B5EF4-FFF2-40B4-BE49-F238E27FC236}">
                <a16:creationId xmlns:a16="http://schemas.microsoft.com/office/drawing/2014/main" id="{14FDADC5-8FCA-F170-EFBB-6D57523AA7CF}"/>
              </a:ext>
            </a:extLst>
          </p:cNvPr>
          <p:cNvGrpSpPr/>
          <p:nvPr/>
        </p:nvGrpSpPr>
        <p:grpSpPr>
          <a:xfrm>
            <a:off x="685017" y="5481832"/>
            <a:ext cx="7881543" cy="923218"/>
            <a:chOff x="610942" y="6524625"/>
            <a:chExt cx="7881543" cy="923218"/>
          </a:xfrm>
        </p:grpSpPr>
        <p:grpSp>
          <p:nvGrpSpPr>
            <p:cNvPr id="102" name="Group 101">
              <a:extLst>
                <a:ext uri="{FF2B5EF4-FFF2-40B4-BE49-F238E27FC236}">
                  <a16:creationId xmlns:a16="http://schemas.microsoft.com/office/drawing/2014/main" id="{F533A74A-AB6C-2E54-67E0-B02B419E2F88}"/>
                </a:ext>
              </a:extLst>
            </p:cNvPr>
            <p:cNvGrpSpPr/>
            <p:nvPr/>
          </p:nvGrpSpPr>
          <p:grpSpPr>
            <a:xfrm>
              <a:off x="2192611" y="7052723"/>
              <a:ext cx="1528517" cy="392652"/>
              <a:chOff x="3804284" y="5922358"/>
              <a:chExt cx="1528517" cy="392652"/>
            </a:xfrm>
          </p:grpSpPr>
          <p:sp>
            <p:nvSpPr>
              <p:cNvPr id="236" name="Rectangle 235">
                <a:extLst>
                  <a:ext uri="{FF2B5EF4-FFF2-40B4-BE49-F238E27FC236}">
                    <a16:creationId xmlns:a16="http://schemas.microsoft.com/office/drawing/2014/main" id="{A279844D-B5D6-881D-5352-14B4DDB6F4F9}"/>
                  </a:ext>
                </a:extLst>
              </p:cNvPr>
              <p:cNvSpPr/>
              <p:nvPr/>
            </p:nvSpPr>
            <p:spPr>
              <a:xfrm>
                <a:off x="4193808" y="5960556"/>
                <a:ext cx="1138993" cy="3162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Roboto"/>
                    <a:ea typeface="+mn-ea"/>
                    <a:cs typeface="+mn-cs"/>
                  </a:rPr>
                  <a:t>Tool Hire growth</a:t>
                </a:r>
              </a:p>
            </p:txBody>
          </p:sp>
          <p:grpSp>
            <p:nvGrpSpPr>
              <p:cNvPr id="237" name="Group 236">
                <a:extLst>
                  <a:ext uri="{FF2B5EF4-FFF2-40B4-BE49-F238E27FC236}">
                    <a16:creationId xmlns:a16="http://schemas.microsoft.com/office/drawing/2014/main" id="{18349C0C-DE4A-A403-8AF2-BCD786905DDD}"/>
                  </a:ext>
                </a:extLst>
              </p:cNvPr>
              <p:cNvGrpSpPr/>
              <p:nvPr/>
            </p:nvGrpSpPr>
            <p:grpSpPr>
              <a:xfrm>
                <a:off x="3804284" y="5922358"/>
                <a:ext cx="340028" cy="392652"/>
                <a:chOff x="3825947" y="5928323"/>
                <a:chExt cx="296702" cy="342621"/>
              </a:xfrm>
            </p:grpSpPr>
            <p:sp>
              <p:nvSpPr>
                <p:cNvPr id="238" name="Graphic 18">
                  <a:extLst>
                    <a:ext uri="{FF2B5EF4-FFF2-40B4-BE49-F238E27FC236}">
                      <a16:creationId xmlns:a16="http://schemas.microsoft.com/office/drawing/2014/main" id="{D5DB4B4C-D65F-F400-EBAA-9206FB900AAB}"/>
                    </a:ext>
                  </a:extLst>
                </p:cNvPr>
                <p:cNvSpPr/>
                <p:nvPr/>
              </p:nvSpPr>
              <p:spPr>
                <a:xfrm>
                  <a:off x="3825947" y="5928323"/>
                  <a:ext cx="296702" cy="342621"/>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grpSp>
              <p:nvGrpSpPr>
                <p:cNvPr id="239" name="Graphic 12">
                  <a:extLst>
                    <a:ext uri="{FF2B5EF4-FFF2-40B4-BE49-F238E27FC236}">
                      <a16:creationId xmlns:a16="http://schemas.microsoft.com/office/drawing/2014/main" id="{899B4ACF-4D3F-0BE7-9FC3-F77DF157847F}"/>
                    </a:ext>
                  </a:extLst>
                </p:cNvPr>
                <p:cNvGrpSpPr/>
                <p:nvPr/>
              </p:nvGrpSpPr>
              <p:grpSpPr>
                <a:xfrm>
                  <a:off x="3875752" y="6000319"/>
                  <a:ext cx="197093" cy="184902"/>
                  <a:chOff x="2838464" y="370331"/>
                  <a:chExt cx="6513365" cy="6110496"/>
                </a:xfrm>
                <a:solidFill>
                  <a:schemeClr val="bg1"/>
                </a:solidFill>
              </p:grpSpPr>
              <p:sp>
                <p:nvSpPr>
                  <p:cNvPr id="240" name="Freeform: Shape 239">
                    <a:extLst>
                      <a:ext uri="{FF2B5EF4-FFF2-40B4-BE49-F238E27FC236}">
                        <a16:creationId xmlns:a16="http://schemas.microsoft.com/office/drawing/2014/main" id="{DE412C9A-E077-DA28-B7FC-774CB025AF7B}"/>
                      </a:ext>
                    </a:extLst>
                  </p:cNvPr>
                  <p:cNvSpPr/>
                  <p:nvPr/>
                </p:nvSpPr>
                <p:spPr>
                  <a:xfrm>
                    <a:off x="2838464" y="3408414"/>
                    <a:ext cx="3024357" cy="3019229"/>
                  </a:xfrm>
                  <a:custGeom>
                    <a:avLst/>
                    <a:gdLst>
                      <a:gd name="connsiteX0" fmla="*/ 61713 w 3024357"/>
                      <a:gd name="connsiteY0" fmla="*/ 1940825 h 3019229"/>
                      <a:gd name="connsiteX1" fmla="*/ 61713 w 3024357"/>
                      <a:gd name="connsiteY1" fmla="*/ 2228850 h 3019229"/>
                      <a:gd name="connsiteX2" fmla="*/ 795519 w 3024357"/>
                      <a:gd name="connsiteY2" fmla="*/ 2962656 h 3019229"/>
                      <a:gd name="connsiteX3" fmla="*/ 1083544 w 3024357"/>
                      <a:gd name="connsiteY3" fmla="*/ 2962656 h 3019229"/>
                      <a:gd name="connsiteX4" fmla="*/ 3024358 w 3024357"/>
                      <a:gd name="connsiteY4" fmla="*/ 1021842 h 3019229"/>
                      <a:gd name="connsiteX5" fmla="*/ 2002516 w 3024357"/>
                      <a:gd name="connsiteY5" fmla="*/ 0 h 3019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24357" h="3019229">
                        <a:moveTo>
                          <a:pt x="61713" y="1940825"/>
                        </a:moveTo>
                        <a:cubicBezTo>
                          <a:pt x="-20571" y="2016258"/>
                          <a:pt x="-20571" y="2146565"/>
                          <a:pt x="61713" y="2228850"/>
                        </a:cubicBezTo>
                        <a:lnTo>
                          <a:pt x="795519" y="2962656"/>
                        </a:lnTo>
                        <a:cubicBezTo>
                          <a:pt x="870952" y="3038088"/>
                          <a:pt x="1001259" y="3038088"/>
                          <a:pt x="1083544" y="2962656"/>
                        </a:cubicBezTo>
                        <a:lnTo>
                          <a:pt x="3024358" y="1021842"/>
                        </a:lnTo>
                        <a:lnTo>
                          <a:pt x="2002516" y="0"/>
                        </a:ln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241" name="Freeform: Shape 240">
                    <a:extLst>
                      <a:ext uri="{FF2B5EF4-FFF2-40B4-BE49-F238E27FC236}">
                        <a16:creationId xmlns:a16="http://schemas.microsoft.com/office/drawing/2014/main" id="{B259CA5F-7197-03E5-594F-72185735AAD2}"/>
                      </a:ext>
                    </a:extLst>
                  </p:cNvPr>
                  <p:cNvSpPr/>
                  <p:nvPr/>
                </p:nvSpPr>
                <p:spPr>
                  <a:xfrm>
                    <a:off x="6342882" y="427758"/>
                    <a:ext cx="3008947" cy="2500621"/>
                  </a:xfrm>
                  <a:custGeom>
                    <a:avLst/>
                    <a:gdLst>
                      <a:gd name="connsiteX0" fmla="*/ 2983236 w 3008947"/>
                      <a:gd name="connsiteY0" fmla="*/ 1396469 h 2500621"/>
                      <a:gd name="connsiteX1" fmla="*/ 2619751 w 3008947"/>
                      <a:gd name="connsiteY1" fmla="*/ 1032984 h 2500621"/>
                      <a:gd name="connsiteX2" fmla="*/ 2475739 w 3008947"/>
                      <a:gd name="connsiteY2" fmla="*/ 1032984 h 2500621"/>
                      <a:gd name="connsiteX3" fmla="*/ 2420865 w 3008947"/>
                      <a:gd name="connsiteY3" fmla="*/ 1087857 h 2500621"/>
                      <a:gd name="connsiteX4" fmla="*/ 1618479 w 3008947"/>
                      <a:gd name="connsiteY4" fmla="*/ 285471 h 2500621"/>
                      <a:gd name="connsiteX5" fmla="*/ 205731 w 3008947"/>
                      <a:gd name="connsiteY5" fmla="*/ 141458 h 2500621"/>
                      <a:gd name="connsiteX6" fmla="*/ 260604 w 3008947"/>
                      <a:gd name="connsiteY6" fmla="*/ 333494 h 2500621"/>
                      <a:gd name="connsiteX7" fmla="*/ 1145286 w 3008947"/>
                      <a:gd name="connsiteY7" fmla="*/ 902719 h 2500621"/>
                      <a:gd name="connsiteX8" fmla="*/ 0 w 3008947"/>
                      <a:gd name="connsiteY8" fmla="*/ 2041147 h 2500621"/>
                      <a:gd name="connsiteX9" fmla="*/ 459475 w 3008947"/>
                      <a:gd name="connsiteY9" fmla="*/ 2500622 h 2500621"/>
                      <a:gd name="connsiteX10" fmla="*/ 1563613 w 3008947"/>
                      <a:gd name="connsiteY10" fmla="*/ 1396484 h 2500621"/>
                      <a:gd name="connsiteX11" fmla="*/ 1824228 w 3008947"/>
                      <a:gd name="connsiteY11" fmla="*/ 1691389 h 2500621"/>
                      <a:gd name="connsiteX12" fmla="*/ 1762501 w 3008947"/>
                      <a:gd name="connsiteY12" fmla="*/ 1753117 h 2500621"/>
                      <a:gd name="connsiteX13" fmla="*/ 1762501 w 3008947"/>
                      <a:gd name="connsiteY13" fmla="*/ 1897129 h 2500621"/>
                      <a:gd name="connsiteX14" fmla="*/ 2125986 w 3008947"/>
                      <a:gd name="connsiteY14" fmla="*/ 2260615 h 2500621"/>
                      <a:gd name="connsiteX15" fmla="*/ 2269999 w 3008947"/>
                      <a:gd name="connsiteY15" fmla="*/ 2260615 h 2500621"/>
                      <a:gd name="connsiteX16" fmla="*/ 2983230 w 3008947"/>
                      <a:gd name="connsiteY16" fmla="*/ 1547383 h 2500621"/>
                      <a:gd name="connsiteX17" fmla="*/ 2983230 w 3008947"/>
                      <a:gd name="connsiteY17" fmla="*/ 1396495 h 2500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08947" h="2500621">
                        <a:moveTo>
                          <a:pt x="2983236" y="1396469"/>
                        </a:moveTo>
                        <a:lnTo>
                          <a:pt x="2619751" y="1032984"/>
                        </a:lnTo>
                        <a:cubicBezTo>
                          <a:pt x="2578607" y="991840"/>
                          <a:pt x="2516881" y="991840"/>
                          <a:pt x="2475739" y="1032984"/>
                        </a:cubicBezTo>
                        <a:lnTo>
                          <a:pt x="2420865" y="1087857"/>
                        </a:lnTo>
                        <a:cubicBezTo>
                          <a:pt x="2420865" y="1087857"/>
                          <a:pt x="1645911" y="312903"/>
                          <a:pt x="1618479" y="285471"/>
                        </a:cubicBezTo>
                        <a:cubicBezTo>
                          <a:pt x="1254994" y="-78015"/>
                          <a:pt x="528057" y="-57429"/>
                          <a:pt x="205731" y="141458"/>
                        </a:cubicBezTo>
                        <a:cubicBezTo>
                          <a:pt x="116566" y="196332"/>
                          <a:pt x="157734" y="333494"/>
                          <a:pt x="260604" y="333494"/>
                        </a:cubicBezTo>
                        <a:cubicBezTo>
                          <a:pt x="678936" y="354077"/>
                          <a:pt x="932688" y="648956"/>
                          <a:pt x="1145286" y="902719"/>
                        </a:cubicBezTo>
                        <a:lnTo>
                          <a:pt x="0" y="2041147"/>
                        </a:lnTo>
                        <a:lnTo>
                          <a:pt x="459475" y="2500622"/>
                        </a:lnTo>
                        <a:lnTo>
                          <a:pt x="1563613" y="1396484"/>
                        </a:lnTo>
                        <a:lnTo>
                          <a:pt x="1824228" y="1691389"/>
                        </a:lnTo>
                        <a:lnTo>
                          <a:pt x="1762501" y="1753117"/>
                        </a:lnTo>
                        <a:cubicBezTo>
                          <a:pt x="1721357" y="1794261"/>
                          <a:pt x="1721357" y="1855987"/>
                          <a:pt x="1762501" y="1897129"/>
                        </a:cubicBezTo>
                        <a:lnTo>
                          <a:pt x="2125986" y="2260615"/>
                        </a:lnTo>
                        <a:cubicBezTo>
                          <a:pt x="2167129" y="2301758"/>
                          <a:pt x="2228856" y="2301758"/>
                          <a:pt x="2269999" y="2260615"/>
                        </a:cubicBezTo>
                        <a:lnTo>
                          <a:pt x="2983230" y="1547383"/>
                        </a:lnTo>
                        <a:cubicBezTo>
                          <a:pt x="3017520" y="1506217"/>
                          <a:pt x="3017520" y="1437638"/>
                          <a:pt x="2983230" y="1396495"/>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242" name="Freeform: Shape 241">
                    <a:extLst>
                      <a:ext uri="{FF2B5EF4-FFF2-40B4-BE49-F238E27FC236}">
                        <a16:creationId xmlns:a16="http://schemas.microsoft.com/office/drawing/2014/main" id="{CC5EDDCF-F687-3F22-460F-9A1419CCFF94}"/>
                      </a:ext>
                    </a:extLst>
                  </p:cNvPr>
                  <p:cNvSpPr/>
                  <p:nvPr/>
                </p:nvSpPr>
                <p:spPr>
                  <a:xfrm>
                    <a:off x="3030206" y="370331"/>
                    <a:ext cx="6099335" cy="6110496"/>
                  </a:xfrm>
                  <a:custGeom>
                    <a:avLst/>
                    <a:gdLst>
                      <a:gd name="connsiteX0" fmla="*/ 4732287 w 6099335"/>
                      <a:gd name="connsiteY0" fmla="*/ 3902203 h 6110496"/>
                      <a:gd name="connsiteX1" fmla="*/ 2208543 w 6099335"/>
                      <a:gd name="connsiteY1" fmla="*/ 1378459 h 6110496"/>
                      <a:gd name="connsiteX2" fmla="*/ 1913638 w 6099335"/>
                      <a:gd name="connsiteY2" fmla="*/ 329185 h 6110496"/>
                      <a:gd name="connsiteX3" fmla="*/ 706630 w 6099335"/>
                      <a:gd name="connsiteY3" fmla="*/ 82303 h 6110496"/>
                      <a:gd name="connsiteX4" fmla="*/ 1268974 w 6099335"/>
                      <a:gd name="connsiteY4" fmla="*/ 644647 h 6110496"/>
                      <a:gd name="connsiteX5" fmla="*/ 1268974 w 6099335"/>
                      <a:gd name="connsiteY5" fmla="*/ 1268725 h 6110496"/>
                      <a:gd name="connsiteX6" fmla="*/ 644896 w 6099335"/>
                      <a:gd name="connsiteY6" fmla="*/ 1268725 h 6110496"/>
                      <a:gd name="connsiteX7" fmla="*/ 82552 w 6099335"/>
                      <a:gd name="connsiteY7" fmla="*/ 706381 h 6110496"/>
                      <a:gd name="connsiteX8" fmla="*/ 322582 w 6099335"/>
                      <a:gd name="connsiteY8" fmla="*/ 1913389 h 6110496"/>
                      <a:gd name="connsiteX9" fmla="*/ 1371856 w 6099335"/>
                      <a:gd name="connsiteY9" fmla="*/ 2208294 h 6110496"/>
                      <a:gd name="connsiteX10" fmla="*/ 3895600 w 6099335"/>
                      <a:gd name="connsiteY10" fmla="*/ 4732038 h 6110496"/>
                      <a:gd name="connsiteX11" fmla="*/ 4190505 w 6099335"/>
                      <a:gd name="connsiteY11" fmla="*/ 5781312 h 6110496"/>
                      <a:gd name="connsiteX12" fmla="*/ 5397513 w 6099335"/>
                      <a:gd name="connsiteY12" fmla="*/ 6028195 h 6110496"/>
                      <a:gd name="connsiteX13" fmla="*/ 4835169 w 6099335"/>
                      <a:gd name="connsiteY13" fmla="*/ 5465850 h 6110496"/>
                      <a:gd name="connsiteX14" fmla="*/ 4835169 w 6099335"/>
                      <a:gd name="connsiteY14" fmla="*/ 4841772 h 6110496"/>
                      <a:gd name="connsiteX15" fmla="*/ 5459247 w 6099335"/>
                      <a:gd name="connsiteY15" fmla="*/ 4841772 h 6110496"/>
                      <a:gd name="connsiteX16" fmla="*/ 6021591 w 6099335"/>
                      <a:gd name="connsiteY16" fmla="*/ 5404116 h 6110496"/>
                      <a:gd name="connsiteX17" fmla="*/ 5774709 w 6099335"/>
                      <a:gd name="connsiteY17" fmla="*/ 4197109 h 6110496"/>
                      <a:gd name="connsiteX18" fmla="*/ 4732293 w 6099335"/>
                      <a:gd name="connsiteY18" fmla="*/ 3902186 h 6110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9335" h="6110496">
                        <a:moveTo>
                          <a:pt x="4732287" y="3902203"/>
                        </a:moveTo>
                        <a:lnTo>
                          <a:pt x="2208543" y="1378459"/>
                        </a:lnTo>
                        <a:cubicBezTo>
                          <a:pt x="2297709" y="1014973"/>
                          <a:pt x="2194836" y="617221"/>
                          <a:pt x="1913638" y="329185"/>
                        </a:cubicBezTo>
                        <a:cubicBezTo>
                          <a:pt x="1584442" y="-11"/>
                          <a:pt x="1111252" y="-82295"/>
                          <a:pt x="706630" y="82303"/>
                        </a:cubicBezTo>
                        <a:lnTo>
                          <a:pt x="1268974" y="644647"/>
                        </a:lnTo>
                        <a:cubicBezTo>
                          <a:pt x="1440424" y="816097"/>
                          <a:pt x="1440424" y="1097270"/>
                          <a:pt x="1268974" y="1268725"/>
                        </a:cubicBezTo>
                        <a:cubicBezTo>
                          <a:pt x="1097524" y="1440181"/>
                          <a:pt x="816352" y="1440175"/>
                          <a:pt x="644896" y="1268725"/>
                        </a:cubicBezTo>
                        <a:lnTo>
                          <a:pt x="82552" y="706381"/>
                        </a:lnTo>
                        <a:cubicBezTo>
                          <a:pt x="-82046" y="1111008"/>
                          <a:pt x="267" y="1591063"/>
                          <a:pt x="322582" y="1913389"/>
                        </a:cubicBezTo>
                        <a:cubicBezTo>
                          <a:pt x="610606" y="2201413"/>
                          <a:pt x="1008382" y="2297431"/>
                          <a:pt x="1371856" y="2208294"/>
                        </a:cubicBezTo>
                        <a:lnTo>
                          <a:pt x="3895600" y="4732038"/>
                        </a:lnTo>
                        <a:cubicBezTo>
                          <a:pt x="3806435" y="5095524"/>
                          <a:pt x="3909307" y="5500134"/>
                          <a:pt x="4190505" y="5781312"/>
                        </a:cubicBezTo>
                        <a:cubicBezTo>
                          <a:pt x="4519701" y="6110508"/>
                          <a:pt x="4992892" y="6192792"/>
                          <a:pt x="5397513" y="6028195"/>
                        </a:cubicBezTo>
                        <a:lnTo>
                          <a:pt x="4835169" y="5465850"/>
                        </a:lnTo>
                        <a:cubicBezTo>
                          <a:pt x="4663719" y="5294400"/>
                          <a:pt x="4663719" y="5013228"/>
                          <a:pt x="4835169" y="4841772"/>
                        </a:cubicBezTo>
                        <a:cubicBezTo>
                          <a:pt x="5006619" y="4670316"/>
                          <a:pt x="5287791" y="4670322"/>
                          <a:pt x="5459247" y="4841772"/>
                        </a:cubicBezTo>
                        <a:lnTo>
                          <a:pt x="6021591" y="5404116"/>
                        </a:lnTo>
                        <a:cubicBezTo>
                          <a:pt x="6179337" y="4999489"/>
                          <a:pt x="6097024" y="4519434"/>
                          <a:pt x="5774709" y="4197109"/>
                        </a:cubicBezTo>
                        <a:cubicBezTo>
                          <a:pt x="5500366" y="3915890"/>
                          <a:pt x="5095767" y="3813020"/>
                          <a:pt x="4732293" y="3902186"/>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grpSp>
        </p:grpSp>
        <p:grpSp>
          <p:nvGrpSpPr>
            <p:cNvPr id="60" name="Group 59">
              <a:extLst>
                <a:ext uri="{FF2B5EF4-FFF2-40B4-BE49-F238E27FC236}">
                  <a16:creationId xmlns:a16="http://schemas.microsoft.com/office/drawing/2014/main" id="{E448DEFB-FACC-5F67-2F81-1F6739CAD23E}"/>
                </a:ext>
              </a:extLst>
            </p:cNvPr>
            <p:cNvGrpSpPr/>
            <p:nvPr/>
          </p:nvGrpSpPr>
          <p:grpSpPr>
            <a:xfrm>
              <a:off x="3804284" y="6563357"/>
              <a:ext cx="1516344" cy="392652"/>
              <a:chOff x="5455941" y="5495989"/>
              <a:chExt cx="1516344" cy="392652"/>
            </a:xfrm>
          </p:grpSpPr>
          <p:sp>
            <p:nvSpPr>
              <p:cNvPr id="262" name="Rectangle 261">
                <a:extLst>
                  <a:ext uri="{FF2B5EF4-FFF2-40B4-BE49-F238E27FC236}">
                    <a16:creationId xmlns:a16="http://schemas.microsoft.com/office/drawing/2014/main" id="{A6A76162-B356-7F3B-1D54-EA76A967549C}"/>
                  </a:ext>
                </a:extLst>
              </p:cNvPr>
              <p:cNvSpPr/>
              <p:nvPr/>
            </p:nvSpPr>
            <p:spPr>
              <a:xfrm>
                <a:off x="5833292" y="5534187"/>
                <a:ext cx="1138993" cy="3162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Roboto"/>
                    <a:ea typeface="+mn-ea"/>
                    <a:cs typeface="+mn-cs"/>
                  </a:rPr>
                  <a:t>Better pricing guidance</a:t>
                </a:r>
              </a:p>
            </p:txBody>
          </p:sp>
          <p:grpSp>
            <p:nvGrpSpPr>
              <p:cNvPr id="266" name="Group 265">
                <a:extLst>
                  <a:ext uri="{FF2B5EF4-FFF2-40B4-BE49-F238E27FC236}">
                    <a16:creationId xmlns:a16="http://schemas.microsoft.com/office/drawing/2014/main" id="{43A8E370-73C6-9AC8-1444-B953F9EE2F4D}"/>
                  </a:ext>
                </a:extLst>
              </p:cNvPr>
              <p:cNvGrpSpPr/>
              <p:nvPr/>
            </p:nvGrpSpPr>
            <p:grpSpPr>
              <a:xfrm>
                <a:off x="5455941" y="5495989"/>
                <a:ext cx="340028" cy="392652"/>
                <a:chOff x="5477604" y="5521004"/>
                <a:chExt cx="296702" cy="342621"/>
              </a:xfrm>
            </p:grpSpPr>
            <p:sp>
              <p:nvSpPr>
                <p:cNvPr id="267" name="Graphic 18">
                  <a:extLst>
                    <a:ext uri="{FF2B5EF4-FFF2-40B4-BE49-F238E27FC236}">
                      <a16:creationId xmlns:a16="http://schemas.microsoft.com/office/drawing/2014/main" id="{836AFE7A-4DF4-C9E6-6D46-E4D60E647635}"/>
                    </a:ext>
                  </a:extLst>
                </p:cNvPr>
                <p:cNvSpPr/>
                <p:nvPr/>
              </p:nvSpPr>
              <p:spPr>
                <a:xfrm>
                  <a:off x="5477604" y="5521004"/>
                  <a:ext cx="296702" cy="342621"/>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grpSp>
              <p:nvGrpSpPr>
                <p:cNvPr id="268" name="Graphic 6">
                  <a:extLst>
                    <a:ext uri="{FF2B5EF4-FFF2-40B4-BE49-F238E27FC236}">
                      <a16:creationId xmlns:a16="http://schemas.microsoft.com/office/drawing/2014/main" id="{16B596BA-9FFF-3691-F1E9-B4E28E63568E}"/>
                    </a:ext>
                  </a:extLst>
                </p:cNvPr>
                <p:cNvGrpSpPr/>
                <p:nvPr/>
              </p:nvGrpSpPr>
              <p:grpSpPr>
                <a:xfrm>
                  <a:off x="5509597" y="5605550"/>
                  <a:ext cx="232717" cy="190662"/>
                  <a:chOff x="2666882" y="619725"/>
                  <a:chExt cx="6858117" cy="5618768"/>
                </a:xfrm>
                <a:solidFill>
                  <a:schemeClr val="bg1"/>
                </a:solidFill>
              </p:grpSpPr>
              <p:sp>
                <p:nvSpPr>
                  <p:cNvPr id="269" name="Freeform: Shape 268">
                    <a:extLst>
                      <a:ext uri="{FF2B5EF4-FFF2-40B4-BE49-F238E27FC236}">
                        <a16:creationId xmlns:a16="http://schemas.microsoft.com/office/drawing/2014/main" id="{2BEAC12B-E6CC-5F04-1F34-AA88960CABBF}"/>
                      </a:ext>
                    </a:extLst>
                  </p:cNvPr>
                  <p:cNvSpPr/>
                  <p:nvPr/>
                </p:nvSpPr>
                <p:spPr>
                  <a:xfrm>
                    <a:off x="3906277" y="619725"/>
                    <a:ext cx="5618722" cy="5618768"/>
                  </a:xfrm>
                  <a:custGeom>
                    <a:avLst/>
                    <a:gdLst>
                      <a:gd name="connsiteX0" fmla="*/ 2991252 w 5618722"/>
                      <a:gd name="connsiteY0" fmla="*/ 5618769 h 5618768"/>
                      <a:gd name="connsiteX1" fmla="*/ 2657998 w 5618722"/>
                      <a:gd name="connsiteY1" fmla="*/ 5480534 h 5618768"/>
                      <a:gd name="connsiteX2" fmla="*/ 30527 w 5618722"/>
                      <a:gd name="connsiteY2" fmla="*/ 2851977 h 5618768"/>
                      <a:gd name="connsiteX3" fmla="*/ 523 w 5618722"/>
                      <a:gd name="connsiteY3" fmla="*/ 2768395 h 5618768"/>
                      <a:gd name="connsiteX4" fmla="*/ 229838 w 5618722"/>
                      <a:gd name="connsiteY4" fmla="*/ 323061 h 5618768"/>
                      <a:gd name="connsiteX5" fmla="*/ 323061 w 5618722"/>
                      <a:gd name="connsiteY5" fmla="*/ 229838 h 5618768"/>
                      <a:gd name="connsiteX6" fmla="*/ 2769424 w 5618722"/>
                      <a:gd name="connsiteY6" fmla="*/ 523 h 5618768"/>
                      <a:gd name="connsiteX7" fmla="*/ 2853006 w 5618722"/>
                      <a:gd name="connsiteY7" fmla="*/ 30527 h 5618768"/>
                      <a:gd name="connsiteX8" fmla="*/ 5481563 w 5618722"/>
                      <a:gd name="connsiteY8" fmla="*/ 2659084 h 5618768"/>
                      <a:gd name="connsiteX9" fmla="*/ 5618723 w 5618722"/>
                      <a:gd name="connsiteY9" fmla="*/ 2991269 h 5618768"/>
                      <a:gd name="connsiteX10" fmla="*/ 5480489 w 5618722"/>
                      <a:gd name="connsiteY10" fmla="*/ 3324522 h 5618768"/>
                      <a:gd name="connsiteX11" fmla="*/ 3324505 w 5618722"/>
                      <a:gd name="connsiteY11" fmla="*/ 5480506 h 5618768"/>
                      <a:gd name="connsiteX12" fmla="*/ 2991252 w 5618722"/>
                      <a:gd name="connsiteY12" fmla="*/ 5618740 h 5618768"/>
                      <a:gd name="connsiteX13" fmla="*/ 211590 w 5618722"/>
                      <a:gd name="connsiteY13" fmla="*/ 2739494 h 5618768"/>
                      <a:gd name="connsiteX14" fmla="*/ 2804771 w 5618722"/>
                      <a:gd name="connsiteY14" fmla="*/ 5333762 h 5618768"/>
                      <a:gd name="connsiteX15" fmla="*/ 3176601 w 5618722"/>
                      <a:gd name="connsiteY15" fmla="*/ 5333762 h 5618768"/>
                      <a:gd name="connsiteX16" fmla="*/ 5332584 w 5618722"/>
                      <a:gd name="connsiteY16" fmla="*/ 3177778 h 5618768"/>
                      <a:gd name="connsiteX17" fmla="*/ 5409737 w 5618722"/>
                      <a:gd name="connsiteY17" fmla="*/ 2991326 h 5618768"/>
                      <a:gd name="connsiteX18" fmla="*/ 5332584 w 5618722"/>
                      <a:gd name="connsiteY18" fmla="*/ 2804874 h 5618768"/>
                      <a:gd name="connsiteX19" fmla="*/ 2739403 w 5618722"/>
                      <a:gd name="connsiteY19" fmla="*/ 211693 h 5618768"/>
                      <a:gd name="connsiteX20" fmla="*/ 428028 w 5618722"/>
                      <a:gd name="connsiteY20" fmla="*/ 428148 h 5618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18722" h="5618768">
                        <a:moveTo>
                          <a:pt x="2991252" y="5618769"/>
                        </a:moveTo>
                        <a:cubicBezTo>
                          <a:pt x="2865876" y="5618769"/>
                          <a:pt x="2746935" y="5569477"/>
                          <a:pt x="2657998" y="5480534"/>
                        </a:cubicBezTo>
                        <a:lnTo>
                          <a:pt x="30527" y="2851977"/>
                        </a:lnTo>
                        <a:cubicBezTo>
                          <a:pt x="9096" y="2830546"/>
                          <a:pt x="-2691" y="2799470"/>
                          <a:pt x="523" y="2768395"/>
                        </a:cubicBezTo>
                        <a:lnTo>
                          <a:pt x="229838" y="323061"/>
                        </a:lnTo>
                        <a:cubicBezTo>
                          <a:pt x="234124" y="273769"/>
                          <a:pt x="273772" y="234124"/>
                          <a:pt x="323061" y="229838"/>
                        </a:cubicBezTo>
                        <a:lnTo>
                          <a:pt x="2769424" y="523"/>
                        </a:lnTo>
                        <a:cubicBezTo>
                          <a:pt x="2800499" y="-2691"/>
                          <a:pt x="2830506" y="9096"/>
                          <a:pt x="2853006" y="30527"/>
                        </a:cubicBezTo>
                        <a:lnTo>
                          <a:pt x="5481563" y="2659084"/>
                        </a:lnTo>
                        <a:cubicBezTo>
                          <a:pt x="5569431" y="2746952"/>
                          <a:pt x="5618723" y="2865899"/>
                          <a:pt x="5618723" y="2991269"/>
                        </a:cubicBezTo>
                        <a:cubicBezTo>
                          <a:pt x="5618723" y="3116639"/>
                          <a:pt x="5569431" y="3235585"/>
                          <a:pt x="5480489" y="3324522"/>
                        </a:cubicBezTo>
                        <a:lnTo>
                          <a:pt x="3324505" y="5480506"/>
                        </a:lnTo>
                        <a:cubicBezTo>
                          <a:pt x="3235568" y="5569443"/>
                          <a:pt x="3117690" y="5618740"/>
                          <a:pt x="2991252" y="5618740"/>
                        </a:cubicBezTo>
                        <a:close/>
                        <a:moveTo>
                          <a:pt x="211590" y="2739494"/>
                        </a:moveTo>
                        <a:lnTo>
                          <a:pt x="2804771" y="5333762"/>
                        </a:lnTo>
                        <a:cubicBezTo>
                          <a:pt x="2907641" y="5436632"/>
                          <a:pt x="3074805" y="5436632"/>
                          <a:pt x="3176601" y="5333762"/>
                        </a:cubicBezTo>
                        <a:lnTo>
                          <a:pt x="5332584" y="3177778"/>
                        </a:lnTo>
                        <a:cubicBezTo>
                          <a:pt x="5381876" y="3128486"/>
                          <a:pt x="5409737" y="3062049"/>
                          <a:pt x="5409737" y="2991326"/>
                        </a:cubicBezTo>
                        <a:cubicBezTo>
                          <a:pt x="5409737" y="2920603"/>
                          <a:pt x="5381876" y="2855241"/>
                          <a:pt x="5332584" y="2804874"/>
                        </a:cubicBezTo>
                        <a:lnTo>
                          <a:pt x="2739403" y="211693"/>
                        </a:lnTo>
                        <a:lnTo>
                          <a:pt x="428028" y="428148"/>
                        </a:ln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270" name="Freeform: Shape 269">
                    <a:extLst>
                      <a:ext uri="{FF2B5EF4-FFF2-40B4-BE49-F238E27FC236}">
                        <a16:creationId xmlns:a16="http://schemas.microsoft.com/office/drawing/2014/main" id="{C5CC36B7-0FDF-F915-B3B5-C794356839BC}"/>
                      </a:ext>
                    </a:extLst>
                  </p:cNvPr>
                  <p:cNvSpPr/>
                  <p:nvPr/>
                </p:nvSpPr>
                <p:spPr>
                  <a:xfrm>
                    <a:off x="4685806" y="1398403"/>
                    <a:ext cx="1277285" cy="1276233"/>
                  </a:xfrm>
                  <a:custGeom>
                    <a:avLst/>
                    <a:gdLst>
                      <a:gd name="connsiteX0" fmla="*/ 637583 w 1277285"/>
                      <a:gd name="connsiteY0" fmla="*/ 1276217 h 1276233"/>
                      <a:gd name="connsiteX1" fmla="*/ 186452 w 1277285"/>
                      <a:gd name="connsiteY1" fmla="*/ 1089765 h 1276233"/>
                      <a:gd name="connsiteX2" fmla="*/ 186452 w 1277285"/>
                      <a:gd name="connsiteY2" fmla="*/ 186452 h 1276233"/>
                      <a:gd name="connsiteX3" fmla="*/ 1089765 w 1277285"/>
                      <a:gd name="connsiteY3" fmla="*/ 186452 h 1276233"/>
                      <a:gd name="connsiteX4" fmla="*/ 1277285 w 1277285"/>
                      <a:gd name="connsiteY4" fmla="*/ 637583 h 1276233"/>
                      <a:gd name="connsiteX5" fmla="*/ 1089765 w 1277285"/>
                      <a:gd name="connsiteY5" fmla="*/ 1088713 h 1276233"/>
                      <a:gd name="connsiteX6" fmla="*/ 637565 w 1277285"/>
                      <a:gd name="connsiteY6" fmla="*/ 1276234 h 1276233"/>
                      <a:gd name="connsiteX7" fmla="*/ 637583 w 1277285"/>
                      <a:gd name="connsiteY7" fmla="*/ 207855 h 1276233"/>
                      <a:gd name="connsiteX8" fmla="*/ 333259 w 1277285"/>
                      <a:gd name="connsiteY8" fmla="*/ 334299 h 1276233"/>
                      <a:gd name="connsiteX9" fmla="*/ 333259 w 1277285"/>
                      <a:gd name="connsiteY9" fmla="*/ 944032 h 1276233"/>
                      <a:gd name="connsiteX10" fmla="*/ 942992 w 1277285"/>
                      <a:gd name="connsiteY10" fmla="*/ 944032 h 1276233"/>
                      <a:gd name="connsiteX11" fmla="*/ 1069437 w 1277285"/>
                      <a:gd name="connsiteY11" fmla="*/ 639709 h 1276233"/>
                      <a:gd name="connsiteX12" fmla="*/ 942992 w 1277285"/>
                      <a:gd name="connsiteY12" fmla="*/ 335385 h 1276233"/>
                      <a:gd name="connsiteX13" fmla="*/ 637594 w 1277285"/>
                      <a:gd name="connsiteY13" fmla="*/ 207872 h 1276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77285" h="1276233">
                        <a:moveTo>
                          <a:pt x="637583" y="1276217"/>
                        </a:moveTo>
                        <a:cubicBezTo>
                          <a:pt x="473631" y="1276217"/>
                          <a:pt x="310753" y="1214066"/>
                          <a:pt x="186452" y="1089765"/>
                        </a:cubicBezTo>
                        <a:cubicBezTo>
                          <a:pt x="-62151" y="841162"/>
                          <a:pt x="-62151" y="435054"/>
                          <a:pt x="186452" y="186452"/>
                        </a:cubicBezTo>
                        <a:cubicBezTo>
                          <a:pt x="435054" y="-62151"/>
                          <a:pt x="841162" y="-62151"/>
                          <a:pt x="1089765" y="186452"/>
                        </a:cubicBezTo>
                        <a:cubicBezTo>
                          <a:pt x="1210854" y="307541"/>
                          <a:pt x="1277285" y="467201"/>
                          <a:pt x="1277285" y="637583"/>
                        </a:cubicBezTo>
                        <a:cubicBezTo>
                          <a:pt x="1277285" y="807964"/>
                          <a:pt x="1210849" y="968698"/>
                          <a:pt x="1089765" y="1088713"/>
                        </a:cubicBezTo>
                        <a:cubicBezTo>
                          <a:pt x="964389" y="1214089"/>
                          <a:pt x="800443" y="1276234"/>
                          <a:pt x="637565" y="1276234"/>
                        </a:cubicBezTo>
                        <a:close/>
                        <a:moveTo>
                          <a:pt x="637583" y="207855"/>
                        </a:moveTo>
                        <a:cubicBezTo>
                          <a:pt x="527214" y="207855"/>
                          <a:pt x="416841" y="249645"/>
                          <a:pt x="333259" y="334299"/>
                        </a:cubicBezTo>
                        <a:cubicBezTo>
                          <a:pt x="165021" y="502537"/>
                          <a:pt x="165021" y="775783"/>
                          <a:pt x="333259" y="944032"/>
                        </a:cubicBezTo>
                        <a:cubicBezTo>
                          <a:pt x="501497" y="1112282"/>
                          <a:pt x="774743" y="1112270"/>
                          <a:pt x="942992" y="944032"/>
                        </a:cubicBezTo>
                        <a:cubicBezTo>
                          <a:pt x="1024431" y="862594"/>
                          <a:pt x="1069437" y="754363"/>
                          <a:pt x="1069437" y="639709"/>
                        </a:cubicBezTo>
                        <a:cubicBezTo>
                          <a:pt x="1069437" y="525054"/>
                          <a:pt x="1024431" y="416824"/>
                          <a:pt x="942992" y="335385"/>
                        </a:cubicBezTo>
                        <a:cubicBezTo>
                          <a:pt x="858341" y="249660"/>
                          <a:pt x="746899" y="207872"/>
                          <a:pt x="637594" y="207872"/>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271" name="Freeform: Shape 270">
                    <a:extLst>
                      <a:ext uri="{FF2B5EF4-FFF2-40B4-BE49-F238E27FC236}">
                        <a16:creationId xmlns:a16="http://schemas.microsoft.com/office/drawing/2014/main" id="{AC150C4E-F25B-5368-DF3E-91864BC7C225}"/>
                      </a:ext>
                    </a:extLst>
                  </p:cNvPr>
                  <p:cNvSpPr/>
                  <p:nvPr/>
                </p:nvSpPr>
                <p:spPr>
                  <a:xfrm>
                    <a:off x="2666882" y="1491508"/>
                    <a:ext cx="2760144" cy="987044"/>
                  </a:xfrm>
                  <a:custGeom>
                    <a:avLst/>
                    <a:gdLst>
                      <a:gd name="connsiteX0" fmla="*/ 1622492 w 2760144"/>
                      <a:gd name="connsiteY0" fmla="*/ 987030 h 987044"/>
                      <a:gd name="connsiteX1" fmla="*/ 26921 w 2760144"/>
                      <a:gd name="connsiteY1" fmla="*/ 173728 h 987044"/>
                      <a:gd name="connsiteX2" fmla="*/ 34422 w 2760144"/>
                      <a:gd name="connsiteY2" fmla="*/ 26921 h 987044"/>
                      <a:gd name="connsiteX3" fmla="*/ 181229 w 2760144"/>
                      <a:gd name="connsiteY3" fmla="*/ 34422 h 987044"/>
                      <a:gd name="connsiteX4" fmla="*/ 2591187 w 2760144"/>
                      <a:gd name="connsiteY4" fmla="*/ 465190 h 987044"/>
                      <a:gd name="connsiteX5" fmla="*/ 2736920 w 2760144"/>
                      <a:gd name="connsiteY5" fmla="*/ 480192 h 987044"/>
                      <a:gd name="connsiteX6" fmla="*/ 2721918 w 2760144"/>
                      <a:gd name="connsiteY6" fmla="*/ 625925 h 987044"/>
                      <a:gd name="connsiteX7" fmla="*/ 1622466 w 2760144"/>
                      <a:gd name="connsiteY7" fmla="*/ 987044 h 987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0144" h="987044">
                        <a:moveTo>
                          <a:pt x="1622492" y="987030"/>
                        </a:moveTo>
                        <a:cubicBezTo>
                          <a:pt x="1160651" y="987030"/>
                          <a:pt x="598078" y="803795"/>
                          <a:pt x="26921" y="173728"/>
                        </a:cubicBezTo>
                        <a:cubicBezTo>
                          <a:pt x="-11655" y="130866"/>
                          <a:pt x="-8440" y="65497"/>
                          <a:pt x="34422" y="26921"/>
                        </a:cubicBezTo>
                        <a:cubicBezTo>
                          <a:pt x="77285" y="-11655"/>
                          <a:pt x="142653" y="-8440"/>
                          <a:pt x="181229" y="34422"/>
                        </a:cubicBezTo>
                        <a:cubicBezTo>
                          <a:pt x="1411383" y="1391049"/>
                          <a:pt x="2542953" y="502698"/>
                          <a:pt x="2591187" y="465190"/>
                        </a:cubicBezTo>
                        <a:cubicBezTo>
                          <a:pt x="2636193" y="428757"/>
                          <a:pt x="2701556" y="436258"/>
                          <a:pt x="2736920" y="480192"/>
                        </a:cubicBezTo>
                        <a:cubicBezTo>
                          <a:pt x="2773353" y="524126"/>
                          <a:pt x="2765852" y="589492"/>
                          <a:pt x="2721918" y="625925"/>
                        </a:cubicBezTo>
                        <a:cubicBezTo>
                          <a:pt x="2714417" y="632354"/>
                          <a:pt x="2265432" y="987044"/>
                          <a:pt x="1622466" y="987044"/>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grpSp>
        </p:grpSp>
        <p:grpSp>
          <p:nvGrpSpPr>
            <p:cNvPr id="64" name="Group 63">
              <a:extLst>
                <a:ext uri="{FF2B5EF4-FFF2-40B4-BE49-F238E27FC236}">
                  <a16:creationId xmlns:a16="http://schemas.microsoft.com/office/drawing/2014/main" id="{D67608A7-8482-8800-A259-DFFDC5704E5A}"/>
                </a:ext>
              </a:extLst>
            </p:cNvPr>
            <p:cNvGrpSpPr/>
            <p:nvPr/>
          </p:nvGrpSpPr>
          <p:grpSpPr>
            <a:xfrm>
              <a:off x="5441311" y="6547114"/>
              <a:ext cx="1520200" cy="392652"/>
              <a:chOff x="614988" y="5495989"/>
              <a:chExt cx="1520200" cy="392652"/>
            </a:xfrm>
          </p:grpSpPr>
          <p:sp>
            <p:nvSpPr>
              <p:cNvPr id="263" name="Rectangle 262">
                <a:extLst>
                  <a:ext uri="{FF2B5EF4-FFF2-40B4-BE49-F238E27FC236}">
                    <a16:creationId xmlns:a16="http://schemas.microsoft.com/office/drawing/2014/main" id="{9875F59F-9303-D457-638F-6A01B5567D75}"/>
                  </a:ext>
                </a:extLst>
              </p:cNvPr>
              <p:cNvSpPr/>
              <p:nvPr/>
            </p:nvSpPr>
            <p:spPr>
              <a:xfrm>
                <a:off x="996195" y="5534187"/>
                <a:ext cx="1138993" cy="3162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Roboto"/>
                    <a:ea typeface="+mn-ea"/>
                    <a:cs typeface="+mn-cs"/>
                  </a:rPr>
                  <a:t>STARK Group sourcing power</a:t>
                </a:r>
              </a:p>
            </p:txBody>
          </p:sp>
          <p:grpSp>
            <p:nvGrpSpPr>
              <p:cNvPr id="272" name="Group 271">
                <a:extLst>
                  <a:ext uri="{FF2B5EF4-FFF2-40B4-BE49-F238E27FC236}">
                    <a16:creationId xmlns:a16="http://schemas.microsoft.com/office/drawing/2014/main" id="{21BF7AB3-C90D-61B5-F75F-186515B4786A}"/>
                  </a:ext>
                </a:extLst>
              </p:cNvPr>
              <p:cNvGrpSpPr/>
              <p:nvPr/>
            </p:nvGrpSpPr>
            <p:grpSpPr>
              <a:xfrm>
                <a:off x="614988" y="5495989"/>
                <a:ext cx="340028" cy="392652"/>
                <a:chOff x="636651" y="5521004"/>
                <a:chExt cx="296702" cy="342621"/>
              </a:xfrm>
            </p:grpSpPr>
            <p:sp>
              <p:nvSpPr>
                <p:cNvPr id="273" name="Graphic 18">
                  <a:extLst>
                    <a:ext uri="{FF2B5EF4-FFF2-40B4-BE49-F238E27FC236}">
                      <a16:creationId xmlns:a16="http://schemas.microsoft.com/office/drawing/2014/main" id="{A02BABA7-F8FD-67B7-0383-BE205DAFF9B8}"/>
                    </a:ext>
                  </a:extLst>
                </p:cNvPr>
                <p:cNvSpPr/>
                <p:nvPr/>
              </p:nvSpPr>
              <p:spPr>
                <a:xfrm>
                  <a:off x="636651" y="5521004"/>
                  <a:ext cx="296702" cy="342621"/>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pic>
              <p:nvPicPr>
                <p:cNvPr id="274" name="Graphic 273">
                  <a:extLst>
                    <a:ext uri="{FF2B5EF4-FFF2-40B4-BE49-F238E27FC236}">
                      <a16:creationId xmlns:a16="http://schemas.microsoft.com/office/drawing/2014/main" id="{7C2712EB-1A29-557D-DABF-DCE547C79CA8}"/>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81461" y="5598518"/>
                  <a:ext cx="207083" cy="189159"/>
                </a:xfrm>
                <a:prstGeom prst="rect">
                  <a:avLst/>
                </a:prstGeom>
              </p:spPr>
            </p:pic>
          </p:grpSp>
        </p:grpSp>
        <p:grpSp>
          <p:nvGrpSpPr>
            <p:cNvPr id="59" name="Group 58">
              <a:extLst>
                <a:ext uri="{FF2B5EF4-FFF2-40B4-BE49-F238E27FC236}">
                  <a16:creationId xmlns:a16="http://schemas.microsoft.com/office/drawing/2014/main" id="{F0D6C191-92F0-86D6-5AE3-E9F611B1BF40}"/>
                </a:ext>
              </a:extLst>
            </p:cNvPr>
            <p:cNvGrpSpPr/>
            <p:nvPr/>
          </p:nvGrpSpPr>
          <p:grpSpPr>
            <a:xfrm>
              <a:off x="5456328" y="7055191"/>
              <a:ext cx="1528517" cy="392652"/>
              <a:chOff x="3804284" y="5495989"/>
              <a:chExt cx="1528517" cy="392652"/>
            </a:xfrm>
          </p:grpSpPr>
          <p:sp>
            <p:nvSpPr>
              <p:cNvPr id="265" name="Rectangle 264">
                <a:extLst>
                  <a:ext uri="{FF2B5EF4-FFF2-40B4-BE49-F238E27FC236}">
                    <a16:creationId xmlns:a16="http://schemas.microsoft.com/office/drawing/2014/main" id="{B4154320-0F71-EB80-76F0-DA94D0CF42B4}"/>
                  </a:ext>
                </a:extLst>
              </p:cNvPr>
              <p:cNvSpPr/>
              <p:nvPr/>
            </p:nvSpPr>
            <p:spPr>
              <a:xfrm>
                <a:off x="4193808" y="5534187"/>
                <a:ext cx="1138993" cy="3162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Roboto"/>
                    <a:ea typeface="+mn-ea"/>
                    <a:cs typeface="+mn-cs"/>
                  </a:rPr>
                  <a:t>Better branches</a:t>
                </a:r>
              </a:p>
            </p:txBody>
          </p:sp>
          <p:grpSp>
            <p:nvGrpSpPr>
              <p:cNvPr id="275" name="Group 274">
                <a:extLst>
                  <a:ext uri="{FF2B5EF4-FFF2-40B4-BE49-F238E27FC236}">
                    <a16:creationId xmlns:a16="http://schemas.microsoft.com/office/drawing/2014/main" id="{9AE8C84E-5E5D-EB5A-3D37-D4EF2792C3C6}"/>
                  </a:ext>
                </a:extLst>
              </p:cNvPr>
              <p:cNvGrpSpPr/>
              <p:nvPr/>
            </p:nvGrpSpPr>
            <p:grpSpPr>
              <a:xfrm>
                <a:off x="3804284" y="5495989"/>
                <a:ext cx="340028" cy="392652"/>
                <a:chOff x="3825947" y="5521004"/>
                <a:chExt cx="296702" cy="342621"/>
              </a:xfrm>
            </p:grpSpPr>
            <p:sp>
              <p:nvSpPr>
                <p:cNvPr id="276" name="Graphic 18">
                  <a:extLst>
                    <a:ext uri="{FF2B5EF4-FFF2-40B4-BE49-F238E27FC236}">
                      <a16:creationId xmlns:a16="http://schemas.microsoft.com/office/drawing/2014/main" id="{00FB9C10-205D-1490-BA42-4D70E1D12E89}"/>
                    </a:ext>
                  </a:extLst>
                </p:cNvPr>
                <p:cNvSpPr/>
                <p:nvPr/>
              </p:nvSpPr>
              <p:spPr>
                <a:xfrm>
                  <a:off x="3825947" y="5521004"/>
                  <a:ext cx="296702" cy="342621"/>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grpSp>
              <p:nvGrpSpPr>
                <p:cNvPr id="277" name="Group 276">
                  <a:extLst>
                    <a:ext uri="{FF2B5EF4-FFF2-40B4-BE49-F238E27FC236}">
                      <a16:creationId xmlns:a16="http://schemas.microsoft.com/office/drawing/2014/main" id="{29E55959-05B5-FE75-189E-B058872A63A1}"/>
                    </a:ext>
                  </a:extLst>
                </p:cNvPr>
                <p:cNvGrpSpPr/>
                <p:nvPr/>
              </p:nvGrpSpPr>
              <p:grpSpPr>
                <a:xfrm>
                  <a:off x="3872452" y="5602876"/>
                  <a:ext cx="203693" cy="221735"/>
                  <a:chOff x="3864990" y="5602876"/>
                  <a:chExt cx="203693" cy="221735"/>
                </a:xfrm>
              </p:grpSpPr>
              <p:sp>
                <p:nvSpPr>
                  <p:cNvPr id="278" name="Freeform: Shape 277">
                    <a:extLst>
                      <a:ext uri="{FF2B5EF4-FFF2-40B4-BE49-F238E27FC236}">
                        <a16:creationId xmlns:a16="http://schemas.microsoft.com/office/drawing/2014/main" id="{586AD37E-8DA9-D33D-1BE3-45766AFCB1AE}"/>
                      </a:ext>
                    </a:extLst>
                  </p:cNvPr>
                  <p:cNvSpPr/>
                  <p:nvPr/>
                </p:nvSpPr>
                <p:spPr>
                  <a:xfrm>
                    <a:off x="3864990" y="5602876"/>
                    <a:ext cx="90949" cy="90198"/>
                  </a:xfrm>
                  <a:custGeom>
                    <a:avLst/>
                    <a:gdLst>
                      <a:gd name="connsiteX0" fmla="*/ 1536225 w 1659654"/>
                      <a:gd name="connsiteY0" fmla="*/ 1645945 h 1645945"/>
                      <a:gd name="connsiteX1" fmla="*/ 1549932 w 1659654"/>
                      <a:gd name="connsiteY1" fmla="*/ 1639092 h 1645945"/>
                      <a:gd name="connsiteX2" fmla="*/ 1563639 w 1659654"/>
                      <a:gd name="connsiteY2" fmla="*/ 1632238 h 1645945"/>
                      <a:gd name="connsiteX3" fmla="*/ 1577346 w 1659654"/>
                      <a:gd name="connsiteY3" fmla="*/ 1625385 h 1645945"/>
                      <a:gd name="connsiteX4" fmla="*/ 1591053 w 1659654"/>
                      <a:gd name="connsiteY4" fmla="*/ 1618531 h 1645945"/>
                      <a:gd name="connsiteX5" fmla="*/ 1632196 w 1659654"/>
                      <a:gd name="connsiteY5" fmla="*/ 1577388 h 1645945"/>
                      <a:gd name="connsiteX6" fmla="*/ 1639049 w 1659654"/>
                      <a:gd name="connsiteY6" fmla="*/ 1570535 h 1645945"/>
                      <a:gd name="connsiteX7" fmla="*/ 1645903 w 1659654"/>
                      <a:gd name="connsiteY7" fmla="*/ 1556828 h 1645945"/>
                      <a:gd name="connsiteX8" fmla="*/ 1652756 w 1659654"/>
                      <a:gd name="connsiteY8" fmla="*/ 1543121 h 1645945"/>
                      <a:gd name="connsiteX9" fmla="*/ 1659610 w 1659654"/>
                      <a:gd name="connsiteY9" fmla="*/ 1529414 h 1645945"/>
                      <a:gd name="connsiteX10" fmla="*/ 1659610 w 1659654"/>
                      <a:gd name="connsiteY10" fmla="*/ 1501977 h 1645945"/>
                      <a:gd name="connsiteX11" fmla="*/ 1659654 w 1659654"/>
                      <a:gd name="connsiteY11" fmla="*/ 822978 h 1645945"/>
                      <a:gd name="connsiteX12" fmla="*/ 1522494 w 1659654"/>
                      <a:gd name="connsiteY12" fmla="*/ 685818 h 1645945"/>
                      <a:gd name="connsiteX13" fmla="*/ 1385334 w 1659654"/>
                      <a:gd name="connsiteY13" fmla="*/ 822978 h 1645945"/>
                      <a:gd name="connsiteX14" fmla="*/ 1385334 w 1659654"/>
                      <a:gd name="connsiteY14" fmla="*/ 1179583 h 1645945"/>
                      <a:gd name="connsiteX15" fmla="*/ 233190 w 1659654"/>
                      <a:gd name="connsiteY15" fmla="*/ 41155 h 1645945"/>
                      <a:gd name="connsiteX16" fmla="*/ 41155 w 1659654"/>
                      <a:gd name="connsiteY16" fmla="*/ 41155 h 1645945"/>
                      <a:gd name="connsiteX17" fmla="*/ 41155 w 1659654"/>
                      <a:gd name="connsiteY17" fmla="*/ 233190 h 1645945"/>
                      <a:gd name="connsiteX18" fmla="*/ 1179583 w 1659654"/>
                      <a:gd name="connsiteY18" fmla="*/ 1371618 h 1645945"/>
                      <a:gd name="connsiteX19" fmla="*/ 822978 w 1659654"/>
                      <a:gd name="connsiteY19" fmla="*/ 1371618 h 1645945"/>
                      <a:gd name="connsiteX20" fmla="*/ 685818 w 1659654"/>
                      <a:gd name="connsiteY20" fmla="*/ 1508778 h 1645945"/>
                      <a:gd name="connsiteX21" fmla="*/ 822978 w 1659654"/>
                      <a:gd name="connsiteY21" fmla="*/ 1645938 h 1645945"/>
                      <a:gd name="connsiteX22" fmla="*/ 1508779 w 1659654"/>
                      <a:gd name="connsiteY22" fmla="*/ 1645938 h 1645945"/>
                      <a:gd name="connsiteX23" fmla="*/ 1536215 w 1659654"/>
                      <a:gd name="connsiteY23" fmla="*/ 1645938 h 1645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59654" h="1645945">
                        <a:moveTo>
                          <a:pt x="1536225" y="1645945"/>
                        </a:moveTo>
                        <a:cubicBezTo>
                          <a:pt x="1543079" y="1645945"/>
                          <a:pt x="1543079" y="1645945"/>
                          <a:pt x="1549932" y="1639092"/>
                        </a:cubicBezTo>
                        <a:cubicBezTo>
                          <a:pt x="1556785" y="1639092"/>
                          <a:pt x="1556785" y="1639092"/>
                          <a:pt x="1563639" y="1632238"/>
                        </a:cubicBezTo>
                        <a:cubicBezTo>
                          <a:pt x="1570492" y="1632238"/>
                          <a:pt x="1570492" y="1625385"/>
                          <a:pt x="1577346" y="1625385"/>
                        </a:cubicBezTo>
                        <a:cubicBezTo>
                          <a:pt x="1584199" y="1625385"/>
                          <a:pt x="1584199" y="1618531"/>
                          <a:pt x="1591053" y="1618531"/>
                        </a:cubicBezTo>
                        <a:cubicBezTo>
                          <a:pt x="1604759" y="1611678"/>
                          <a:pt x="1618489" y="1597948"/>
                          <a:pt x="1632196" y="1577388"/>
                        </a:cubicBezTo>
                        <a:lnTo>
                          <a:pt x="1639049" y="1570535"/>
                        </a:lnTo>
                        <a:cubicBezTo>
                          <a:pt x="1639049" y="1563681"/>
                          <a:pt x="1645903" y="1563681"/>
                          <a:pt x="1645903" y="1556828"/>
                        </a:cubicBezTo>
                        <a:cubicBezTo>
                          <a:pt x="1645903" y="1549974"/>
                          <a:pt x="1645903" y="1549974"/>
                          <a:pt x="1652756" y="1543121"/>
                        </a:cubicBezTo>
                        <a:cubicBezTo>
                          <a:pt x="1652756" y="1536267"/>
                          <a:pt x="1652756" y="1536267"/>
                          <a:pt x="1659610" y="1529414"/>
                        </a:cubicBezTo>
                        <a:lnTo>
                          <a:pt x="1659610" y="1501977"/>
                        </a:lnTo>
                        <a:lnTo>
                          <a:pt x="1659654" y="822978"/>
                        </a:lnTo>
                        <a:cubicBezTo>
                          <a:pt x="1659654" y="747546"/>
                          <a:pt x="1597927" y="685818"/>
                          <a:pt x="1522494" y="685818"/>
                        </a:cubicBezTo>
                        <a:cubicBezTo>
                          <a:pt x="1447062" y="685818"/>
                          <a:pt x="1385334" y="747546"/>
                          <a:pt x="1385334" y="822978"/>
                        </a:cubicBezTo>
                        <a:lnTo>
                          <a:pt x="1385334" y="1179583"/>
                        </a:lnTo>
                        <a:lnTo>
                          <a:pt x="233190" y="41155"/>
                        </a:lnTo>
                        <a:cubicBezTo>
                          <a:pt x="178317" y="-13718"/>
                          <a:pt x="96030" y="-13718"/>
                          <a:pt x="41155" y="41155"/>
                        </a:cubicBezTo>
                        <a:cubicBezTo>
                          <a:pt x="-13718" y="96028"/>
                          <a:pt x="-13718" y="178315"/>
                          <a:pt x="41155" y="233190"/>
                        </a:cubicBezTo>
                        <a:lnTo>
                          <a:pt x="1179583" y="1371618"/>
                        </a:lnTo>
                        <a:lnTo>
                          <a:pt x="822978" y="1371618"/>
                        </a:lnTo>
                        <a:cubicBezTo>
                          <a:pt x="747546" y="1371618"/>
                          <a:pt x="685818" y="1433346"/>
                          <a:pt x="685818" y="1508778"/>
                        </a:cubicBezTo>
                        <a:cubicBezTo>
                          <a:pt x="685818" y="1584211"/>
                          <a:pt x="747546" y="1645938"/>
                          <a:pt x="822978" y="1645938"/>
                        </a:cubicBezTo>
                        <a:lnTo>
                          <a:pt x="1508779" y="1645938"/>
                        </a:lnTo>
                        <a:lnTo>
                          <a:pt x="1536215" y="1645938"/>
                        </a:lnTo>
                        <a:close/>
                      </a:path>
                    </a:pathLst>
                  </a:custGeom>
                  <a:solidFill>
                    <a:schemeClr val="bg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279" name="Freeform: Shape 278">
                    <a:extLst>
                      <a:ext uri="{FF2B5EF4-FFF2-40B4-BE49-F238E27FC236}">
                        <a16:creationId xmlns:a16="http://schemas.microsoft.com/office/drawing/2014/main" id="{FCF1E07F-7336-075A-F4E1-7CBB09439D31}"/>
                      </a:ext>
                    </a:extLst>
                  </p:cNvPr>
                  <p:cNvSpPr/>
                  <p:nvPr/>
                </p:nvSpPr>
                <p:spPr>
                  <a:xfrm>
                    <a:off x="3977737" y="5602922"/>
                    <a:ext cx="90946" cy="90525"/>
                  </a:xfrm>
                  <a:custGeom>
                    <a:avLst/>
                    <a:gdLst>
                      <a:gd name="connsiteX0" fmla="*/ 1412748 w 1659599"/>
                      <a:gd name="connsiteY0" fmla="*/ 40325 h 1651916"/>
                      <a:gd name="connsiteX1" fmla="*/ 274320 w 1659599"/>
                      <a:gd name="connsiteY1" fmla="*/ 1178753 h 1651916"/>
                      <a:gd name="connsiteX2" fmla="*/ 274320 w 1659599"/>
                      <a:gd name="connsiteY2" fmla="*/ 822149 h 1651916"/>
                      <a:gd name="connsiteX3" fmla="*/ 137160 w 1659599"/>
                      <a:gd name="connsiteY3" fmla="*/ 684989 h 1651916"/>
                      <a:gd name="connsiteX4" fmla="*/ 0 w 1659599"/>
                      <a:gd name="connsiteY4" fmla="*/ 822149 h 1651916"/>
                      <a:gd name="connsiteX5" fmla="*/ 0 w 1659599"/>
                      <a:gd name="connsiteY5" fmla="*/ 1507949 h 1651916"/>
                      <a:gd name="connsiteX6" fmla="*/ 0 w 1659599"/>
                      <a:gd name="connsiteY6" fmla="*/ 1535385 h 1651916"/>
                      <a:gd name="connsiteX7" fmla="*/ 6854 w 1659599"/>
                      <a:gd name="connsiteY7" fmla="*/ 1549092 h 1651916"/>
                      <a:gd name="connsiteX8" fmla="*/ 13707 w 1659599"/>
                      <a:gd name="connsiteY8" fmla="*/ 1562799 h 1651916"/>
                      <a:gd name="connsiteX9" fmla="*/ 20560 w 1659599"/>
                      <a:gd name="connsiteY9" fmla="*/ 1576506 h 1651916"/>
                      <a:gd name="connsiteX10" fmla="*/ 27414 w 1659599"/>
                      <a:gd name="connsiteY10" fmla="*/ 1583359 h 1651916"/>
                      <a:gd name="connsiteX11" fmla="*/ 68557 w 1659599"/>
                      <a:gd name="connsiteY11" fmla="*/ 1624503 h 1651916"/>
                      <a:gd name="connsiteX12" fmla="*/ 82264 w 1659599"/>
                      <a:gd name="connsiteY12" fmla="*/ 1631356 h 1651916"/>
                      <a:gd name="connsiteX13" fmla="*/ 95971 w 1659599"/>
                      <a:gd name="connsiteY13" fmla="*/ 1638209 h 1651916"/>
                      <a:gd name="connsiteX14" fmla="*/ 109678 w 1659599"/>
                      <a:gd name="connsiteY14" fmla="*/ 1645063 h 1651916"/>
                      <a:gd name="connsiteX15" fmla="*/ 123385 w 1659599"/>
                      <a:gd name="connsiteY15" fmla="*/ 1651916 h 1651916"/>
                      <a:gd name="connsiteX16" fmla="*/ 150821 w 1659599"/>
                      <a:gd name="connsiteY16" fmla="*/ 1651916 h 1651916"/>
                      <a:gd name="connsiteX17" fmla="*/ 836621 w 1659599"/>
                      <a:gd name="connsiteY17" fmla="*/ 1651916 h 1651916"/>
                      <a:gd name="connsiteX18" fmla="*/ 973781 w 1659599"/>
                      <a:gd name="connsiteY18" fmla="*/ 1514756 h 1651916"/>
                      <a:gd name="connsiteX19" fmla="*/ 836621 w 1659599"/>
                      <a:gd name="connsiteY19" fmla="*/ 1377596 h 1651916"/>
                      <a:gd name="connsiteX20" fmla="*/ 480016 w 1659599"/>
                      <a:gd name="connsiteY20" fmla="*/ 1377596 h 1651916"/>
                      <a:gd name="connsiteX21" fmla="*/ 1618445 w 1659599"/>
                      <a:gd name="connsiteY21" fmla="*/ 239168 h 1651916"/>
                      <a:gd name="connsiteX22" fmla="*/ 1618445 w 1659599"/>
                      <a:gd name="connsiteY22" fmla="*/ 47133 h 1651916"/>
                      <a:gd name="connsiteX23" fmla="*/ 1412750 w 1659599"/>
                      <a:gd name="connsiteY23" fmla="*/ 40324 h 1651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59599" h="1651916">
                        <a:moveTo>
                          <a:pt x="1412748" y="40325"/>
                        </a:moveTo>
                        <a:lnTo>
                          <a:pt x="274320" y="1178753"/>
                        </a:lnTo>
                        <a:lnTo>
                          <a:pt x="274320" y="822149"/>
                        </a:lnTo>
                        <a:cubicBezTo>
                          <a:pt x="274320" y="746716"/>
                          <a:pt x="212592" y="684989"/>
                          <a:pt x="137160" y="684989"/>
                        </a:cubicBezTo>
                        <a:cubicBezTo>
                          <a:pt x="61728" y="684989"/>
                          <a:pt x="0" y="746716"/>
                          <a:pt x="0" y="822149"/>
                        </a:cubicBezTo>
                        <a:lnTo>
                          <a:pt x="0" y="1507949"/>
                        </a:lnTo>
                        <a:lnTo>
                          <a:pt x="0" y="1535385"/>
                        </a:lnTo>
                        <a:cubicBezTo>
                          <a:pt x="0" y="1542239"/>
                          <a:pt x="0" y="1542239"/>
                          <a:pt x="6854" y="1549092"/>
                        </a:cubicBezTo>
                        <a:cubicBezTo>
                          <a:pt x="6854" y="1555945"/>
                          <a:pt x="6854" y="1555945"/>
                          <a:pt x="13707" y="1562799"/>
                        </a:cubicBezTo>
                        <a:cubicBezTo>
                          <a:pt x="13707" y="1569652"/>
                          <a:pt x="20560" y="1569652"/>
                          <a:pt x="20560" y="1576506"/>
                        </a:cubicBezTo>
                        <a:cubicBezTo>
                          <a:pt x="20560" y="1576506"/>
                          <a:pt x="20560" y="1583359"/>
                          <a:pt x="27414" y="1583359"/>
                        </a:cubicBezTo>
                        <a:cubicBezTo>
                          <a:pt x="34267" y="1597066"/>
                          <a:pt x="47997" y="1610796"/>
                          <a:pt x="68557" y="1624503"/>
                        </a:cubicBezTo>
                        <a:cubicBezTo>
                          <a:pt x="68557" y="1624503"/>
                          <a:pt x="75411" y="1631356"/>
                          <a:pt x="82264" y="1631356"/>
                        </a:cubicBezTo>
                        <a:cubicBezTo>
                          <a:pt x="89118" y="1631356"/>
                          <a:pt x="89118" y="1638209"/>
                          <a:pt x="95971" y="1638209"/>
                        </a:cubicBezTo>
                        <a:cubicBezTo>
                          <a:pt x="102824" y="1638209"/>
                          <a:pt x="102824" y="1638209"/>
                          <a:pt x="109678" y="1645063"/>
                        </a:cubicBezTo>
                        <a:cubicBezTo>
                          <a:pt x="116531" y="1645063"/>
                          <a:pt x="116531" y="1645063"/>
                          <a:pt x="123385" y="1651916"/>
                        </a:cubicBezTo>
                        <a:lnTo>
                          <a:pt x="150821" y="1651916"/>
                        </a:lnTo>
                        <a:lnTo>
                          <a:pt x="836621" y="1651916"/>
                        </a:lnTo>
                        <a:cubicBezTo>
                          <a:pt x="912054" y="1651916"/>
                          <a:pt x="973781" y="1590189"/>
                          <a:pt x="973781" y="1514756"/>
                        </a:cubicBezTo>
                        <a:cubicBezTo>
                          <a:pt x="973781" y="1439324"/>
                          <a:pt x="912054" y="1377596"/>
                          <a:pt x="836621" y="1377596"/>
                        </a:cubicBezTo>
                        <a:lnTo>
                          <a:pt x="480016" y="1377596"/>
                        </a:lnTo>
                        <a:lnTo>
                          <a:pt x="1618445" y="239168"/>
                        </a:lnTo>
                        <a:cubicBezTo>
                          <a:pt x="1673318" y="184295"/>
                          <a:pt x="1673318" y="102008"/>
                          <a:pt x="1618445" y="47133"/>
                        </a:cubicBezTo>
                        <a:cubicBezTo>
                          <a:pt x="1549910" y="-14526"/>
                          <a:pt x="1467620" y="-14526"/>
                          <a:pt x="1412750" y="40324"/>
                        </a:cubicBezTo>
                        <a:close/>
                      </a:path>
                    </a:pathLst>
                  </a:custGeom>
                  <a:solidFill>
                    <a:schemeClr val="bg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280" name="Freeform: Shape 279">
                    <a:extLst>
                      <a:ext uri="{FF2B5EF4-FFF2-40B4-BE49-F238E27FC236}">
                        <a16:creationId xmlns:a16="http://schemas.microsoft.com/office/drawing/2014/main" id="{A7CC8179-F28F-0762-33D4-20EBF87EAB13}"/>
                      </a:ext>
                    </a:extLst>
                  </p:cNvPr>
                  <p:cNvSpPr/>
                  <p:nvPr/>
                </p:nvSpPr>
                <p:spPr>
                  <a:xfrm>
                    <a:off x="3930010" y="5696551"/>
                    <a:ext cx="71404" cy="128060"/>
                  </a:xfrm>
                  <a:custGeom>
                    <a:avLst/>
                    <a:gdLst>
                      <a:gd name="connsiteX0" fmla="*/ 761199 w 1303000"/>
                      <a:gd name="connsiteY0" fmla="*/ 46284 h 2336872"/>
                      <a:gd name="connsiteX1" fmla="*/ 740616 w 1303000"/>
                      <a:gd name="connsiteY1" fmla="*/ 25700 h 2336872"/>
                      <a:gd name="connsiteX2" fmla="*/ 726909 w 1303000"/>
                      <a:gd name="connsiteY2" fmla="*/ 18847 h 2336872"/>
                      <a:gd name="connsiteX3" fmla="*/ 713202 w 1303000"/>
                      <a:gd name="connsiteY3" fmla="*/ 11994 h 2336872"/>
                      <a:gd name="connsiteX4" fmla="*/ 699495 w 1303000"/>
                      <a:gd name="connsiteY4" fmla="*/ 5140 h 2336872"/>
                      <a:gd name="connsiteX5" fmla="*/ 685789 w 1303000"/>
                      <a:gd name="connsiteY5" fmla="*/ 5140 h 2336872"/>
                      <a:gd name="connsiteX6" fmla="*/ 630915 w 1303000"/>
                      <a:gd name="connsiteY6" fmla="*/ 5140 h 2336872"/>
                      <a:gd name="connsiteX7" fmla="*/ 617209 w 1303000"/>
                      <a:gd name="connsiteY7" fmla="*/ 5140 h 2336872"/>
                      <a:gd name="connsiteX8" fmla="*/ 603502 w 1303000"/>
                      <a:gd name="connsiteY8" fmla="*/ 11994 h 2336872"/>
                      <a:gd name="connsiteX9" fmla="*/ 589795 w 1303000"/>
                      <a:gd name="connsiteY9" fmla="*/ 18847 h 2336872"/>
                      <a:gd name="connsiteX10" fmla="*/ 576088 w 1303000"/>
                      <a:gd name="connsiteY10" fmla="*/ 25700 h 2336872"/>
                      <a:gd name="connsiteX11" fmla="*/ 555505 w 1303000"/>
                      <a:gd name="connsiteY11" fmla="*/ 46284 h 2336872"/>
                      <a:gd name="connsiteX12" fmla="*/ 41155 w 1303000"/>
                      <a:gd name="connsiteY12" fmla="*/ 560634 h 2336872"/>
                      <a:gd name="connsiteX13" fmla="*/ 41155 w 1303000"/>
                      <a:gd name="connsiteY13" fmla="*/ 752669 h 2336872"/>
                      <a:gd name="connsiteX14" fmla="*/ 137173 w 1303000"/>
                      <a:gd name="connsiteY14" fmla="*/ 793813 h 2336872"/>
                      <a:gd name="connsiteX15" fmla="*/ 233190 w 1303000"/>
                      <a:gd name="connsiteY15" fmla="*/ 752669 h 2336872"/>
                      <a:gd name="connsiteX16" fmla="*/ 514363 w 1303000"/>
                      <a:gd name="connsiteY16" fmla="*/ 471497 h 2336872"/>
                      <a:gd name="connsiteX17" fmla="*/ 514318 w 1303000"/>
                      <a:gd name="connsiteY17" fmla="*/ 2199713 h 2336872"/>
                      <a:gd name="connsiteX18" fmla="*/ 651478 w 1303000"/>
                      <a:gd name="connsiteY18" fmla="*/ 2336873 h 2336872"/>
                      <a:gd name="connsiteX19" fmla="*/ 788638 w 1303000"/>
                      <a:gd name="connsiteY19" fmla="*/ 2199713 h 2336872"/>
                      <a:gd name="connsiteX20" fmla="*/ 788638 w 1303000"/>
                      <a:gd name="connsiteY20" fmla="*/ 471497 h 2336872"/>
                      <a:gd name="connsiteX21" fmla="*/ 1069810 w 1303000"/>
                      <a:gd name="connsiteY21" fmla="*/ 752669 h 2336872"/>
                      <a:gd name="connsiteX22" fmla="*/ 1165828 w 1303000"/>
                      <a:gd name="connsiteY22" fmla="*/ 793813 h 2336872"/>
                      <a:gd name="connsiteX23" fmla="*/ 1261846 w 1303000"/>
                      <a:gd name="connsiteY23" fmla="*/ 752669 h 2336872"/>
                      <a:gd name="connsiteX24" fmla="*/ 1261846 w 1303000"/>
                      <a:gd name="connsiteY24" fmla="*/ 560634 h 2336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03000" h="2336872">
                        <a:moveTo>
                          <a:pt x="761199" y="46284"/>
                        </a:moveTo>
                        <a:cubicBezTo>
                          <a:pt x="754346" y="39430"/>
                          <a:pt x="747492" y="32577"/>
                          <a:pt x="740616" y="25700"/>
                        </a:cubicBezTo>
                        <a:cubicBezTo>
                          <a:pt x="733763" y="25700"/>
                          <a:pt x="733763" y="18847"/>
                          <a:pt x="726909" y="18847"/>
                        </a:cubicBezTo>
                        <a:cubicBezTo>
                          <a:pt x="720056" y="18847"/>
                          <a:pt x="720056" y="11994"/>
                          <a:pt x="713202" y="11994"/>
                        </a:cubicBezTo>
                        <a:cubicBezTo>
                          <a:pt x="706349" y="11994"/>
                          <a:pt x="706349" y="11994"/>
                          <a:pt x="699495" y="5140"/>
                        </a:cubicBezTo>
                        <a:lnTo>
                          <a:pt x="685789" y="5140"/>
                        </a:lnTo>
                        <a:cubicBezTo>
                          <a:pt x="665205" y="-1713"/>
                          <a:pt x="651499" y="-1713"/>
                          <a:pt x="630915" y="5140"/>
                        </a:cubicBezTo>
                        <a:lnTo>
                          <a:pt x="617209" y="5140"/>
                        </a:lnTo>
                        <a:cubicBezTo>
                          <a:pt x="610355" y="5140"/>
                          <a:pt x="610355" y="5140"/>
                          <a:pt x="603502" y="11994"/>
                        </a:cubicBezTo>
                        <a:cubicBezTo>
                          <a:pt x="596648" y="11994"/>
                          <a:pt x="596648" y="18847"/>
                          <a:pt x="589795" y="18847"/>
                        </a:cubicBezTo>
                        <a:cubicBezTo>
                          <a:pt x="582942" y="18847"/>
                          <a:pt x="582942" y="25700"/>
                          <a:pt x="576088" y="25700"/>
                        </a:cubicBezTo>
                        <a:cubicBezTo>
                          <a:pt x="569235" y="32554"/>
                          <a:pt x="562381" y="39407"/>
                          <a:pt x="555505" y="46284"/>
                        </a:cubicBezTo>
                        <a:lnTo>
                          <a:pt x="41155" y="560634"/>
                        </a:lnTo>
                        <a:cubicBezTo>
                          <a:pt x="-13718" y="615507"/>
                          <a:pt x="-13718" y="697794"/>
                          <a:pt x="41155" y="752669"/>
                        </a:cubicBezTo>
                        <a:cubicBezTo>
                          <a:pt x="68591" y="780106"/>
                          <a:pt x="102883" y="793813"/>
                          <a:pt x="137173" y="793813"/>
                        </a:cubicBezTo>
                        <a:cubicBezTo>
                          <a:pt x="171463" y="793813"/>
                          <a:pt x="205753" y="780106"/>
                          <a:pt x="233190" y="752669"/>
                        </a:cubicBezTo>
                        <a:lnTo>
                          <a:pt x="514363" y="471497"/>
                        </a:lnTo>
                        <a:lnTo>
                          <a:pt x="514318" y="2199713"/>
                        </a:lnTo>
                        <a:cubicBezTo>
                          <a:pt x="514318" y="2275145"/>
                          <a:pt x="576046" y="2336873"/>
                          <a:pt x="651478" y="2336873"/>
                        </a:cubicBezTo>
                        <a:cubicBezTo>
                          <a:pt x="726910" y="2336873"/>
                          <a:pt x="788638" y="2275145"/>
                          <a:pt x="788638" y="2199713"/>
                        </a:cubicBezTo>
                        <a:lnTo>
                          <a:pt x="788638" y="471497"/>
                        </a:lnTo>
                        <a:lnTo>
                          <a:pt x="1069810" y="752669"/>
                        </a:lnTo>
                        <a:cubicBezTo>
                          <a:pt x="1097247" y="780106"/>
                          <a:pt x="1131538" y="793813"/>
                          <a:pt x="1165828" y="793813"/>
                        </a:cubicBezTo>
                        <a:cubicBezTo>
                          <a:pt x="1200118" y="793813"/>
                          <a:pt x="1234408" y="780106"/>
                          <a:pt x="1261846" y="752669"/>
                        </a:cubicBezTo>
                        <a:cubicBezTo>
                          <a:pt x="1316719" y="697796"/>
                          <a:pt x="1316719" y="615509"/>
                          <a:pt x="1261846" y="560634"/>
                        </a:cubicBezTo>
                        <a:close/>
                      </a:path>
                    </a:pathLst>
                  </a:custGeom>
                  <a:solidFill>
                    <a:schemeClr val="bg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grpSp>
        </p:grpSp>
        <p:grpSp>
          <p:nvGrpSpPr>
            <p:cNvPr id="104" name="Group 103">
              <a:extLst>
                <a:ext uri="{FF2B5EF4-FFF2-40B4-BE49-F238E27FC236}">
                  <a16:creationId xmlns:a16="http://schemas.microsoft.com/office/drawing/2014/main" id="{5CA5A54D-195D-BA39-1AC0-3B1B976A1283}"/>
                </a:ext>
              </a:extLst>
            </p:cNvPr>
            <p:cNvGrpSpPr/>
            <p:nvPr/>
          </p:nvGrpSpPr>
          <p:grpSpPr>
            <a:xfrm>
              <a:off x="3804284" y="7048604"/>
              <a:ext cx="1512435" cy="392652"/>
              <a:chOff x="2232003" y="5495989"/>
              <a:chExt cx="1512435" cy="392652"/>
            </a:xfrm>
          </p:grpSpPr>
          <p:sp>
            <p:nvSpPr>
              <p:cNvPr id="264" name="Rectangle 263">
                <a:extLst>
                  <a:ext uri="{FF2B5EF4-FFF2-40B4-BE49-F238E27FC236}">
                    <a16:creationId xmlns:a16="http://schemas.microsoft.com/office/drawing/2014/main" id="{119A4F00-9CDF-7F47-2771-AE9C51D43579}"/>
                  </a:ext>
                </a:extLst>
              </p:cNvPr>
              <p:cNvSpPr/>
              <p:nvPr/>
            </p:nvSpPr>
            <p:spPr>
              <a:xfrm>
                <a:off x="2605445" y="5534187"/>
                <a:ext cx="1138993" cy="3162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Roboto"/>
                    <a:ea typeface="+mn-ea"/>
                    <a:cs typeface="+mn-cs"/>
                  </a:rPr>
                  <a:t>Trusted deliveries</a:t>
                </a:r>
              </a:p>
            </p:txBody>
          </p:sp>
          <p:grpSp>
            <p:nvGrpSpPr>
              <p:cNvPr id="281" name="Group 280">
                <a:extLst>
                  <a:ext uri="{FF2B5EF4-FFF2-40B4-BE49-F238E27FC236}">
                    <a16:creationId xmlns:a16="http://schemas.microsoft.com/office/drawing/2014/main" id="{1AD970D7-BD57-C56F-857A-06CDC35C6849}"/>
                  </a:ext>
                </a:extLst>
              </p:cNvPr>
              <p:cNvGrpSpPr/>
              <p:nvPr/>
            </p:nvGrpSpPr>
            <p:grpSpPr>
              <a:xfrm>
                <a:off x="2232003" y="5495989"/>
                <a:ext cx="340028" cy="392652"/>
                <a:chOff x="2253666" y="5521004"/>
                <a:chExt cx="296702" cy="342621"/>
              </a:xfrm>
            </p:grpSpPr>
            <p:sp>
              <p:nvSpPr>
                <p:cNvPr id="282" name="Graphic 18">
                  <a:extLst>
                    <a:ext uri="{FF2B5EF4-FFF2-40B4-BE49-F238E27FC236}">
                      <a16:creationId xmlns:a16="http://schemas.microsoft.com/office/drawing/2014/main" id="{E9A4B962-6473-D0B9-0829-F864B78E199B}"/>
                    </a:ext>
                  </a:extLst>
                </p:cNvPr>
                <p:cNvSpPr/>
                <p:nvPr/>
              </p:nvSpPr>
              <p:spPr>
                <a:xfrm>
                  <a:off x="2253666" y="5521004"/>
                  <a:ext cx="296702" cy="342621"/>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sp>
              <p:nvSpPr>
                <p:cNvPr id="283" name="Graphic 40">
                  <a:extLst>
                    <a:ext uri="{FF2B5EF4-FFF2-40B4-BE49-F238E27FC236}">
                      <a16:creationId xmlns:a16="http://schemas.microsoft.com/office/drawing/2014/main" id="{0DD9CA66-FC14-5AD4-CDB0-355DF0217FD1}"/>
                    </a:ext>
                  </a:extLst>
                </p:cNvPr>
                <p:cNvSpPr/>
                <p:nvPr/>
              </p:nvSpPr>
              <p:spPr>
                <a:xfrm>
                  <a:off x="2276703" y="5622167"/>
                  <a:ext cx="250628" cy="140294"/>
                </a:xfrm>
                <a:custGeom>
                  <a:avLst/>
                  <a:gdLst>
                    <a:gd name="connsiteX0" fmla="*/ 5057775 w 5657850"/>
                    <a:gd name="connsiteY0" fmla="*/ 1114425 h 3167088"/>
                    <a:gd name="connsiteX1" fmla="*/ 4426839 w 5657850"/>
                    <a:gd name="connsiteY1" fmla="*/ 0 h 3167088"/>
                    <a:gd name="connsiteX2" fmla="*/ 257175 w 5657850"/>
                    <a:gd name="connsiteY2" fmla="*/ 0 h 3167088"/>
                    <a:gd name="connsiteX3" fmla="*/ 75324 w 5657850"/>
                    <a:gd name="connsiteY3" fmla="*/ 75324 h 3167088"/>
                    <a:gd name="connsiteX4" fmla="*/ 0 w 5657850"/>
                    <a:gd name="connsiteY4" fmla="*/ 257175 h 3167088"/>
                    <a:gd name="connsiteX5" fmla="*/ 0 w 5657850"/>
                    <a:gd name="connsiteY5" fmla="*/ 2657475 h 3167088"/>
                    <a:gd name="connsiteX6" fmla="*/ 692658 w 5657850"/>
                    <a:gd name="connsiteY6" fmla="*/ 2657475 h 3167088"/>
                    <a:gd name="connsiteX7" fmla="*/ 1012430 w 5657850"/>
                    <a:gd name="connsiteY7" fmla="*/ 3101171 h 3167088"/>
                    <a:gd name="connsiteX8" fmla="*/ 1559326 w 5657850"/>
                    <a:gd name="connsiteY8" fmla="*/ 3101171 h 3167088"/>
                    <a:gd name="connsiteX9" fmla="*/ 1879098 w 5657850"/>
                    <a:gd name="connsiteY9" fmla="*/ 2657475 h 3167088"/>
                    <a:gd name="connsiteX10" fmla="*/ 3950214 w 5657850"/>
                    <a:gd name="connsiteY10" fmla="*/ 2657475 h 3167088"/>
                    <a:gd name="connsiteX11" fmla="*/ 4269985 w 5657850"/>
                    <a:gd name="connsiteY11" fmla="*/ 3101171 h 3167088"/>
                    <a:gd name="connsiteX12" fmla="*/ 4816882 w 5657850"/>
                    <a:gd name="connsiteY12" fmla="*/ 3101171 h 3167088"/>
                    <a:gd name="connsiteX13" fmla="*/ 5136642 w 5657850"/>
                    <a:gd name="connsiteY13" fmla="*/ 2657475 h 3167088"/>
                    <a:gd name="connsiteX14" fmla="*/ 5657850 w 5657850"/>
                    <a:gd name="connsiteY14" fmla="*/ 2657475 h 3167088"/>
                    <a:gd name="connsiteX15" fmla="*/ 5657850 w 5657850"/>
                    <a:gd name="connsiteY15" fmla="*/ 1714500 h 3167088"/>
                    <a:gd name="connsiteX16" fmla="*/ 5482114 w 5657850"/>
                    <a:gd name="connsiteY16" fmla="*/ 1290184 h 3167088"/>
                    <a:gd name="connsiteX17" fmla="*/ 5057781 w 5657850"/>
                    <a:gd name="connsiteY17" fmla="*/ 1114425 h 3167088"/>
                    <a:gd name="connsiteX18" fmla="*/ 3771900 w 5657850"/>
                    <a:gd name="connsiteY18" fmla="*/ 171450 h 3167088"/>
                    <a:gd name="connsiteX19" fmla="*/ 4327392 w 5657850"/>
                    <a:gd name="connsiteY19" fmla="*/ 171450 h 3167088"/>
                    <a:gd name="connsiteX20" fmla="*/ 4860608 w 5657850"/>
                    <a:gd name="connsiteY20" fmla="*/ 1114425 h 3167088"/>
                    <a:gd name="connsiteX21" fmla="*/ 3771900 w 5657850"/>
                    <a:gd name="connsiteY21" fmla="*/ 1114425 h 3167088"/>
                    <a:gd name="connsiteX22" fmla="*/ 1285875 w 5657850"/>
                    <a:gd name="connsiteY22" fmla="*/ 3000375 h 3167088"/>
                    <a:gd name="connsiteX23" fmla="*/ 982803 w 5657850"/>
                    <a:gd name="connsiteY23" fmla="*/ 2874822 h 3167088"/>
                    <a:gd name="connsiteX24" fmla="*/ 857250 w 5657850"/>
                    <a:gd name="connsiteY24" fmla="*/ 2571750 h 3167088"/>
                    <a:gd name="connsiteX25" fmla="*/ 982803 w 5657850"/>
                    <a:gd name="connsiteY25" fmla="*/ 2268678 h 3167088"/>
                    <a:gd name="connsiteX26" fmla="*/ 1285875 w 5657850"/>
                    <a:gd name="connsiteY26" fmla="*/ 2143125 h 3167088"/>
                    <a:gd name="connsiteX27" fmla="*/ 1588947 w 5657850"/>
                    <a:gd name="connsiteY27" fmla="*/ 2268678 h 3167088"/>
                    <a:gd name="connsiteX28" fmla="*/ 1714500 w 5657850"/>
                    <a:gd name="connsiteY28" fmla="*/ 2571750 h 3167088"/>
                    <a:gd name="connsiteX29" fmla="*/ 1588947 w 5657850"/>
                    <a:gd name="connsiteY29" fmla="*/ 2874822 h 3167088"/>
                    <a:gd name="connsiteX30" fmla="*/ 1285875 w 5657850"/>
                    <a:gd name="connsiteY30" fmla="*/ 3000375 h 3167088"/>
                    <a:gd name="connsiteX31" fmla="*/ 4543425 w 5657850"/>
                    <a:gd name="connsiteY31" fmla="*/ 3000375 h 3167088"/>
                    <a:gd name="connsiteX32" fmla="*/ 4240353 w 5657850"/>
                    <a:gd name="connsiteY32" fmla="*/ 2874822 h 3167088"/>
                    <a:gd name="connsiteX33" fmla="*/ 4114800 w 5657850"/>
                    <a:gd name="connsiteY33" fmla="*/ 2571750 h 3167088"/>
                    <a:gd name="connsiteX34" fmla="*/ 4240353 w 5657850"/>
                    <a:gd name="connsiteY34" fmla="*/ 2268678 h 3167088"/>
                    <a:gd name="connsiteX35" fmla="*/ 4543425 w 5657850"/>
                    <a:gd name="connsiteY35" fmla="*/ 2143125 h 3167088"/>
                    <a:gd name="connsiteX36" fmla="*/ 4846497 w 5657850"/>
                    <a:gd name="connsiteY36" fmla="*/ 2268678 h 3167088"/>
                    <a:gd name="connsiteX37" fmla="*/ 4972050 w 5657850"/>
                    <a:gd name="connsiteY37" fmla="*/ 2571750 h 3167088"/>
                    <a:gd name="connsiteX38" fmla="*/ 4846497 w 5657850"/>
                    <a:gd name="connsiteY38" fmla="*/ 2874822 h 3167088"/>
                    <a:gd name="connsiteX39" fmla="*/ 4543425 w 5657850"/>
                    <a:gd name="connsiteY39" fmla="*/ 3000375 h 3167088"/>
                    <a:gd name="connsiteX40" fmla="*/ 5486400 w 5657850"/>
                    <a:gd name="connsiteY40" fmla="*/ 2486025 h 3167088"/>
                    <a:gd name="connsiteX41" fmla="*/ 5136642 w 5657850"/>
                    <a:gd name="connsiteY41" fmla="*/ 2486025 h 3167088"/>
                    <a:gd name="connsiteX42" fmla="*/ 4816877 w 5657850"/>
                    <a:gd name="connsiteY42" fmla="*/ 2042329 h 3167088"/>
                    <a:gd name="connsiteX43" fmla="*/ 4269980 w 5657850"/>
                    <a:gd name="connsiteY43" fmla="*/ 2042329 h 3167088"/>
                    <a:gd name="connsiteX44" fmla="*/ 3950208 w 5657850"/>
                    <a:gd name="connsiteY44" fmla="*/ 2486025 h 3167088"/>
                    <a:gd name="connsiteX45" fmla="*/ 1879092 w 5657850"/>
                    <a:gd name="connsiteY45" fmla="*/ 2486025 h 3167088"/>
                    <a:gd name="connsiteX46" fmla="*/ 1559321 w 5657850"/>
                    <a:gd name="connsiteY46" fmla="*/ 2042329 h 3167088"/>
                    <a:gd name="connsiteX47" fmla="*/ 1012424 w 5657850"/>
                    <a:gd name="connsiteY47" fmla="*/ 2042329 h 3167088"/>
                    <a:gd name="connsiteX48" fmla="*/ 692652 w 5657850"/>
                    <a:gd name="connsiteY48" fmla="*/ 2486025 h 3167088"/>
                    <a:gd name="connsiteX49" fmla="*/ 171450 w 5657850"/>
                    <a:gd name="connsiteY49" fmla="*/ 2486025 h 3167088"/>
                    <a:gd name="connsiteX50" fmla="*/ 171450 w 5657850"/>
                    <a:gd name="connsiteY50" fmla="*/ 257175 h 3167088"/>
                    <a:gd name="connsiteX51" fmla="*/ 196567 w 5657850"/>
                    <a:gd name="connsiteY51" fmla="*/ 196567 h 3167088"/>
                    <a:gd name="connsiteX52" fmla="*/ 257169 w 5657850"/>
                    <a:gd name="connsiteY52" fmla="*/ 171450 h 3167088"/>
                    <a:gd name="connsiteX53" fmla="*/ 3600450 w 5657850"/>
                    <a:gd name="connsiteY53" fmla="*/ 171450 h 3167088"/>
                    <a:gd name="connsiteX54" fmla="*/ 3600450 w 5657850"/>
                    <a:gd name="connsiteY54" fmla="*/ 1285875 h 3167088"/>
                    <a:gd name="connsiteX55" fmla="*/ 5057775 w 5657850"/>
                    <a:gd name="connsiteY55" fmla="*/ 1285875 h 3167088"/>
                    <a:gd name="connsiteX56" fmla="*/ 5360842 w 5657850"/>
                    <a:gd name="connsiteY56" fmla="*/ 1411428 h 3167088"/>
                    <a:gd name="connsiteX57" fmla="*/ 5486400 w 5657850"/>
                    <a:gd name="connsiteY57" fmla="*/ 1714500 h 3167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657850" h="3167088">
                      <a:moveTo>
                        <a:pt x="5057775" y="1114425"/>
                      </a:moveTo>
                      <a:lnTo>
                        <a:pt x="4426839" y="0"/>
                      </a:lnTo>
                      <a:lnTo>
                        <a:pt x="257175" y="0"/>
                      </a:lnTo>
                      <a:cubicBezTo>
                        <a:pt x="188972" y="0"/>
                        <a:pt x="123564" y="27101"/>
                        <a:pt x="75324" y="75324"/>
                      </a:cubicBezTo>
                      <a:cubicBezTo>
                        <a:pt x="27106" y="123564"/>
                        <a:pt x="0" y="188978"/>
                        <a:pt x="0" y="257175"/>
                      </a:cubicBezTo>
                      <a:lnTo>
                        <a:pt x="0" y="2657475"/>
                      </a:lnTo>
                      <a:lnTo>
                        <a:pt x="692658" y="2657475"/>
                      </a:lnTo>
                      <a:cubicBezTo>
                        <a:pt x="721747" y="2848168"/>
                        <a:pt x="840711" y="3013257"/>
                        <a:pt x="1012430" y="3101171"/>
                      </a:cubicBezTo>
                      <a:cubicBezTo>
                        <a:pt x="1184125" y="3189062"/>
                        <a:pt x="1387631" y="3189062"/>
                        <a:pt x="1559326" y="3101171"/>
                      </a:cubicBezTo>
                      <a:cubicBezTo>
                        <a:pt x="1731045" y="3013257"/>
                        <a:pt x="1850008" y="2848168"/>
                        <a:pt x="1879098" y="2657475"/>
                      </a:cubicBezTo>
                      <a:lnTo>
                        <a:pt x="3950214" y="2657475"/>
                      </a:lnTo>
                      <a:cubicBezTo>
                        <a:pt x="3979303" y="2848168"/>
                        <a:pt x="4098267" y="3013257"/>
                        <a:pt x="4269985" y="3101171"/>
                      </a:cubicBezTo>
                      <a:cubicBezTo>
                        <a:pt x="4441681" y="3189062"/>
                        <a:pt x="4645187" y="3189062"/>
                        <a:pt x="4816882" y="3101171"/>
                      </a:cubicBezTo>
                      <a:cubicBezTo>
                        <a:pt x="4988601" y="3013257"/>
                        <a:pt x="5107564" y="2848168"/>
                        <a:pt x="5136642" y="2657475"/>
                      </a:cubicBezTo>
                      <a:lnTo>
                        <a:pt x="5657850" y="2657475"/>
                      </a:lnTo>
                      <a:lnTo>
                        <a:pt x="5657850" y="1714500"/>
                      </a:lnTo>
                      <a:cubicBezTo>
                        <a:pt x="5657850" y="1555349"/>
                        <a:pt x="5594642" y="1402718"/>
                        <a:pt x="5482114" y="1290184"/>
                      </a:cubicBezTo>
                      <a:cubicBezTo>
                        <a:pt x="5369586" y="1177650"/>
                        <a:pt x="5216938" y="1114425"/>
                        <a:pt x="5057781" y="1114425"/>
                      </a:cubicBezTo>
                      <a:close/>
                      <a:moveTo>
                        <a:pt x="3771900" y="171450"/>
                      </a:moveTo>
                      <a:lnTo>
                        <a:pt x="4327392" y="171450"/>
                      </a:lnTo>
                      <a:lnTo>
                        <a:pt x="4860608" y="1114425"/>
                      </a:lnTo>
                      <a:lnTo>
                        <a:pt x="3771900" y="1114425"/>
                      </a:lnTo>
                      <a:close/>
                      <a:moveTo>
                        <a:pt x="1285875" y="3000375"/>
                      </a:moveTo>
                      <a:cubicBezTo>
                        <a:pt x="1172198" y="3000375"/>
                        <a:pt x="1063167" y="2955215"/>
                        <a:pt x="982803" y="2874822"/>
                      </a:cubicBezTo>
                      <a:cubicBezTo>
                        <a:pt x="902416" y="2794458"/>
                        <a:pt x="857250" y="2685422"/>
                        <a:pt x="857250" y="2571750"/>
                      </a:cubicBezTo>
                      <a:cubicBezTo>
                        <a:pt x="857250" y="2458079"/>
                        <a:pt x="902410" y="2349042"/>
                        <a:pt x="982803" y="2268678"/>
                      </a:cubicBezTo>
                      <a:cubicBezTo>
                        <a:pt x="1063167" y="2188291"/>
                        <a:pt x="1172204" y="2143125"/>
                        <a:pt x="1285875" y="2143125"/>
                      </a:cubicBezTo>
                      <a:cubicBezTo>
                        <a:pt x="1399546" y="2143125"/>
                        <a:pt x="1508583" y="2188285"/>
                        <a:pt x="1588947" y="2268678"/>
                      </a:cubicBezTo>
                      <a:cubicBezTo>
                        <a:pt x="1669334" y="2349042"/>
                        <a:pt x="1714500" y="2458079"/>
                        <a:pt x="1714500" y="2571750"/>
                      </a:cubicBezTo>
                      <a:cubicBezTo>
                        <a:pt x="1714500" y="2685422"/>
                        <a:pt x="1669340" y="2794458"/>
                        <a:pt x="1588947" y="2874822"/>
                      </a:cubicBezTo>
                      <a:cubicBezTo>
                        <a:pt x="1508583" y="2955209"/>
                        <a:pt x="1399546" y="3000375"/>
                        <a:pt x="1285875" y="3000375"/>
                      </a:cubicBezTo>
                      <a:close/>
                      <a:moveTo>
                        <a:pt x="4543425" y="3000375"/>
                      </a:moveTo>
                      <a:cubicBezTo>
                        <a:pt x="4429748" y="3000375"/>
                        <a:pt x="4320717" y="2955215"/>
                        <a:pt x="4240353" y="2874822"/>
                      </a:cubicBezTo>
                      <a:cubicBezTo>
                        <a:pt x="4159966" y="2794458"/>
                        <a:pt x="4114800" y="2685422"/>
                        <a:pt x="4114800" y="2571750"/>
                      </a:cubicBezTo>
                      <a:cubicBezTo>
                        <a:pt x="4114800" y="2458079"/>
                        <a:pt x="4159960" y="2349042"/>
                        <a:pt x="4240353" y="2268678"/>
                      </a:cubicBezTo>
                      <a:cubicBezTo>
                        <a:pt x="4320717" y="2188291"/>
                        <a:pt x="4429754" y="2143125"/>
                        <a:pt x="4543425" y="2143125"/>
                      </a:cubicBezTo>
                      <a:cubicBezTo>
                        <a:pt x="4657097" y="2143125"/>
                        <a:pt x="4766133" y="2188285"/>
                        <a:pt x="4846497" y="2268678"/>
                      </a:cubicBezTo>
                      <a:cubicBezTo>
                        <a:pt x="4926885" y="2349042"/>
                        <a:pt x="4972050" y="2458079"/>
                        <a:pt x="4972050" y="2571750"/>
                      </a:cubicBezTo>
                      <a:cubicBezTo>
                        <a:pt x="4972050" y="2685422"/>
                        <a:pt x="4926890" y="2794458"/>
                        <a:pt x="4846497" y="2874822"/>
                      </a:cubicBezTo>
                      <a:cubicBezTo>
                        <a:pt x="4766133" y="2955209"/>
                        <a:pt x="4657097" y="3000375"/>
                        <a:pt x="4543425" y="3000375"/>
                      </a:cubicBezTo>
                      <a:close/>
                      <a:moveTo>
                        <a:pt x="5486400" y="2486025"/>
                      </a:moveTo>
                      <a:lnTo>
                        <a:pt x="5136642" y="2486025"/>
                      </a:lnTo>
                      <a:cubicBezTo>
                        <a:pt x="5107559" y="2295333"/>
                        <a:pt x="4988595" y="2130243"/>
                        <a:pt x="4816877" y="2042329"/>
                      </a:cubicBezTo>
                      <a:cubicBezTo>
                        <a:pt x="4645181" y="1954439"/>
                        <a:pt x="4441675" y="1954439"/>
                        <a:pt x="4269980" y="2042329"/>
                      </a:cubicBezTo>
                      <a:cubicBezTo>
                        <a:pt x="4098261" y="2130243"/>
                        <a:pt x="3979297" y="2295333"/>
                        <a:pt x="3950208" y="2486025"/>
                      </a:cubicBezTo>
                      <a:lnTo>
                        <a:pt x="1879092" y="2486025"/>
                      </a:lnTo>
                      <a:cubicBezTo>
                        <a:pt x="1850003" y="2295333"/>
                        <a:pt x="1731039" y="2130243"/>
                        <a:pt x="1559321" y="2042329"/>
                      </a:cubicBezTo>
                      <a:cubicBezTo>
                        <a:pt x="1387625" y="1954439"/>
                        <a:pt x="1184120" y="1954439"/>
                        <a:pt x="1012424" y="2042329"/>
                      </a:cubicBezTo>
                      <a:cubicBezTo>
                        <a:pt x="840705" y="2130243"/>
                        <a:pt x="721742" y="2295333"/>
                        <a:pt x="692652" y="2486025"/>
                      </a:cubicBezTo>
                      <a:lnTo>
                        <a:pt x="171450" y="2486025"/>
                      </a:lnTo>
                      <a:lnTo>
                        <a:pt x="171450" y="257175"/>
                      </a:lnTo>
                      <a:cubicBezTo>
                        <a:pt x="171450" y="234447"/>
                        <a:pt x="180491" y="212638"/>
                        <a:pt x="196567" y="196567"/>
                      </a:cubicBezTo>
                      <a:cubicBezTo>
                        <a:pt x="212638" y="180497"/>
                        <a:pt x="234446" y="171450"/>
                        <a:pt x="257169" y="171450"/>
                      </a:cubicBezTo>
                      <a:lnTo>
                        <a:pt x="3600450" y="171450"/>
                      </a:lnTo>
                      <a:lnTo>
                        <a:pt x="3600450" y="1285875"/>
                      </a:lnTo>
                      <a:lnTo>
                        <a:pt x="5057775" y="1285875"/>
                      </a:lnTo>
                      <a:cubicBezTo>
                        <a:pt x="5171447" y="1285875"/>
                        <a:pt x="5280489" y="1331041"/>
                        <a:pt x="5360842" y="1411428"/>
                      </a:cubicBezTo>
                      <a:cubicBezTo>
                        <a:pt x="5441252" y="1491792"/>
                        <a:pt x="5486400" y="1600829"/>
                        <a:pt x="5486400" y="1714500"/>
                      </a:cubicBezTo>
                      <a:close/>
                    </a:path>
                  </a:pathLst>
                </a:custGeom>
                <a:solidFill>
                  <a:schemeClr val="bg1"/>
                </a:solidFill>
                <a:ln w="57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grpSp>
        <p:grpSp>
          <p:nvGrpSpPr>
            <p:cNvPr id="105" name="Group 104">
              <a:extLst>
                <a:ext uri="{FF2B5EF4-FFF2-40B4-BE49-F238E27FC236}">
                  <a16:creationId xmlns:a16="http://schemas.microsoft.com/office/drawing/2014/main" id="{FF9DEAE1-BF33-B7D7-5805-1FF0D2FDF6E6}"/>
                </a:ext>
              </a:extLst>
            </p:cNvPr>
            <p:cNvGrpSpPr/>
            <p:nvPr/>
          </p:nvGrpSpPr>
          <p:grpSpPr>
            <a:xfrm>
              <a:off x="6972285" y="7048604"/>
              <a:ext cx="1172407" cy="392652"/>
              <a:chOff x="6949772" y="5915494"/>
              <a:chExt cx="1172407" cy="392652"/>
            </a:xfrm>
          </p:grpSpPr>
          <p:grpSp>
            <p:nvGrpSpPr>
              <p:cNvPr id="97" name="Group 96">
                <a:extLst>
                  <a:ext uri="{FF2B5EF4-FFF2-40B4-BE49-F238E27FC236}">
                    <a16:creationId xmlns:a16="http://schemas.microsoft.com/office/drawing/2014/main" id="{2522F67C-5197-9ADF-DCA4-FA29207B4230}"/>
                  </a:ext>
                </a:extLst>
              </p:cNvPr>
              <p:cNvGrpSpPr/>
              <p:nvPr/>
            </p:nvGrpSpPr>
            <p:grpSpPr>
              <a:xfrm>
                <a:off x="6949772" y="5915494"/>
                <a:ext cx="340028" cy="392652"/>
                <a:chOff x="6971435" y="5940509"/>
                <a:chExt cx="296702" cy="342621"/>
              </a:xfrm>
            </p:grpSpPr>
            <p:sp>
              <p:nvSpPr>
                <p:cNvPr id="134" name="Graphic 18">
                  <a:extLst>
                    <a:ext uri="{FF2B5EF4-FFF2-40B4-BE49-F238E27FC236}">
                      <a16:creationId xmlns:a16="http://schemas.microsoft.com/office/drawing/2014/main" id="{3078D886-67FF-FCAB-A064-EE53F854BFB9}"/>
                    </a:ext>
                  </a:extLst>
                </p:cNvPr>
                <p:cNvSpPr/>
                <p:nvPr/>
              </p:nvSpPr>
              <p:spPr>
                <a:xfrm>
                  <a:off x="6971435" y="5940509"/>
                  <a:ext cx="296702" cy="342621"/>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sp>
              <p:nvSpPr>
                <p:cNvPr id="135" name="Freeform: Shape 134">
                  <a:extLst>
                    <a:ext uri="{FF2B5EF4-FFF2-40B4-BE49-F238E27FC236}">
                      <a16:creationId xmlns:a16="http://schemas.microsoft.com/office/drawing/2014/main" id="{A596873C-DCD5-E41B-478F-3C7692023C72}"/>
                    </a:ext>
                  </a:extLst>
                </p:cNvPr>
                <p:cNvSpPr/>
                <p:nvPr/>
              </p:nvSpPr>
              <p:spPr>
                <a:xfrm>
                  <a:off x="7002039" y="5996956"/>
                  <a:ext cx="235030" cy="195119"/>
                </a:xfrm>
                <a:custGeom>
                  <a:avLst/>
                  <a:gdLst>
                    <a:gd name="connsiteX0" fmla="*/ 6062497 w 6179046"/>
                    <a:gd name="connsiteY0" fmla="*/ 4917170 h 5129785"/>
                    <a:gd name="connsiteX1" fmla="*/ 5308116 w 6179046"/>
                    <a:gd name="connsiteY1" fmla="*/ 4917170 h 5129785"/>
                    <a:gd name="connsiteX2" fmla="*/ 5308116 w 6179046"/>
                    <a:gd name="connsiteY2" fmla="*/ 1968230 h 5129785"/>
                    <a:gd name="connsiteX3" fmla="*/ 5534442 w 6179046"/>
                    <a:gd name="connsiteY3" fmla="*/ 2146532 h 5129785"/>
                    <a:gd name="connsiteX4" fmla="*/ 5603022 w 6179046"/>
                    <a:gd name="connsiteY4" fmla="*/ 2167115 h 5129785"/>
                    <a:gd name="connsiteX5" fmla="*/ 5685307 w 6179046"/>
                    <a:gd name="connsiteY5" fmla="*/ 2125972 h 5129785"/>
                    <a:gd name="connsiteX6" fmla="*/ 5664723 w 6179046"/>
                    <a:gd name="connsiteY6" fmla="*/ 1975108 h 5129785"/>
                    <a:gd name="connsiteX7" fmla="*/ 3154695 w 6179046"/>
                    <a:gd name="connsiteY7" fmla="*/ 20577 h 5129785"/>
                    <a:gd name="connsiteX8" fmla="*/ 3024387 w 6179046"/>
                    <a:gd name="connsiteY8" fmla="*/ 20577 h 5129785"/>
                    <a:gd name="connsiteX9" fmla="*/ 500643 w 6179046"/>
                    <a:gd name="connsiteY9" fmla="*/ 1975108 h 5129785"/>
                    <a:gd name="connsiteX10" fmla="*/ 480060 w 6179046"/>
                    <a:gd name="connsiteY10" fmla="*/ 2125972 h 5129785"/>
                    <a:gd name="connsiteX11" fmla="*/ 630925 w 6179046"/>
                    <a:gd name="connsiteY11" fmla="*/ 2146555 h 5129785"/>
                    <a:gd name="connsiteX12" fmla="*/ 857250 w 6179046"/>
                    <a:gd name="connsiteY12" fmla="*/ 1968253 h 5129785"/>
                    <a:gd name="connsiteX13" fmla="*/ 857250 w 6179046"/>
                    <a:gd name="connsiteY13" fmla="*/ 4917193 h 5129785"/>
                    <a:gd name="connsiteX14" fmla="*/ 102870 w 6179046"/>
                    <a:gd name="connsiteY14" fmla="*/ 4917193 h 5129785"/>
                    <a:gd name="connsiteX15" fmla="*/ 0 w 6179046"/>
                    <a:gd name="connsiteY15" fmla="*/ 5020063 h 5129785"/>
                    <a:gd name="connsiteX16" fmla="*/ 109722 w 6179046"/>
                    <a:gd name="connsiteY16" fmla="*/ 5129785 h 5129785"/>
                    <a:gd name="connsiteX17" fmla="*/ 6069324 w 6179046"/>
                    <a:gd name="connsiteY17" fmla="*/ 5129785 h 5129785"/>
                    <a:gd name="connsiteX18" fmla="*/ 6179047 w 6179046"/>
                    <a:gd name="connsiteY18" fmla="*/ 5020063 h 5129785"/>
                    <a:gd name="connsiteX19" fmla="*/ 6062490 w 6179046"/>
                    <a:gd name="connsiteY19" fmla="*/ 4917193 h 5129785"/>
                    <a:gd name="connsiteX20" fmla="*/ 4505730 w 6179046"/>
                    <a:gd name="connsiteY20" fmla="*/ 4917170 h 5129785"/>
                    <a:gd name="connsiteX21" fmla="*/ 1666518 w 6179046"/>
                    <a:gd name="connsiteY21" fmla="*/ 4917170 h 5129785"/>
                    <a:gd name="connsiteX22" fmla="*/ 1666518 w 6179046"/>
                    <a:gd name="connsiteY22" fmla="*/ 2304272 h 5129785"/>
                    <a:gd name="connsiteX23" fmla="*/ 4505730 w 6179046"/>
                    <a:gd name="connsiteY23" fmla="*/ 2304272 h 5129785"/>
                    <a:gd name="connsiteX24" fmla="*/ 5095518 w 6179046"/>
                    <a:gd name="connsiteY24" fmla="*/ 4917170 h 5129785"/>
                    <a:gd name="connsiteX25" fmla="*/ 4718328 w 6179046"/>
                    <a:gd name="connsiteY25" fmla="*/ 4917170 h 5129785"/>
                    <a:gd name="connsiteX26" fmla="*/ 4718328 w 6179046"/>
                    <a:gd name="connsiteY26" fmla="*/ 2201402 h 5129785"/>
                    <a:gd name="connsiteX27" fmla="*/ 4608606 w 6179046"/>
                    <a:gd name="connsiteY27" fmla="*/ 2091680 h 5129785"/>
                    <a:gd name="connsiteX28" fmla="*/ 1563654 w 6179046"/>
                    <a:gd name="connsiteY28" fmla="*/ 2091680 h 5129785"/>
                    <a:gd name="connsiteX29" fmla="*/ 1453932 w 6179046"/>
                    <a:gd name="connsiteY29" fmla="*/ 2201402 h 5129785"/>
                    <a:gd name="connsiteX30" fmla="*/ 1453932 w 6179046"/>
                    <a:gd name="connsiteY30" fmla="*/ 4917170 h 5129785"/>
                    <a:gd name="connsiteX31" fmla="*/ 1076741 w 6179046"/>
                    <a:gd name="connsiteY31" fmla="*/ 4917170 h 5129785"/>
                    <a:gd name="connsiteX32" fmla="*/ 1076719 w 6179046"/>
                    <a:gd name="connsiteY32" fmla="*/ 1803638 h 5129785"/>
                    <a:gd name="connsiteX33" fmla="*/ 3086113 w 6179046"/>
                    <a:gd name="connsiteY33" fmla="*/ 240014 h 5129785"/>
                    <a:gd name="connsiteX34" fmla="*/ 5095507 w 6179046"/>
                    <a:gd name="connsiteY34" fmla="*/ 1803638 h 5129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179046" h="5129785">
                      <a:moveTo>
                        <a:pt x="6062497" y="4917170"/>
                      </a:moveTo>
                      <a:lnTo>
                        <a:pt x="5308116" y="4917170"/>
                      </a:lnTo>
                      <a:lnTo>
                        <a:pt x="5308116" y="1968230"/>
                      </a:lnTo>
                      <a:lnTo>
                        <a:pt x="5534442" y="2146532"/>
                      </a:lnTo>
                      <a:cubicBezTo>
                        <a:pt x="5555024" y="2160239"/>
                        <a:pt x="5575585" y="2167115"/>
                        <a:pt x="5603022" y="2167115"/>
                      </a:cubicBezTo>
                      <a:cubicBezTo>
                        <a:pt x="5637312" y="2167115"/>
                        <a:pt x="5664749" y="2153409"/>
                        <a:pt x="5685307" y="2125972"/>
                      </a:cubicBezTo>
                      <a:cubicBezTo>
                        <a:pt x="5719597" y="2077975"/>
                        <a:pt x="5712743" y="2009398"/>
                        <a:pt x="5664723" y="1975108"/>
                      </a:cubicBezTo>
                      <a:lnTo>
                        <a:pt x="3154695" y="20577"/>
                      </a:lnTo>
                      <a:cubicBezTo>
                        <a:pt x="3113552" y="-6859"/>
                        <a:pt x="3065530" y="-6859"/>
                        <a:pt x="3024387" y="20577"/>
                      </a:cubicBezTo>
                      <a:lnTo>
                        <a:pt x="500643" y="1975108"/>
                      </a:lnTo>
                      <a:cubicBezTo>
                        <a:pt x="452646" y="2009398"/>
                        <a:pt x="445770" y="2077978"/>
                        <a:pt x="480060" y="2125972"/>
                      </a:cubicBezTo>
                      <a:cubicBezTo>
                        <a:pt x="514350" y="2173969"/>
                        <a:pt x="582930" y="2180845"/>
                        <a:pt x="630925" y="2146555"/>
                      </a:cubicBezTo>
                      <a:lnTo>
                        <a:pt x="857250" y="1968253"/>
                      </a:lnTo>
                      <a:lnTo>
                        <a:pt x="857250" y="4917193"/>
                      </a:lnTo>
                      <a:lnTo>
                        <a:pt x="102870" y="4917193"/>
                      </a:lnTo>
                      <a:cubicBezTo>
                        <a:pt x="47997" y="4917193"/>
                        <a:pt x="0" y="4965190"/>
                        <a:pt x="0" y="5020063"/>
                      </a:cubicBezTo>
                      <a:cubicBezTo>
                        <a:pt x="0" y="5074936"/>
                        <a:pt x="47997" y="5129785"/>
                        <a:pt x="109722" y="5129785"/>
                      </a:cubicBezTo>
                      <a:lnTo>
                        <a:pt x="6069324" y="5129785"/>
                      </a:lnTo>
                      <a:cubicBezTo>
                        <a:pt x="6131052" y="5129785"/>
                        <a:pt x="6179047" y="5081788"/>
                        <a:pt x="6179047" y="5020063"/>
                      </a:cubicBezTo>
                      <a:cubicBezTo>
                        <a:pt x="6179069" y="4958335"/>
                        <a:pt x="6124218" y="4917193"/>
                        <a:pt x="6062490" y="4917193"/>
                      </a:cubicBezTo>
                      <a:close/>
                      <a:moveTo>
                        <a:pt x="4505730" y="4917170"/>
                      </a:moveTo>
                      <a:lnTo>
                        <a:pt x="1666518" y="4917170"/>
                      </a:lnTo>
                      <a:lnTo>
                        <a:pt x="1666518" y="2304272"/>
                      </a:lnTo>
                      <a:lnTo>
                        <a:pt x="4505730" y="2304272"/>
                      </a:lnTo>
                      <a:close/>
                      <a:moveTo>
                        <a:pt x="5095518" y="4917170"/>
                      </a:moveTo>
                      <a:lnTo>
                        <a:pt x="4718328" y="4917170"/>
                      </a:lnTo>
                      <a:lnTo>
                        <a:pt x="4718328" y="2201402"/>
                      </a:lnTo>
                      <a:cubicBezTo>
                        <a:pt x="4718328" y="2139674"/>
                        <a:pt x="4670331" y="2091680"/>
                        <a:pt x="4608606" y="2091680"/>
                      </a:cubicBezTo>
                      <a:lnTo>
                        <a:pt x="1563654" y="2091680"/>
                      </a:lnTo>
                      <a:cubicBezTo>
                        <a:pt x="1501926" y="2091680"/>
                        <a:pt x="1453932" y="2139677"/>
                        <a:pt x="1453932" y="2201402"/>
                      </a:cubicBezTo>
                      <a:lnTo>
                        <a:pt x="1453932" y="4917170"/>
                      </a:lnTo>
                      <a:lnTo>
                        <a:pt x="1076741" y="4917170"/>
                      </a:lnTo>
                      <a:lnTo>
                        <a:pt x="1076719" y="1803638"/>
                      </a:lnTo>
                      <a:lnTo>
                        <a:pt x="3086113" y="240014"/>
                      </a:lnTo>
                      <a:lnTo>
                        <a:pt x="5095507" y="1803638"/>
                      </a:lnTo>
                      <a:close/>
                    </a:path>
                  </a:pathLst>
                </a:custGeom>
                <a:solidFill>
                  <a:schemeClr val="bg1"/>
                </a:solidFill>
                <a:ln w="635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sp>
            <p:nvSpPr>
              <p:cNvPr id="137" name="Rectangle 136">
                <a:extLst>
                  <a:ext uri="{FF2B5EF4-FFF2-40B4-BE49-F238E27FC236}">
                    <a16:creationId xmlns:a16="http://schemas.microsoft.com/office/drawing/2014/main" id="{56AB666E-DC2F-598F-89AD-6DA66488BC45}"/>
                  </a:ext>
                </a:extLst>
              </p:cNvPr>
              <p:cNvSpPr/>
              <p:nvPr/>
            </p:nvSpPr>
            <p:spPr>
              <a:xfrm>
                <a:off x="7338616" y="5945780"/>
                <a:ext cx="783563" cy="3162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Roboto"/>
                    <a:ea typeface="+mn-ea"/>
                    <a:cs typeface="+mn-cs"/>
                  </a:rPr>
                  <a:t>Branch of the future</a:t>
                </a:r>
              </a:p>
            </p:txBody>
          </p:sp>
        </p:grpSp>
        <p:grpSp>
          <p:nvGrpSpPr>
            <p:cNvPr id="101" name="Group 100">
              <a:extLst>
                <a:ext uri="{FF2B5EF4-FFF2-40B4-BE49-F238E27FC236}">
                  <a16:creationId xmlns:a16="http://schemas.microsoft.com/office/drawing/2014/main" id="{77CD5D22-2DEC-ABEB-D116-1552CF8E5A51}"/>
                </a:ext>
              </a:extLst>
            </p:cNvPr>
            <p:cNvGrpSpPr/>
            <p:nvPr/>
          </p:nvGrpSpPr>
          <p:grpSpPr>
            <a:xfrm>
              <a:off x="610942" y="7019881"/>
              <a:ext cx="1516344" cy="392652"/>
              <a:chOff x="5455941" y="5922358"/>
              <a:chExt cx="1516344" cy="392652"/>
            </a:xfrm>
          </p:grpSpPr>
          <p:sp>
            <p:nvSpPr>
              <p:cNvPr id="234" name="Rectangle 233">
                <a:extLst>
                  <a:ext uri="{FF2B5EF4-FFF2-40B4-BE49-F238E27FC236}">
                    <a16:creationId xmlns:a16="http://schemas.microsoft.com/office/drawing/2014/main" id="{E819BF8B-8076-DF3F-6461-438B52250393}"/>
                  </a:ext>
                </a:extLst>
              </p:cNvPr>
              <p:cNvSpPr/>
              <p:nvPr/>
            </p:nvSpPr>
            <p:spPr>
              <a:xfrm>
                <a:off x="5833292" y="5960556"/>
                <a:ext cx="1138993" cy="3162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Roboto"/>
                    <a:ea typeface="+mn-ea"/>
                    <a:cs typeface="+mn-cs"/>
                  </a:rPr>
                  <a:t>Always in stock</a:t>
                </a:r>
              </a:p>
            </p:txBody>
          </p:sp>
          <p:grpSp>
            <p:nvGrpSpPr>
              <p:cNvPr id="17" name="Group 16">
                <a:extLst>
                  <a:ext uri="{FF2B5EF4-FFF2-40B4-BE49-F238E27FC236}">
                    <a16:creationId xmlns:a16="http://schemas.microsoft.com/office/drawing/2014/main" id="{B6E04384-053E-2784-4F97-696E71A4EFC2}"/>
                  </a:ext>
                </a:extLst>
              </p:cNvPr>
              <p:cNvGrpSpPr/>
              <p:nvPr/>
            </p:nvGrpSpPr>
            <p:grpSpPr>
              <a:xfrm>
                <a:off x="5455941" y="5922358"/>
                <a:ext cx="340028" cy="392652"/>
                <a:chOff x="5477604" y="5947373"/>
                <a:chExt cx="296702" cy="342621"/>
              </a:xfrm>
            </p:grpSpPr>
            <p:sp>
              <p:nvSpPr>
                <p:cNvPr id="244" name="Graphic 18">
                  <a:extLst>
                    <a:ext uri="{FF2B5EF4-FFF2-40B4-BE49-F238E27FC236}">
                      <a16:creationId xmlns:a16="http://schemas.microsoft.com/office/drawing/2014/main" id="{9DD85DAC-6D0E-4385-FC7F-F9A8D31A7C6C}"/>
                    </a:ext>
                  </a:extLst>
                </p:cNvPr>
                <p:cNvSpPr/>
                <p:nvPr/>
              </p:nvSpPr>
              <p:spPr>
                <a:xfrm>
                  <a:off x="5477604" y="5947373"/>
                  <a:ext cx="296702" cy="342621"/>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accent1"/>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pic>
              <p:nvPicPr>
                <p:cNvPr id="147" name="Graphic 146">
                  <a:extLst>
                    <a:ext uri="{FF2B5EF4-FFF2-40B4-BE49-F238E27FC236}">
                      <a16:creationId xmlns:a16="http://schemas.microsoft.com/office/drawing/2014/main" id="{DFDC0DBF-41C4-790E-CC47-2259D2AAFFC5}"/>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500910" y="5994379"/>
                  <a:ext cx="245046" cy="244644"/>
                </a:xfrm>
                <a:prstGeom prst="rect">
                  <a:avLst/>
                </a:prstGeom>
              </p:spPr>
            </p:pic>
          </p:grpSp>
        </p:grpSp>
        <p:grpSp>
          <p:nvGrpSpPr>
            <p:cNvPr id="43" name="Group 42">
              <a:extLst>
                <a:ext uri="{FF2B5EF4-FFF2-40B4-BE49-F238E27FC236}">
                  <a16:creationId xmlns:a16="http://schemas.microsoft.com/office/drawing/2014/main" id="{B9150930-55B3-95AB-F689-F4527127A50E}"/>
                </a:ext>
              </a:extLst>
            </p:cNvPr>
            <p:cNvGrpSpPr/>
            <p:nvPr/>
          </p:nvGrpSpPr>
          <p:grpSpPr>
            <a:xfrm>
              <a:off x="610942" y="6524625"/>
              <a:ext cx="1527837" cy="392652"/>
              <a:chOff x="6949772" y="5497515"/>
              <a:chExt cx="1527837" cy="392652"/>
            </a:xfrm>
          </p:grpSpPr>
          <p:sp>
            <p:nvSpPr>
              <p:cNvPr id="136" name="Rectangle 135">
                <a:extLst>
                  <a:ext uri="{FF2B5EF4-FFF2-40B4-BE49-F238E27FC236}">
                    <a16:creationId xmlns:a16="http://schemas.microsoft.com/office/drawing/2014/main" id="{F44506AA-E872-6E5B-2E8B-A2451BD13743}"/>
                  </a:ext>
                </a:extLst>
              </p:cNvPr>
              <p:cNvSpPr/>
              <p:nvPr/>
            </p:nvSpPr>
            <p:spPr>
              <a:xfrm>
                <a:off x="7338616" y="5542325"/>
                <a:ext cx="1138993" cy="3162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Roboto"/>
                    <a:ea typeface="+mn-ea"/>
                    <a:cs typeface="+mn-cs"/>
                  </a:rPr>
                  <a:t>Organisation simplification</a:t>
                </a:r>
              </a:p>
            </p:txBody>
          </p:sp>
          <p:grpSp>
            <p:nvGrpSpPr>
              <p:cNvPr id="96" name="Group 95">
                <a:extLst>
                  <a:ext uri="{FF2B5EF4-FFF2-40B4-BE49-F238E27FC236}">
                    <a16:creationId xmlns:a16="http://schemas.microsoft.com/office/drawing/2014/main" id="{91141F40-5B65-2DA1-0512-49ED0C8EEBAF}"/>
                  </a:ext>
                </a:extLst>
              </p:cNvPr>
              <p:cNvGrpSpPr/>
              <p:nvPr/>
            </p:nvGrpSpPr>
            <p:grpSpPr>
              <a:xfrm>
                <a:off x="6949772" y="5497515"/>
                <a:ext cx="340028" cy="392652"/>
                <a:chOff x="6971435" y="5522530"/>
                <a:chExt cx="296702" cy="342621"/>
              </a:xfrm>
            </p:grpSpPr>
            <p:sp>
              <p:nvSpPr>
                <p:cNvPr id="148" name="Graphic 18">
                  <a:extLst>
                    <a:ext uri="{FF2B5EF4-FFF2-40B4-BE49-F238E27FC236}">
                      <a16:creationId xmlns:a16="http://schemas.microsoft.com/office/drawing/2014/main" id="{34D0D749-70B6-CFD9-2E06-1FE48EA72CDD}"/>
                    </a:ext>
                  </a:extLst>
                </p:cNvPr>
                <p:cNvSpPr/>
                <p:nvPr/>
              </p:nvSpPr>
              <p:spPr>
                <a:xfrm>
                  <a:off x="6971435" y="5522530"/>
                  <a:ext cx="296702" cy="342621"/>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grpSp>
              <p:nvGrpSpPr>
                <p:cNvPr id="58" name="Group 57">
                  <a:extLst>
                    <a:ext uri="{FF2B5EF4-FFF2-40B4-BE49-F238E27FC236}">
                      <a16:creationId xmlns:a16="http://schemas.microsoft.com/office/drawing/2014/main" id="{72ED2426-CEA1-DE72-B6D9-6792E8280E65}"/>
                    </a:ext>
                  </a:extLst>
                </p:cNvPr>
                <p:cNvGrpSpPr/>
                <p:nvPr/>
              </p:nvGrpSpPr>
              <p:grpSpPr>
                <a:xfrm>
                  <a:off x="6986504" y="5612060"/>
                  <a:ext cx="267414" cy="204635"/>
                  <a:chOff x="1924733" y="469313"/>
                  <a:chExt cx="8346876" cy="6387320"/>
                </a:xfrm>
              </p:grpSpPr>
              <p:sp>
                <p:nvSpPr>
                  <p:cNvPr id="45" name="Freeform: Shape 44">
                    <a:extLst>
                      <a:ext uri="{FF2B5EF4-FFF2-40B4-BE49-F238E27FC236}">
                        <a16:creationId xmlns:a16="http://schemas.microsoft.com/office/drawing/2014/main" id="{3A5B7F9E-0ECA-C658-26C4-1587275034FB}"/>
                      </a:ext>
                    </a:extLst>
                  </p:cNvPr>
                  <p:cNvSpPr/>
                  <p:nvPr/>
                </p:nvSpPr>
                <p:spPr>
                  <a:xfrm>
                    <a:off x="2686125" y="2371884"/>
                    <a:ext cx="6776031" cy="2415327"/>
                  </a:xfrm>
                  <a:custGeom>
                    <a:avLst/>
                    <a:gdLst>
                      <a:gd name="connsiteX0" fmla="*/ 6612096 w 6776031"/>
                      <a:gd name="connsiteY0" fmla="*/ 0 h 2415327"/>
                      <a:gd name="connsiteX1" fmla="*/ 6448160 w 6776031"/>
                      <a:gd name="connsiteY1" fmla="*/ 163936 h 2415327"/>
                      <a:gd name="connsiteX2" fmla="*/ 6448160 w 6776031"/>
                      <a:gd name="connsiteY2" fmla="*/ 1224057 h 2415327"/>
                      <a:gd name="connsiteX3" fmla="*/ 3551952 w 6776031"/>
                      <a:gd name="connsiteY3" fmla="*/ 1224057 h 2415327"/>
                      <a:gd name="connsiteX4" fmla="*/ 3551952 w 6776031"/>
                      <a:gd name="connsiteY4" fmla="*/ 163936 h 2415327"/>
                      <a:gd name="connsiteX5" fmla="*/ 3388016 w 6776031"/>
                      <a:gd name="connsiteY5" fmla="*/ 0 h 2415327"/>
                      <a:gd name="connsiteX6" fmla="*/ 3224080 w 6776031"/>
                      <a:gd name="connsiteY6" fmla="*/ 163936 h 2415327"/>
                      <a:gd name="connsiteX7" fmla="*/ 3224080 w 6776031"/>
                      <a:gd name="connsiteY7" fmla="*/ 1224057 h 2415327"/>
                      <a:gd name="connsiteX8" fmla="*/ 327873 w 6776031"/>
                      <a:gd name="connsiteY8" fmla="*/ 1224057 h 2415327"/>
                      <a:gd name="connsiteX9" fmla="*/ 327873 w 6776031"/>
                      <a:gd name="connsiteY9" fmla="*/ 163936 h 2415327"/>
                      <a:gd name="connsiteX10" fmla="*/ 163936 w 6776031"/>
                      <a:gd name="connsiteY10" fmla="*/ 0 h 2415327"/>
                      <a:gd name="connsiteX11" fmla="*/ 0 w 6776031"/>
                      <a:gd name="connsiteY11" fmla="*/ 163936 h 2415327"/>
                      <a:gd name="connsiteX12" fmla="*/ 0 w 6776031"/>
                      <a:gd name="connsiteY12" fmla="*/ 1377065 h 2415327"/>
                      <a:gd name="connsiteX13" fmla="*/ 163936 w 6776031"/>
                      <a:gd name="connsiteY13" fmla="*/ 1541001 h 2415327"/>
                      <a:gd name="connsiteX14" fmla="*/ 3224080 w 6776031"/>
                      <a:gd name="connsiteY14" fmla="*/ 1541001 h 2415327"/>
                      <a:gd name="connsiteX15" fmla="*/ 3224080 w 6776031"/>
                      <a:gd name="connsiteY15" fmla="*/ 2251391 h 2415327"/>
                      <a:gd name="connsiteX16" fmla="*/ 3388016 w 6776031"/>
                      <a:gd name="connsiteY16" fmla="*/ 2415328 h 2415327"/>
                      <a:gd name="connsiteX17" fmla="*/ 3551952 w 6776031"/>
                      <a:gd name="connsiteY17" fmla="*/ 2251391 h 2415327"/>
                      <a:gd name="connsiteX18" fmla="*/ 3551952 w 6776031"/>
                      <a:gd name="connsiteY18" fmla="*/ 1541001 h 2415327"/>
                      <a:gd name="connsiteX19" fmla="*/ 6612096 w 6776031"/>
                      <a:gd name="connsiteY19" fmla="*/ 1541001 h 2415327"/>
                      <a:gd name="connsiteX20" fmla="*/ 6776032 w 6776031"/>
                      <a:gd name="connsiteY20" fmla="*/ 1377065 h 2415327"/>
                      <a:gd name="connsiteX21" fmla="*/ 6776032 w 6776031"/>
                      <a:gd name="connsiteY21" fmla="*/ 153007 h 2415327"/>
                      <a:gd name="connsiteX22" fmla="*/ 6612096 w 6776031"/>
                      <a:gd name="connsiteY22" fmla="*/ 0 h 2415327"/>
                      <a:gd name="connsiteX23" fmla="*/ 6612096 w 6776031"/>
                      <a:gd name="connsiteY23" fmla="*/ 0 h 2415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776031" h="2415327">
                        <a:moveTo>
                          <a:pt x="6612096" y="0"/>
                        </a:moveTo>
                        <a:cubicBezTo>
                          <a:pt x="6524663" y="0"/>
                          <a:pt x="6448160" y="76504"/>
                          <a:pt x="6448160" y="163936"/>
                        </a:cubicBezTo>
                        <a:lnTo>
                          <a:pt x="6448160" y="1224057"/>
                        </a:lnTo>
                        <a:lnTo>
                          <a:pt x="3551952" y="1224057"/>
                        </a:lnTo>
                        <a:lnTo>
                          <a:pt x="3551952" y="163936"/>
                        </a:lnTo>
                        <a:cubicBezTo>
                          <a:pt x="3551952" y="76504"/>
                          <a:pt x="3475449" y="0"/>
                          <a:pt x="3388016" y="0"/>
                        </a:cubicBezTo>
                        <a:cubicBezTo>
                          <a:pt x="3300583" y="0"/>
                          <a:pt x="3224080" y="76504"/>
                          <a:pt x="3224080" y="163936"/>
                        </a:cubicBezTo>
                        <a:lnTo>
                          <a:pt x="3224080" y="1224057"/>
                        </a:lnTo>
                        <a:lnTo>
                          <a:pt x="327873" y="1224057"/>
                        </a:lnTo>
                        <a:lnTo>
                          <a:pt x="327873" y="163936"/>
                        </a:lnTo>
                        <a:cubicBezTo>
                          <a:pt x="327873" y="76504"/>
                          <a:pt x="251369" y="0"/>
                          <a:pt x="163936" y="0"/>
                        </a:cubicBezTo>
                        <a:cubicBezTo>
                          <a:pt x="76504" y="0"/>
                          <a:pt x="0" y="65575"/>
                          <a:pt x="0" y="163936"/>
                        </a:cubicBezTo>
                        <a:lnTo>
                          <a:pt x="0" y="1377065"/>
                        </a:lnTo>
                        <a:cubicBezTo>
                          <a:pt x="0" y="1464497"/>
                          <a:pt x="76504" y="1541001"/>
                          <a:pt x="163936" y="1541001"/>
                        </a:cubicBezTo>
                        <a:lnTo>
                          <a:pt x="3224080" y="1541001"/>
                        </a:lnTo>
                        <a:lnTo>
                          <a:pt x="3224080" y="2251391"/>
                        </a:lnTo>
                        <a:cubicBezTo>
                          <a:pt x="3224080" y="2338824"/>
                          <a:pt x="3300583" y="2415328"/>
                          <a:pt x="3388016" y="2415328"/>
                        </a:cubicBezTo>
                        <a:cubicBezTo>
                          <a:pt x="3475449" y="2415328"/>
                          <a:pt x="3551952" y="2338824"/>
                          <a:pt x="3551952" y="2251391"/>
                        </a:cubicBezTo>
                        <a:lnTo>
                          <a:pt x="3551952" y="1541001"/>
                        </a:lnTo>
                        <a:lnTo>
                          <a:pt x="6612096" y="1541001"/>
                        </a:lnTo>
                        <a:cubicBezTo>
                          <a:pt x="6699529" y="1541001"/>
                          <a:pt x="6776032" y="1464497"/>
                          <a:pt x="6776032" y="1377065"/>
                        </a:cubicBezTo>
                        <a:lnTo>
                          <a:pt x="6776032" y="153007"/>
                        </a:lnTo>
                        <a:cubicBezTo>
                          <a:pt x="6776032" y="65575"/>
                          <a:pt x="6699529" y="0"/>
                          <a:pt x="6612096" y="0"/>
                        </a:cubicBezTo>
                        <a:lnTo>
                          <a:pt x="6612096" y="0"/>
                        </a:ln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6" name="Freeform: Shape 45">
                    <a:extLst>
                      <a:ext uri="{FF2B5EF4-FFF2-40B4-BE49-F238E27FC236}">
                        <a16:creationId xmlns:a16="http://schemas.microsoft.com/office/drawing/2014/main" id="{8179FC8A-1DF4-CEBC-78CF-D7540AAF9F01}"/>
                      </a:ext>
                    </a:extLst>
                  </p:cNvPr>
                  <p:cNvSpPr/>
                  <p:nvPr/>
                </p:nvSpPr>
                <p:spPr>
                  <a:xfrm>
                    <a:off x="5645654" y="5176378"/>
                    <a:ext cx="796706" cy="796548"/>
                  </a:xfrm>
                  <a:custGeom>
                    <a:avLst/>
                    <a:gdLst>
                      <a:gd name="connsiteX0" fmla="*/ 395335 w 796706"/>
                      <a:gd name="connsiteY0" fmla="*/ 796548 h 796548"/>
                      <a:gd name="connsiteX1" fmla="*/ 796706 w 796706"/>
                      <a:gd name="connsiteY1" fmla="*/ 401371 h 796548"/>
                      <a:gd name="connsiteX2" fmla="*/ 401529 w 796706"/>
                      <a:gd name="connsiteY2" fmla="*/ 0 h 796548"/>
                      <a:gd name="connsiteX3" fmla="*/ 158 w 796706"/>
                      <a:gd name="connsiteY3" fmla="*/ 395178 h 796548"/>
                      <a:gd name="connsiteX4" fmla="*/ 395335 w 796706"/>
                      <a:gd name="connsiteY4" fmla="*/ 796548 h 796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706" h="796548">
                        <a:moveTo>
                          <a:pt x="395335" y="796548"/>
                        </a:moveTo>
                        <a:cubicBezTo>
                          <a:pt x="614828" y="796548"/>
                          <a:pt x="790513" y="620954"/>
                          <a:pt x="796706" y="401371"/>
                        </a:cubicBezTo>
                        <a:cubicBezTo>
                          <a:pt x="796706" y="181878"/>
                          <a:pt x="621112" y="0"/>
                          <a:pt x="401529" y="0"/>
                        </a:cubicBezTo>
                        <a:cubicBezTo>
                          <a:pt x="181945" y="0"/>
                          <a:pt x="158" y="175594"/>
                          <a:pt x="158" y="395178"/>
                        </a:cubicBezTo>
                        <a:cubicBezTo>
                          <a:pt x="-6126" y="614670"/>
                          <a:pt x="175752" y="790355"/>
                          <a:pt x="395335" y="796548"/>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7" name="Freeform: Shape 46">
                    <a:extLst>
                      <a:ext uri="{FF2B5EF4-FFF2-40B4-BE49-F238E27FC236}">
                        <a16:creationId xmlns:a16="http://schemas.microsoft.com/office/drawing/2014/main" id="{06DA6682-1770-6711-EDB8-F90E8A82DCE3}"/>
                      </a:ext>
                    </a:extLst>
                  </p:cNvPr>
                  <p:cNvSpPr/>
                  <p:nvPr/>
                </p:nvSpPr>
                <p:spPr>
                  <a:xfrm>
                    <a:off x="5075223" y="6635957"/>
                    <a:ext cx="9107" cy="33151"/>
                  </a:xfrm>
                  <a:custGeom>
                    <a:avLst/>
                    <a:gdLst>
                      <a:gd name="connsiteX0" fmla="*/ 0 w 9107"/>
                      <a:gd name="connsiteY0" fmla="*/ 33152 h 33151"/>
                      <a:gd name="connsiteX1" fmla="*/ 0 w 9107"/>
                      <a:gd name="connsiteY1" fmla="*/ 13297 h 33151"/>
                      <a:gd name="connsiteX2" fmla="*/ 0 w 9107"/>
                      <a:gd name="connsiteY2" fmla="*/ 0 h 33151"/>
                      <a:gd name="connsiteX3" fmla="*/ 0 w 9107"/>
                      <a:gd name="connsiteY3" fmla="*/ 33152 h 33151"/>
                    </a:gdLst>
                    <a:ahLst/>
                    <a:cxnLst>
                      <a:cxn ang="0">
                        <a:pos x="connsiteX0" y="connsiteY0"/>
                      </a:cxn>
                      <a:cxn ang="0">
                        <a:pos x="connsiteX1" y="connsiteY1"/>
                      </a:cxn>
                      <a:cxn ang="0">
                        <a:pos x="connsiteX2" y="connsiteY2"/>
                      </a:cxn>
                      <a:cxn ang="0">
                        <a:pos x="connsiteX3" y="connsiteY3"/>
                      </a:cxn>
                    </a:cxnLst>
                    <a:rect l="l" t="t" r="r" b="b"/>
                    <a:pathLst>
                      <a:path w="9107" h="33151">
                        <a:moveTo>
                          <a:pt x="0" y="33152"/>
                        </a:moveTo>
                        <a:cubicBezTo>
                          <a:pt x="0" y="26594"/>
                          <a:pt x="0" y="19946"/>
                          <a:pt x="0" y="13297"/>
                        </a:cubicBezTo>
                        <a:cubicBezTo>
                          <a:pt x="0" y="8835"/>
                          <a:pt x="0" y="4371"/>
                          <a:pt x="0" y="0"/>
                        </a:cubicBezTo>
                        <a:lnTo>
                          <a:pt x="0" y="33152"/>
                        </a:ln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8" name="Freeform: Shape 47">
                    <a:extLst>
                      <a:ext uri="{FF2B5EF4-FFF2-40B4-BE49-F238E27FC236}">
                        <a16:creationId xmlns:a16="http://schemas.microsoft.com/office/drawing/2014/main" id="{F0683563-9F39-DB62-C194-421708FEBF20}"/>
                      </a:ext>
                    </a:extLst>
                  </p:cNvPr>
                  <p:cNvSpPr/>
                  <p:nvPr/>
                </p:nvSpPr>
                <p:spPr>
                  <a:xfrm>
                    <a:off x="5075223" y="6067783"/>
                    <a:ext cx="1947533" cy="788850"/>
                  </a:xfrm>
                  <a:custGeom>
                    <a:avLst/>
                    <a:gdLst>
                      <a:gd name="connsiteX0" fmla="*/ 1947380 w 1947533"/>
                      <a:gd name="connsiteY0" fmla="*/ 415805 h 788850"/>
                      <a:gd name="connsiteX1" fmla="*/ 1480071 w 1947533"/>
                      <a:gd name="connsiteY1" fmla="*/ 30645 h 788850"/>
                      <a:gd name="connsiteX2" fmla="*/ 1480071 w 1947533"/>
                      <a:gd name="connsiteY2" fmla="*/ 30645 h 788850"/>
                      <a:gd name="connsiteX3" fmla="*/ 457746 w 1947533"/>
                      <a:gd name="connsiteY3" fmla="*/ 30645 h 788850"/>
                      <a:gd name="connsiteX4" fmla="*/ 12477 w 1947533"/>
                      <a:gd name="connsiteY4" fmla="*/ 425823 h 788850"/>
                      <a:gd name="connsiteX5" fmla="*/ 0 w 1947533"/>
                      <a:gd name="connsiteY5" fmla="*/ 581562 h 788850"/>
                      <a:gd name="connsiteX6" fmla="*/ 12477 w 1947533"/>
                      <a:gd name="connsiteY6" fmla="*/ 687392 h 788850"/>
                      <a:gd name="connsiteX7" fmla="*/ 87979 w 1947533"/>
                      <a:gd name="connsiteY7" fmla="*/ 788850 h 788850"/>
                      <a:gd name="connsiteX8" fmla="*/ 1793736 w 1947533"/>
                      <a:gd name="connsiteY8" fmla="*/ 788850 h 788850"/>
                      <a:gd name="connsiteX9" fmla="*/ 1793736 w 1947533"/>
                      <a:gd name="connsiteY9" fmla="*/ 787849 h 788850"/>
                      <a:gd name="connsiteX10" fmla="*/ 1795922 w 1947533"/>
                      <a:gd name="connsiteY10" fmla="*/ 788850 h 788850"/>
                      <a:gd name="connsiteX11" fmla="*/ 1931716 w 1947533"/>
                      <a:gd name="connsiteY11" fmla="*/ 605879 h 788850"/>
                      <a:gd name="connsiteX12" fmla="*/ 1947380 w 1947533"/>
                      <a:gd name="connsiteY12" fmla="*/ 415805 h 788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47533" h="788850">
                        <a:moveTo>
                          <a:pt x="1947380" y="415805"/>
                        </a:moveTo>
                        <a:cubicBezTo>
                          <a:pt x="1884539" y="131831"/>
                          <a:pt x="1768599" y="68259"/>
                          <a:pt x="1480071" y="30645"/>
                        </a:cubicBezTo>
                        <a:lnTo>
                          <a:pt x="1480071" y="30645"/>
                        </a:lnTo>
                        <a:cubicBezTo>
                          <a:pt x="1141361" y="-13253"/>
                          <a:pt x="796457" y="-7060"/>
                          <a:pt x="457746" y="30645"/>
                        </a:cubicBezTo>
                        <a:cubicBezTo>
                          <a:pt x="206833" y="61975"/>
                          <a:pt x="62569" y="193671"/>
                          <a:pt x="12477" y="425823"/>
                        </a:cubicBezTo>
                        <a:cubicBezTo>
                          <a:pt x="1366" y="475732"/>
                          <a:pt x="91" y="530560"/>
                          <a:pt x="0" y="581562"/>
                        </a:cubicBezTo>
                        <a:cubicBezTo>
                          <a:pt x="182" y="615989"/>
                          <a:pt x="1457" y="654149"/>
                          <a:pt x="12477" y="687392"/>
                        </a:cubicBezTo>
                        <a:cubicBezTo>
                          <a:pt x="25046" y="725007"/>
                          <a:pt x="56649" y="769998"/>
                          <a:pt x="87979" y="788850"/>
                        </a:cubicBezTo>
                        <a:lnTo>
                          <a:pt x="1793736" y="788850"/>
                        </a:lnTo>
                        <a:lnTo>
                          <a:pt x="1793736" y="787849"/>
                        </a:lnTo>
                        <a:cubicBezTo>
                          <a:pt x="1794465" y="788213"/>
                          <a:pt x="1795193" y="788486"/>
                          <a:pt x="1795922" y="788850"/>
                        </a:cubicBezTo>
                        <a:cubicBezTo>
                          <a:pt x="1875977" y="750781"/>
                          <a:pt x="1929165" y="618174"/>
                          <a:pt x="1931716" y="605879"/>
                        </a:cubicBezTo>
                        <a:cubicBezTo>
                          <a:pt x="1940732" y="561343"/>
                          <a:pt x="1948747" y="526279"/>
                          <a:pt x="1947380" y="415805"/>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9" name="Freeform: Shape 48">
                    <a:extLst>
                      <a:ext uri="{FF2B5EF4-FFF2-40B4-BE49-F238E27FC236}">
                        <a16:creationId xmlns:a16="http://schemas.microsoft.com/office/drawing/2014/main" id="{72E377ED-9A9E-DF14-0A54-4F99AD44ECEE}"/>
                      </a:ext>
                    </a:extLst>
                  </p:cNvPr>
                  <p:cNvSpPr/>
                  <p:nvPr/>
                </p:nvSpPr>
                <p:spPr>
                  <a:xfrm>
                    <a:off x="2495255" y="469313"/>
                    <a:ext cx="796706" cy="796548"/>
                  </a:xfrm>
                  <a:custGeom>
                    <a:avLst/>
                    <a:gdLst>
                      <a:gd name="connsiteX0" fmla="*/ 395336 w 796706"/>
                      <a:gd name="connsiteY0" fmla="*/ 796548 h 796548"/>
                      <a:gd name="connsiteX1" fmla="*/ 796706 w 796706"/>
                      <a:gd name="connsiteY1" fmla="*/ 401371 h 796548"/>
                      <a:gd name="connsiteX2" fmla="*/ 401529 w 796706"/>
                      <a:gd name="connsiteY2" fmla="*/ 0 h 796548"/>
                      <a:gd name="connsiteX3" fmla="*/ 158 w 796706"/>
                      <a:gd name="connsiteY3" fmla="*/ 395177 h 796548"/>
                      <a:gd name="connsiteX4" fmla="*/ 395336 w 796706"/>
                      <a:gd name="connsiteY4" fmla="*/ 796548 h 796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706" h="796548">
                        <a:moveTo>
                          <a:pt x="395336" y="796548"/>
                        </a:moveTo>
                        <a:cubicBezTo>
                          <a:pt x="614828" y="796548"/>
                          <a:pt x="790513" y="620954"/>
                          <a:pt x="796706" y="401371"/>
                        </a:cubicBezTo>
                        <a:cubicBezTo>
                          <a:pt x="796706" y="181878"/>
                          <a:pt x="621112" y="0"/>
                          <a:pt x="401529" y="0"/>
                        </a:cubicBezTo>
                        <a:cubicBezTo>
                          <a:pt x="181945" y="0"/>
                          <a:pt x="158" y="175594"/>
                          <a:pt x="158" y="395177"/>
                        </a:cubicBezTo>
                        <a:cubicBezTo>
                          <a:pt x="-6126" y="614670"/>
                          <a:pt x="175752" y="790355"/>
                          <a:pt x="395336" y="796548"/>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50" name="Freeform: Shape 49">
                    <a:extLst>
                      <a:ext uri="{FF2B5EF4-FFF2-40B4-BE49-F238E27FC236}">
                        <a16:creationId xmlns:a16="http://schemas.microsoft.com/office/drawing/2014/main" id="{316DDE74-D7BA-8D37-FFBB-30ED1BC620DB}"/>
                      </a:ext>
                    </a:extLst>
                  </p:cNvPr>
                  <p:cNvSpPr/>
                  <p:nvPr/>
                </p:nvSpPr>
                <p:spPr>
                  <a:xfrm>
                    <a:off x="1924733" y="1928892"/>
                    <a:ext cx="9107" cy="33151"/>
                  </a:xfrm>
                  <a:custGeom>
                    <a:avLst/>
                    <a:gdLst>
                      <a:gd name="connsiteX0" fmla="*/ 0 w 9107"/>
                      <a:gd name="connsiteY0" fmla="*/ 33152 h 33151"/>
                      <a:gd name="connsiteX1" fmla="*/ 0 w 9107"/>
                      <a:gd name="connsiteY1" fmla="*/ 13297 h 33151"/>
                      <a:gd name="connsiteX2" fmla="*/ 0 w 9107"/>
                      <a:gd name="connsiteY2" fmla="*/ 0 h 33151"/>
                      <a:gd name="connsiteX3" fmla="*/ 0 w 9107"/>
                      <a:gd name="connsiteY3" fmla="*/ 33152 h 33151"/>
                    </a:gdLst>
                    <a:ahLst/>
                    <a:cxnLst>
                      <a:cxn ang="0">
                        <a:pos x="connsiteX0" y="connsiteY0"/>
                      </a:cxn>
                      <a:cxn ang="0">
                        <a:pos x="connsiteX1" y="connsiteY1"/>
                      </a:cxn>
                      <a:cxn ang="0">
                        <a:pos x="connsiteX2" y="connsiteY2"/>
                      </a:cxn>
                      <a:cxn ang="0">
                        <a:pos x="connsiteX3" y="connsiteY3"/>
                      </a:cxn>
                    </a:cxnLst>
                    <a:rect l="l" t="t" r="r" b="b"/>
                    <a:pathLst>
                      <a:path w="9107" h="33151">
                        <a:moveTo>
                          <a:pt x="0" y="33152"/>
                        </a:moveTo>
                        <a:cubicBezTo>
                          <a:pt x="0" y="26594"/>
                          <a:pt x="0" y="19946"/>
                          <a:pt x="0" y="13297"/>
                        </a:cubicBezTo>
                        <a:cubicBezTo>
                          <a:pt x="0" y="8834"/>
                          <a:pt x="0" y="4372"/>
                          <a:pt x="0" y="0"/>
                        </a:cubicBezTo>
                        <a:lnTo>
                          <a:pt x="0" y="33152"/>
                        </a:ln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51" name="Freeform: Shape 50">
                    <a:extLst>
                      <a:ext uri="{FF2B5EF4-FFF2-40B4-BE49-F238E27FC236}">
                        <a16:creationId xmlns:a16="http://schemas.microsoft.com/office/drawing/2014/main" id="{E040A4A1-4C4C-E6BE-5DD2-E159443497FC}"/>
                      </a:ext>
                    </a:extLst>
                  </p:cNvPr>
                  <p:cNvSpPr/>
                  <p:nvPr/>
                </p:nvSpPr>
                <p:spPr>
                  <a:xfrm>
                    <a:off x="1924733" y="1360718"/>
                    <a:ext cx="1947533" cy="788759"/>
                  </a:xfrm>
                  <a:custGeom>
                    <a:avLst/>
                    <a:gdLst>
                      <a:gd name="connsiteX0" fmla="*/ 1947381 w 1947533"/>
                      <a:gd name="connsiteY0" fmla="*/ 415804 h 788759"/>
                      <a:gd name="connsiteX1" fmla="*/ 1480071 w 1947533"/>
                      <a:gd name="connsiteY1" fmla="*/ 30645 h 788759"/>
                      <a:gd name="connsiteX2" fmla="*/ 1480071 w 1947533"/>
                      <a:gd name="connsiteY2" fmla="*/ 30645 h 788759"/>
                      <a:gd name="connsiteX3" fmla="*/ 457746 w 1947533"/>
                      <a:gd name="connsiteY3" fmla="*/ 30645 h 788759"/>
                      <a:gd name="connsiteX4" fmla="*/ 12477 w 1947533"/>
                      <a:gd name="connsiteY4" fmla="*/ 425823 h 788759"/>
                      <a:gd name="connsiteX5" fmla="*/ 0 w 1947533"/>
                      <a:gd name="connsiteY5" fmla="*/ 581471 h 788759"/>
                      <a:gd name="connsiteX6" fmla="*/ 12477 w 1947533"/>
                      <a:gd name="connsiteY6" fmla="*/ 687301 h 788759"/>
                      <a:gd name="connsiteX7" fmla="*/ 87979 w 1947533"/>
                      <a:gd name="connsiteY7" fmla="*/ 788759 h 788759"/>
                      <a:gd name="connsiteX8" fmla="*/ 1793736 w 1947533"/>
                      <a:gd name="connsiteY8" fmla="*/ 788759 h 788759"/>
                      <a:gd name="connsiteX9" fmla="*/ 1793736 w 1947533"/>
                      <a:gd name="connsiteY9" fmla="*/ 787758 h 788759"/>
                      <a:gd name="connsiteX10" fmla="*/ 1795922 w 1947533"/>
                      <a:gd name="connsiteY10" fmla="*/ 788759 h 788759"/>
                      <a:gd name="connsiteX11" fmla="*/ 1931716 w 1947533"/>
                      <a:gd name="connsiteY11" fmla="*/ 605788 h 788759"/>
                      <a:gd name="connsiteX12" fmla="*/ 1947381 w 1947533"/>
                      <a:gd name="connsiteY12" fmla="*/ 415713 h 788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47533" h="788759">
                        <a:moveTo>
                          <a:pt x="1947381" y="415804"/>
                        </a:moveTo>
                        <a:cubicBezTo>
                          <a:pt x="1884538" y="131831"/>
                          <a:pt x="1768599" y="68260"/>
                          <a:pt x="1480071" y="30645"/>
                        </a:cubicBezTo>
                        <a:lnTo>
                          <a:pt x="1480071" y="30645"/>
                        </a:lnTo>
                        <a:cubicBezTo>
                          <a:pt x="1141361" y="-13253"/>
                          <a:pt x="796457" y="-7060"/>
                          <a:pt x="457746" y="30645"/>
                        </a:cubicBezTo>
                        <a:cubicBezTo>
                          <a:pt x="206833" y="61975"/>
                          <a:pt x="62569" y="193671"/>
                          <a:pt x="12477" y="425823"/>
                        </a:cubicBezTo>
                        <a:cubicBezTo>
                          <a:pt x="1457" y="475641"/>
                          <a:pt x="182" y="530378"/>
                          <a:pt x="0" y="581471"/>
                        </a:cubicBezTo>
                        <a:cubicBezTo>
                          <a:pt x="182" y="615898"/>
                          <a:pt x="1457" y="654059"/>
                          <a:pt x="12477" y="687301"/>
                        </a:cubicBezTo>
                        <a:cubicBezTo>
                          <a:pt x="25046" y="724915"/>
                          <a:pt x="56649" y="769907"/>
                          <a:pt x="87979" y="788759"/>
                        </a:cubicBezTo>
                        <a:lnTo>
                          <a:pt x="1793736" y="788759"/>
                        </a:lnTo>
                        <a:lnTo>
                          <a:pt x="1793736" y="787758"/>
                        </a:lnTo>
                        <a:cubicBezTo>
                          <a:pt x="1794465" y="788122"/>
                          <a:pt x="1795193" y="788395"/>
                          <a:pt x="1795922" y="788759"/>
                        </a:cubicBezTo>
                        <a:cubicBezTo>
                          <a:pt x="1875977" y="750690"/>
                          <a:pt x="1929166" y="618084"/>
                          <a:pt x="1931716" y="605788"/>
                        </a:cubicBezTo>
                        <a:cubicBezTo>
                          <a:pt x="1940732" y="561252"/>
                          <a:pt x="1948747" y="526188"/>
                          <a:pt x="1947381" y="415713"/>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52" name="Freeform: Shape 51">
                    <a:extLst>
                      <a:ext uri="{FF2B5EF4-FFF2-40B4-BE49-F238E27FC236}">
                        <a16:creationId xmlns:a16="http://schemas.microsoft.com/office/drawing/2014/main" id="{B14DC624-865F-85B0-5B41-24FFB2E58FE4}"/>
                      </a:ext>
                    </a:extLst>
                  </p:cNvPr>
                  <p:cNvSpPr/>
                  <p:nvPr/>
                </p:nvSpPr>
                <p:spPr>
                  <a:xfrm>
                    <a:off x="5694926" y="469313"/>
                    <a:ext cx="796706" cy="796548"/>
                  </a:xfrm>
                  <a:custGeom>
                    <a:avLst/>
                    <a:gdLst>
                      <a:gd name="connsiteX0" fmla="*/ 395335 w 796706"/>
                      <a:gd name="connsiteY0" fmla="*/ 796548 h 796548"/>
                      <a:gd name="connsiteX1" fmla="*/ 796706 w 796706"/>
                      <a:gd name="connsiteY1" fmla="*/ 401371 h 796548"/>
                      <a:gd name="connsiteX2" fmla="*/ 401529 w 796706"/>
                      <a:gd name="connsiteY2" fmla="*/ 0 h 796548"/>
                      <a:gd name="connsiteX3" fmla="*/ 158 w 796706"/>
                      <a:gd name="connsiteY3" fmla="*/ 395177 h 796548"/>
                      <a:gd name="connsiteX4" fmla="*/ 395335 w 796706"/>
                      <a:gd name="connsiteY4" fmla="*/ 796548 h 796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706" h="796548">
                        <a:moveTo>
                          <a:pt x="395335" y="796548"/>
                        </a:moveTo>
                        <a:cubicBezTo>
                          <a:pt x="614828" y="796548"/>
                          <a:pt x="790513" y="620954"/>
                          <a:pt x="796706" y="401371"/>
                        </a:cubicBezTo>
                        <a:cubicBezTo>
                          <a:pt x="796706" y="181878"/>
                          <a:pt x="621112" y="0"/>
                          <a:pt x="401529" y="0"/>
                        </a:cubicBezTo>
                        <a:cubicBezTo>
                          <a:pt x="181945" y="0"/>
                          <a:pt x="158" y="175594"/>
                          <a:pt x="158" y="395177"/>
                        </a:cubicBezTo>
                        <a:cubicBezTo>
                          <a:pt x="-6126" y="614670"/>
                          <a:pt x="175752" y="790355"/>
                          <a:pt x="395335" y="796548"/>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53" name="Freeform: Shape 52">
                    <a:extLst>
                      <a:ext uri="{FF2B5EF4-FFF2-40B4-BE49-F238E27FC236}">
                        <a16:creationId xmlns:a16="http://schemas.microsoft.com/office/drawing/2014/main" id="{CF6D0D12-3F82-D29A-EAFA-E09686042259}"/>
                      </a:ext>
                    </a:extLst>
                  </p:cNvPr>
                  <p:cNvSpPr/>
                  <p:nvPr/>
                </p:nvSpPr>
                <p:spPr>
                  <a:xfrm>
                    <a:off x="5124404" y="1928892"/>
                    <a:ext cx="9107" cy="33151"/>
                  </a:xfrm>
                  <a:custGeom>
                    <a:avLst/>
                    <a:gdLst>
                      <a:gd name="connsiteX0" fmla="*/ 0 w 9107"/>
                      <a:gd name="connsiteY0" fmla="*/ 33152 h 33151"/>
                      <a:gd name="connsiteX1" fmla="*/ 0 w 9107"/>
                      <a:gd name="connsiteY1" fmla="*/ 13297 h 33151"/>
                      <a:gd name="connsiteX2" fmla="*/ 0 w 9107"/>
                      <a:gd name="connsiteY2" fmla="*/ 0 h 33151"/>
                      <a:gd name="connsiteX3" fmla="*/ 0 w 9107"/>
                      <a:gd name="connsiteY3" fmla="*/ 33152 h 33151"/>
                    </a:gdLst>
                    <a:ahLst/>
                    <a:cxnLst>
                      <a:cxn ang="0">
                        <a:pos x="connsiteX0" y="connsiteY0"/>
                      </a:cxn>
                      <a:cxn ang="0">
                        <a:pos x="connsiteX1" y="connsiteY1"/>
                      </a:cxn>
                      <a:cxn ang="0">
                        <a:pos x="connsiteX2" y="connsiteY2"/>
                      </a:cxn>
                      <a:cxn ang="0">
                        <a:pos x="connsiteX3" y="connsiteY3"/>
                      </a:cxn>
                    </a:cxnLst>
                    <a:rect l="l" t="t" r="r" b="b"/>
                    <a:pathLst>
                      <a:path w="9107" h="33151">
                        <a:moveTo>
                          <a:pt x="0" y="33152"/>
                        </a:moveTo>
                        <a:cubicBezTo>
                          <a:pt x="0" y="26594"/>
                          <a:pt x="0" y="19946"/>
                          <a:pt x="0" y="13297"/>
                        </a:cubicBezTo>
                        <a:cubicBezTo>
                          <a:pt x="0" y="8834"/>
                          <a:pt x="0" y="4372"/>
                          <a:pt x="0" y="0"/>
                        </a:cubicBezTo>
                        <a:lnTo>
                          <a:pt x="0" y="33152"/>
                        </a:ln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54" name="Freeform: Shape 53">
                    <a:extLst>
                      <a:ext uri="{FF2B5EF4-FFF2-40B4-BE49-F238E27FC236}">
                        <a16:creationId xmlns:a16="http://schemas.microsoft.com/office/drawing/2014/main" id="{B2C56084-AF61-6110-A945-4BFBF058C996}"/>
                      </a:ext>
                    </a:extLst>
                  </p:cNvPr>
                  <p:cNvSpPr/>
                  <p:nvPr/>
                </p:nvSpPr>
                <p:spPr>
                  <a:xfrm>
                    <a:off x="5124404" y="1360718"/>
                    <a:ext cx="1947533" cy="788850"/>
                  </a:xfrm>
                  <a:custGeom>
                    <a:avLst/>
                    <a:gdLst>
                      <a:gd name="connsiteX0" fmla="*/ 1947381 w 1947533"/>
                      <a:gd name="connsiteY0" fmla="*/ 415804 h 788850"/>
                      <a:gd name="connsiteX1" fmla="*/ 1480071 w 1947533"/>
                      <a:gd name="connsiteY1" fmla="*/ 30645 h 788850"/>
                      <a:gd name="connsiteX2" fmla="*/ 1480071 w 1947533"/>
                      <a:gd name="connsiteY2" fmla="*/ 30645 h 788850"/>
                      <a:gd name="connsiteX3" fmla="*/ 457746 w 1947533"/>
                      <a:gd name="connsiteY3" fmla="*/ 30645 h 788850"/>
                      <a:gd name="connsiteX4" fmla="*/ 12477 w 1947533"/>
                      <a:gd name="connsiteY4" fmla="*/ 425823 h 788850"/>
                      <a:gd name="connsiteX5" fmla="*/ 0 w 1947533"/>
                      <a:gd name="connsiteY5" fmla="*/ 581562 h 788850"/>
                      <a:gd name="connsiteX6" fmla="*/ 12477 w 1947533"/>
                      <a:gd name="connsiteY6" fmla="*/ 687392 h 788850"/>
                      <a:gd name="connsiteX7" fmla="*/ 87979 w 1947533"/>
                      <a:gd name="connsiteY7" fmla="*/ 788851 h 788850"/>
                      <a:gd name="connsiteX8" fmla="*/ 1793736 w 1947533"/>
                      <a:gd name="connsiteY8" fmla="*/ 788851 h 788850"/>
                      <a:gd name="connsiteX9" fmla="*/ 1793736 w 1947533"/>
                      <a:gd name="connsiteY9" fmla="*/ 787849 h 788850"/>
                      <a:gd name="connsiteX10" fmla="*/ 1795922 w 1947533"/>
                      <a:gd name="connsiteY10" fmla="*/ 788851 h 788850"/>
                      <a:gd name="connsiteX11" fmla="*/ 1931715 w 1947533"/>
                      <a:gd name="connsiteY11" fmla="*/ 605879 h 788850"/>
                      <a:gd name="connsiteX12" fmla="*/ 1947381 w 1947533"/>
                      <a:gd name="connsiteY12" fmla="*/ 415804 h 788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47533" h="788850">
                        <a:moveTo>
                          <a:pt x="1947381" y="415804"/>
                        </a:moveTo>
                        <a:cubicBezTo>
                          <a:pt x="1884538" y="131831"/>
                          <a:pt x="1768599" y="68260"/>
                          <a:pt x="1480071" y="30645"/>
                        </a:cubicBezTo>
                        <a:lnTo>
                          <a:pt x="1480071" y="30645"/>
                        </a:lnTo>
                        <a:cubicBezTo>
                          <a:pt x="1141361" y="-13253"/>
                          <a:pt x="796457" y="-7060"/>
                          <a:pt x="457746" y="30645"/>
                        </a:cubicBezTo>
                        <a:cubicBezTo>
                          <a:pt x="206833" y="61975"/>
                          <a:pt x="62569" y="193671"/>
                          <a:pt x="12477" y="425823"/>
                        </a:cubicBezTo>
                        <a:cubicBezTo>
                          <a:pt x="1366" y="475732"/>
                          <a:pt x="91" y="530560"/>
                          <a:pt x="0" y="581562"/>
                        </a:cubicBezTo>
                        <a:cubicBezTo>
                          <a:pt x="182" y="615989"/>
                          <a:pt x="1457" y="654150"/>
                          <a:pt x="12477" y="687392"/>
                        </a:cubicBezTo>
                        <a:cubicBezTo>
                          <a:pt x="25046" y="725006"/>
                          <a:pt x="56649" y="769998"/>
                          <a:pt x="87979" y="788851"/>
                        </a:cubicBezTo>
                        <a:lnTo>
                          <a:pt x="1793736" y="788851"/>
                        </a:lnTo>
                        <a:lnTo>
                          <a:pt x="1793736" y="787849"/>
                        </a:lnTo>
                        <a:cubicBezTo>
                          <a:pt x="1794464" y="788213"/>
                          <a:pt x="1795193" y="788486"/>
                          <a:pt x="1795922" y="788851"/>
                        </a:cubicBezTo>
                        <a:cubicBezTo>
                          <a:pt x="1875977" y="750781"/>
                          <a:pt x="1929166" y="618175"/>
                          <a:pt x="1931715" y="605879"/>
                        </a:cubicBezTo>
                        <a:cubicBezTo>
                          <a:pt x="1940732" y="561343"/>
                          <a:pt x="1948747" y="526279"/>
                          <a:pt x="1947381" y="415804"/>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55" name="Freeform: Shape 54">
                    <a:extLst>
                      <a:ext uri="{FF2B5EF4-FFF2-40B4-BE49-F238E27FC236}">
                        <a16:creationId xmlns:a16="http://schemas.microsoft.com/office/drawing/2014/main" id="{C37EA4A6-CB51-B5F5-EAB6-4825EA7B5E1F}"/>
                      </a:ext>
                    </a:extLst>
                  </p:cNvPr>
                  <p:cNvSpPr/>
                  <p:nvPr/>
                </p:nvSpPr>
                <p:spPr>
                  <a:xfrm>
                    <a:off x="8894597" y="469313"/>
                    <a:ext cx="796706" cy="796548"/>
                  </a:xfrm>
                  <a:custGeom>
                    <a:avLst/>
                    <a:gdLst>
                      <a:gd name="connsiteX0" fmla="*/ 395336 w 796706"/>
                      <a:gd name="connsiteY0" fmla="*/ 796548 h 796548"/>
                      <a:gd name="connsiteX1" fmla="*/ 796706 w 796706"/>
                      <a:gd name="connsiteY1" fmla="*/ 401371 h 796548"/>
                      <a:gd name="connsiteX2" fmla="*/ 401529 w 796706"/>
                      <a:gd name="connsiteY2" fmla="*/ 0 h 796548"/>
                      <a:gd name="connsiteX3" fmla="*/ 158 w 796706"/>
                      <a:gd name="connsiteY3" fmla="*/ 395177 h 796548"/>
                      <a:gd name="connsiteX4" fmla="*/ 395336 w 796706"/>
                      <a:gd name="connsiteY4" fmla="*/ 796548 h 796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706" h="796548">
                        <a:moveTo>
                          <a:pt x="395336" y="796548"/>
                        </a:moveTo>
                        <a:cubicBezTo>
                          <a:pt x="614828" y="796548"/>
                          <a:pt x="790513" y="620954"/>
                          <a:pt x="796706" y="401371"/>
                        </a:cubicBezTo>
                        <a:cubicBezTo>
                          <a:pt x="796706" y="181878"/>
                          <a:pt x="621112" y="0"/>
                          <a:pt x="401529" y="0"/>
                        </a:cubicBezTo>
                        <a:cubicBezTo>
                          <a:pt x="181945" y="0"/>
                          <a:pt x="158" y="175594"/>
                          <a:pt x="158" y="395177"/>
                        </a:cubicBezTo>
                        <a:cubicBezTo>
                          <a:pt x="-6126" y="614670"/>
                          <a:pt x="175752" y="790355"/>
                          <a:pt x="395336" y="796548"/>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56" name="Freeform: Shape 55">
                    <a:extLst>
                      <a:ext uri="{FF2B5EF4-FFF2-40B4-BE49-F238E27FC236}">
                        <a16:creationId xmlns:a16="http://schemas.microsoft.com/office/drawing/2014/main" id="{CFABADCF-88B2-A692-3242-9FE8AA1ED3BD}"/>
                      </a:ext>
                    </a:extLst>
                  </p:cNvPr>
                  <p:cNvSpPr/>
                  <p:nvPr/>
                </p:nvSpPr>
                <p:spPr>
                  <a:xfrm>
                    <a:off x="8324076" y="1928892"/>
                    <a:ext cx="9107" cy="33151"/>
                  </a:xfrm>
                  <a:custGeom>
                    <a:avLst/>
                    <a:gdLst>
                      <a:gd name="connsiteX0" fmla="*/ 0 w 9107"/>
                      <a:gd name="connsiteY0" fmla="*/ 33152 h 33151"/>
                      <a:gd name="connsiteX1" fmla="*/ 0 w 9107"/>
                      <a:gd name="connsiteY1" fmla="*/ 13297 h 33151"/>
                      <a:gd name="connsiteX2" fmla="*/ 0 w 9107"/>
                      <a:gd name="connsiteY2" fmla="*/ 0 h 33151"/>
                      <a:gd name="connsiteX3" fmla="*/ 0 w 9107"/>
                      <a:gd name="connsiteY3" fmla="*/ 33152 h 33151"/>
                    </a:gdLst>
                    <a:ahLst/>
                    <a:cxnLst>
                      <a:cxn ang="0">
                        <a:pos x="connsiteX0" y="connsiteY0"/>
                      </a:cxn>
                      <a:cxn ang="0">
                        <a:pos x="connsiteX1" y="connsiteY1"/>
                      </a:cxn>
                      <a:cxn ang="0">
                        <a:pos x="connsiteX2" y="connsiteY2"/>
                      </a:cxn>
                      <a:cxn ang="0">
                        <a:pos x="connsiteX3" y="connsiteY3"/>
                      </a:cxn>
                    </a:cxnLst>
                    <a:rect l="l" t="t" r="r" b="b"/>
                    <a:pathLst>
                      <a:path w="9107" h="33151">
                        <a:moveTo>
                          <a:pt x="0" y="33152"/>
                        </a:moveTo>
                        <a:cubicBezTo>
                          <a:pt x="0" y="26594"/>
                          <a:pt x="0" y="19946"/>
                          <a:pt x="0" y="13297"/>
                        </a:cubicBezTo>
                        <a:cubicBezTo>
                          <a:pt x="0" y="8834"/>
                          <a:pt x="0" y="4372"/>
                          <a:pt x="0" y="0"/>
                        </a:cubicBezTo>
                        <a:lnTo>
                          <a:pt x="0" y="33152"/>
                        </a:ln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57" name="Freeform: Shape 56">
                    <a:extLst>
                      <a:ext uri="{FF2B5EF4-FFF2-40B4-BE49-F238E27FC236}">
                        <a16:creationId xmlns:a16="http://schemas.microsoft.com/office/drawing/2014/main" id="{7C7F740A-EA6C-A5D5-1F4D-967084A40DB0}"/>
                      </a:ext>
                    </a:extLst>
                  </p:cNvPr>
                  <p:cNvSpPr/>
                  <p:nvPr/>
                </p:nvSpPr>
                <p:spPr>
                  <a:xfrm>
                    <a:off x="8324076" y="1360718"/>
                    <a:ext cx="1947533" cy="788850"/>
                  </a:xfrm>
                  <a:custGeom>
                    <a:avLst/>
                    <a:gdLst>
                      <a:gd name="connsiteX0" fmla="*/ 1947381 w 1947533"/>
                      <a:gd name="connsiteY0" fmla="*/ 415804 h 788850"/>
                      <a:gd name="connsiteX1" fmla="*/ 1480071 w 1947533"/>
                      <a:gd name="connsiteY1" fmla="*/ 30645 h 788850"/>
                      <a:gd name="connsiteX2" fmla="*/ 1480071 w 1947533"/>
                      <a:gd name="connsiteY2" fmla="*/ 30645 h 788850"/>
                      <a:gd name="connsiteX3" fmla="*/ 457747 w 1947533"/>
                      <a:gd name="connsiteY3" fmla="*/ 30645 h 788850"/>
                      <a:gd name="connsiteX4" fmla="*/ 12477 w 1947533"/>
                      <a:gd name="connsiteY4" fmla="*/ 425823 h 788850"/>
                      <a:gd name="connsiteX5" fmla="*/ 0 w 1947533"/>
                      <a:gd name="connsiteY5" fmla="*/ 581562 h 788850"/>
                      <a:gd name="connsiteX6" fmla="*/ 12477 w 1947533"/>
                      <a:gd name="connsiteY6" fmla="*/ 687392 h 788850"/>
                      <a:gd name="connsiteX7" fmla="*/ 87979 w 1947533"/>
                      <a:gd name="connsiteY7" fmla="*/ 788851 h 788850"/>
                      <a:gd name="connsiteX8" fmla="*/ 1793736 w 1947533"/>
                      <a:gd name="connsiteY8" fmla="*/ 788851 h 788850"/>
                      <a:gd name="connsiteX9" fmla="*/ 1793736 w 1947533"/>
                      <a:gd name="connsiteY9" fmla="*/ 787849 h 788850"/>
                      <a:gd name="connsiteX10" fmla="*/ 1795922 w 1947533"/>
                      <a:gd name="connsiteY10" fmla="*/ 788851 h 788850"/>
                      <a:gd name="connsiteX11" fmla="*/ 1931715 w 1947533"/>
                      <a:gd name="connsiteY11" fmla="*/ 605879 h 788850"/>
                      <a:gd name="connsiteX12" fmla="*/ 1947381 w 1947533"/>
                      <a:gd name="connsiteY12" fmla="*/ 415804 h 788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47533" h="788850">
                        <a:moveTo>
                          <a:pt x="1947381" y="415804"/>
                        </a:moveTo>
                        <a:cubicBezTo>
                          <a:pt x="1884538" y="131831"/>
                          <a:pt x="1768599" y="68260"/>
                          <a:pt x="1480071" y="30645"/>
                        </a:cubicBezTo>
                        <a:lnTo>
                          <a:pt x="1480071" y="30645"/>
                        </a:lnTo>
                        <a:cubicBezTo>
                          <a:pt x="1141361" y="-13253"/>
                          <a:pt x="796457" y="-7060"/>
                          <a:pt x="457747" y="30645"/>
                        </a:cubicBezTo>
                        <a:cubicBezTo>
                          <a:pt x="206833" y="61975"/>
                          <a:pt x="62569" y="193671"/>
                          <a:pt x="12477" y="425823"/>
                        </a:cubicBezTo>
                        <a:cubicBezTo>
                          <a:pt x="1366" y="475732"/>
                          <a:pt x="91" y="530560"/>
                          <a:pt x="0" y="581562"/>
                        </a:cubicBezTo>
                        <a:cubicBezTo>
                          <a:pt x="182" y="615989"/>
                          <a:pt x="1457" y="654150"/>
                          <a:pt x="12477" y="687392"/>
                        </a:cubicBezTo>
                        <a:cubicBezTo>
                          <a:pt x="25046" y="725006"/>
                          <a:pt x="56649" y="769998"/>
                          <a:pt x="87979" y="788851"/>
                        </a:cubicBezTo>
                        <a:lnTo>
                          <a:pt x="1793736" y="788851"/>
                        </a:lnTo>
                        <a:lnTo>
                          <a:pt x="1793736" y="787849"/>
                        </a:lnTo>
                        <a:cubicBezTo>
                          <a:pt x="1794464" y="788213"/>
                          <a:pt x="1795193" y="788486"/>
                          <a:pt x="1795922" y="788851"/>
                        </a:cubicBezTo>
                        <a:cubicBezTo>
                          <a:pt x="1875977" y="750781"/>
                          <a:pt x="1929166" y="618175"/>
                          <a:pt x="1931715" y="605879"/>
                        </a:cubicBezTo>
                        <a:cubicBezTo>
                          <a:pt x="1940732" y="561343"/>
                          <a:pt x="1948747" y="526279"/>
                          <a:pt x="1947381" y="415804"/>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grpSp>
        </p:grpSp>
        <p:grpSp>
          <p:nvGrpSpPr>
            <p:cNvPr id="44" name="Group 43">
              <a:extLst>
                <a:ext uri="{FF2B5EF4-FFF2-40B4-BE49-F238E27FC236}">
                  <a16:creationId xmlns:a16="http://schemas.microsoft.com/office/drawing/2014/main" id="{D5B74D2F-4936-0561-8792-1969B2276196}"/>
                </a:ext>
              </a:extLst>
            </p:cNvPr>
            <p:cNvGrpSpPr/>
            <p:nvPr/>
          </p:nvGrpSpPr>
          <p:grpSpPr>
            <a:xfrm>
              <a:off x="2180967" y="6545098"/>
              <a:ext cx="1512435" cy="392652"/>
              <a:chOff x="2232003" y="5922358"/>
              <a:chExt cx="1512435" cy="392652"/>
            </a:xfrm>
          </p:grpSpPr>
          <p:sp>
            <p:nvSpPr>
              <p:cNvPr id="235" name="Rectangle 234">
                <a:extLst>
                  <a:ext uri="{FF2B5EF4-FFF2-40B4-BE49-F238E27FC236}">
                    <a16:creationId xmlns:a16="http://schemas.microsoft.com/office/drawing/2014/main" id="{6A8A9B1D-7EAF-2C9A-3980-71810CE5481B}"/>
                  </a:ext>
                </a:extLst>
              </p:cNvPr>
              <p:cNvSpPr/>
              <p:nvPr/>
            </p:nvSpPr>
            <p:spPr>
              <a:xfrm>
                <a:off x="2605445" y="5960556"/>
                <a:ext cx="1138993" cy="3162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Roboto"/>
                    <a:ea typeface="+mn-ea"/>
                    <a:cs typeface="+mn-cs"/>
                  </a:rPr>
                  <a:t>Branch teams </a:t>
                </a:r>
                <a:br>
                  <a:rPr kumimoji="0" lang="en-GB" sz="1100" b="0" i="0" u="none" strike="noStrike" kern="1200" cap="none" spc="0" normalizeH="0" baseline="0" noProof="0">
                    <a:ln>
                      <a:noFill/>
                    </a:ln>
                    <a:solidFill>
                      <a:prstClr val="black"/>
                    </a:solidFill>
                    <a:effectLst/>
                    <a:uLnTx/>
                    <a:uFillTx/>
                    <a:latin typeface="Roboto"/>
                    <a:ea typeface="+mn-ea"/>
                    <a:cs typeface="+mn-cs"/>
                  </a:rPr>
                </a:br>
                <a:r>
                  <a:rPr kumimoji="0" lang="en-GB" sz="1100" b="0" i="0" u="none" strike="noStrike" kern="1200" cap="none" spc="0" normalizeH="0" baseline="0" noProof="0">
                    <a:ln>
                      <a:noFill/>
                    </a:ln>
                    <a:solidFill>
                      <a:prstClr val="black"/>
                    </a:solidFill>
                    <a:effectLst/>
                    <a:uLnTx/>
                    <a:uFillTx/>
                    <a:latin typeface="Roboto"/>
                    <a:ea typeface="+mn-ea"/>
                    <a:cs typeface="+mn-cs"/>
                  </a:rPr>
                  <a:t>at the heart</a:t>
                </a:r>
              </a:p>
            </p:txBody>
          </p:sp>
          <p:grpSp>
            <p:nvGrpSpPr>
              <p:cNvPr id="95" name="Group 94">
                <a:extLst>
                  <a:ext uri="{FF2B5EF4-FFF2-40B4-BE49-F238E27FC236}">
                    <a16:creationId xmlns:a16="http://schemas.microsoft.com/office/drawing/2014/main" id="{D51A5E24-16D5-5BC1-CB71-3AC6B3CC1A47}"/>
                  </a:ext>
                </a:extLst>
              </p:cNvPr>
              <p:cNvGrpSpPr/>
              <p:nvPr/>
            </p:nvGrpSpPr>
            <p:grpSpPr>
              <a:xfrm>
                <a:off x="2232003" y="5922358"/>
                <a:ext cx="340028" cy="392652"/>
                <a:chOff x="2253666" y="5947373"/>
                <a:chExt cx="296702" cy="342621"/>
              </a:xfrm>
            </p:grpSpPr>
            <p:sp>
              <p:nvSpPr>
                <p:cNvPr id="247" name="Graphic 18">
                  <a:extLst>
                    <a:ext uri="{FF2B5EF4-FFF2-40B4-BE49-F238E27FC236}">
                      <a16:creationId xmlns:a16="http://schemas.microsoft.com/office/drawing/2014/main" id="{19FD2405-6A05-D419-89F3-2EB1013A5561}"/>
                    </a:ext>
                  </a:extLst>
                </p:cNvPr>
                <p:cNvSpPr/>
                <p:nvPr/>
              </p:nvSpPr>
              <p:spPr>
                <a:xfrm>
                  <a:off x="2253666" y="5947373"/>
                  <a:ext cx="296702" cy="342621"/>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grpSp>
              <p:nvGrpSpPr>
                <p:cNvPr id="94" name="Group 93">
                  <a:extLst>
                    <a:ext uri="{FF2B5EF4-FFF2-40B4-BE49-F238E27FC236}">
                      <a16:creationId xmlns:a16="http://schemas.microsoft.com/office/drawing/2014/main" id="{29E05881-13FB-D80C-9691-76FAA6ABA007}"/>
                    </a:ext>
                  </a:extLst>
                </p:cNvPr>
                <p:cNvGrpSpPr/>
                <p:nvPr/>
              </p:nvGrpSpPr>
              <p:grpSpPr>
                <a:xfrm>
                  <a:off x="2263826" y="6018945"/>
                  <a:ext cx="269217" cy="144174"/>
                  <a:chOff x="1733550" y="1090612"/>
                  <a:chExt cx="8729441" cy="4674869"/>
                </a:xfrm>
                <a:solidFill>
                  <a:schemeClr val="bg1"/>
                </a:solidFill>
              </p:grpSpPr>
              <p:sp>
                <p:nvSpPr>
                  <p:cNvPr id="67" name="Freeform: Shape 66">
                    <a:extLst>
                      <a:ext uri="{FF2B5EF4-FFF2-40B4-BE49-F238E27FC236}">
                        <a16:creationId xmlns:a16="http://schemas.microsoft.com/office/drawing/2014/main" id="{3386025A-5959-B321-0216-5119F03FF476}"/>
                      </a:ext>
                    </a:extLst>
                  </p:cNvPr>
                  <p:cNvSpPr/>
                  <p:nvPr/>
                </p:nvSpPr>
                <p:spPr>
                  <a:xfrm>
                    <a:off x="5644540" y="1090612"/>
                    <a:ext cx="833221" cy="833056"/>
                  </a:xfrm>
                  <a:custGeom>
                    <a:avLst/>
                    <a:gdLst>
                      <a:gd name="connsiteX0" fmla="*/ 413455 w 833221"/>
                      <a:gd name="connsiteY0" fmla="*/ 833057 h 833056"/>
                      <a:gd name="connsiteX1" fmla="*/ 833222 w 833221"/>
                      <a:gd name="connsiteY1" fmla="*/ 419767 h 833056"/>
                      <a:gd name="connsiteX2" fmla="*/ 419932 w 833221"/>
                      <a:gd name="connsiteY2" fmla="*/ 0 h 833056"/>
                      <a:gd name="connsiteX3" fmla="*/ 165 w 833221"/>
                      <a:gd name="connsiteY3" fmla="*/ 413290 h 833056"/>
                      <a:gd name="connsiteX4" fmla="*/ 413455 w 833221"/>
                      <a:gd name="connsiteY4" fmla="*/ 833057 h 833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221" h="833056">
                        <a:moveTo>
                          <a:pt x="413455" y="833057"/>
                        </a:moveTo>
                        <a:cubicBezTo>
                          <a:pt x="643008" y="833057"/>
                          <a:pt x="826745" y="649415"/>
                          <a:pt x="833222" y="419767"/>
                        </a:cubicBezTo>
                        <a:cubicBezTo>
                          <a:pt x="833222" y="190214"/>
                          <a:pt x="649580" y="0"/>
                          <a:pt x="419932" y="0"/>
                        </a:cubicBezTo>
                        <a:cubicBezTo>
                          <a:pt x="190284" y="0"/>
                          <a:pt x="165" y="183642"/>
                          <a:pt x="165" y="413290"/>
                        </a:cubicBezTo>
                        <a:cubicBezTo>
                          <a:pt x="-6407" y="642842"/>
                          <a:pt x="183807" y="826580"/>
                          <a:pt x="413455" y="833057"/>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68" name="Freeform: Shape 67">
                    <a:extLst>
                      <a:ext uri="{FF2B5EF4-FFF2-40B4-BE49-F238E27FC236}">
                        <a16:creationId xmlns:a16="http://schemas.microsoft.com/office/drawing/2014/main" id="{E0F321C0-28D4-B778-D422-F30EFAD28F84}"/>
                      </a:ext>
                    </a:extLst>
                  </p:cNvPr>
                  <p:cNvSpPr/>
                  <p:nvPr/>
                </p:nvSpPr>
                <p:spPr>
                  <a:xfrm>
                    <a:off x="5047868" y="2617088"/>
                    <a:ext cx="9525" cy="34670"/>
                  </a:xfrm>
                  <a:custGeom>
                    <a:avLst/>
                    <a:gdLst>
                      <a:gd name="connsiteX0" fmla="*/ 0 w 9525"/>
                      <a:gd name="connsiteY0" fmla="*/ 34671 h 34670"/>
                      <a:gd name="connsiteX1" fmla="*/ 0 w 9525"/>
                      <a:gd name="connsiteY1" fmla="*/ 13907 h 34670"/>
                      <a:gd name="connsiteX2" fmla="*/ 0 w 9525"/>
                      <a:gd name="connsiteY2" fmla="*/ 0 h 34670"/>
                      <a:gd name="connsiteX3" fmla="*/ 0 w 9525"/>
                      <a:gd name="connsiteY3" fmla="*/ 34671 h 34670"/>
                    </a:gdLst>
                    <a:ahLst/>
                    <a:cxnLst>
                      <a:cxn ang="0">
                        <a:pos x="connsiteX0" y="connsiteY0"/>
                      </a:cxn>
                      <a:cxn ang="0">
                        <a:pos x="connsiteX1" y="connsiteY1"/>
                      </a:cxn>
                      <a:cxn ang="0">
                        <a:pos x="connsiteX2" y="connsiteY2"/>
                      </a:cxn>
                      <a:cxn ang="0">
                        <a:pos x="connsiteX3" y="connsiteY3"/>
                      </a:cxn>
                    </a:cxnLst>
                    <a:rect l="l" t="t" r="r" b="b"/>
                    <a:pathLst>
                      <a:path w="9525" h="34670">
                        <a:moveTo>
                          <a:pt x="0" y="34671"/>
                        </a:moveTo>
                        <a:cubicBezTo>
                          <a:pt x="0" y="27813"/>
                          <a:pt x="0" y="20860"/>
                          <a:pt x="0" y="13907"/>
                        </a:cubicBezTo>
                        <a:cubicBezTo>
                          <a:pt x="0" y="9239"/>
                          <a:pt x="0" y="4572"/>
                          <a:pt x="0" y="0"/>
                        </a:cubicBezTo>
                        <a:lnTo>
                          <a:pt x="0" y="34671"/>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71" name="Freeform: Shape 70">
                    <a:extLst>
                      <a:ext uri="{FF2B5EF4-FFF2-40B4-BE49-F238E27FC236}">
                        <a16:creationId xmlns:a16="http://schemas.microsoft.com/office/drawing/2014/main" id="{F9870AAD-815D-D894-C415-C7CF303AD5DC}"/>
                      </a:ext>
                    </a:extLst>
                  </p:cNvPr>
                  <p:cNvSpPr/>
                  <p:nvPr/>
                </p:nvSpPr>
                <p:spPr>
                  <a:xfrm>
                    <a:off x="5047868" y="2022873"/>
                    <a:ext cx="2036795" cy="825006"/>
                  </a:xfrm>
                  <a:custGeom>
                    <a:avLst/>
                    <a:gdLst>
                      <a:gd name="connsiteX0" fmla="*/ 2036636 w 2036795"/>
                      <a:gd name="connsiteY0" fmla="*/ 434862 h 825006"/>
                      <a:gd name="connsiteX1" fmla="*/ 1547908 w 2036795"/>
                      <a:gd name="connsiteY1" fmla="*/ 32050 h 825006"/>
                      <a:gd name="connsiteX2" fmla="*/ 1547908 w 2036795"/>
                      <a:gd name="connsiteY2" fmla="*/ 32050 h 825006"/>
                      <a:gd name="connsiteX3" fmla="*/ 478727 w 2036795"/>
                      <a:gd name="connsiteY3" fmla="*/ 32050 h 825006"/>
                      <a:gd name="connsiteX4" fmla="*/ 13049 w 2036795"/>
                      <a:gd name="connsiteY4" fmla="*/ 445340 h 825006"/>
                      <a:gd name="connsiteX5" fmla="*/ 0 w 2036795"/>
                      <a:gd name="connsiteY5" fmla="*/ 608217 h 825006"/>
                      <a:gd name="connsiteX6" fmla="*/ 13049 w 2036795"/>
                      <a:gd name="connsiteY6" fmla="*/ 718898 h 825006"/>
                      <a:gd name="connsiteX7" fmla="*/ 92012 w 2036795"/>
                      <a:gd name="connsiteY7" fmla="*/ 825006 h 825006"/>
                      <a:gd name="connsiteX8" fmla="*/ 1875949 w 2036795"/>
                      <a:gd name="connsiteY8" fmla="*/ 825006 h 825006"/>
                      <a:gd name="connsiteX9" fmla="*/ 1875949 w 2036795"/>
                      <a:gd name="connsiteY9" fmla="*/ 823959 h 825006"/>
                      <a:gd name="connsiteX10" fmla="*/ 1878235 w 2036795"/>
                      <a:gd name="connsiteY10" fmla="*/ 825006 h 825006"/>
                      <a:gd name="connsiteX11" fmla="*/ 2020253 w 2036795"/>
                      <a:gd name="connsiteY11" fmla="*/ 633649 h 825006"/>
                      <a:gd name="connsiteX12" fmla="*/ 2036636 w 2036795"/>
                      <a:gd name="connsiteY12" fmla="*/ 434862 h 82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6795" h="825006">
                        <a:moveTo>
                          <a:pt x="2036636" y="434862"/>
                        </a:moveTo>
                        <a:cubicBezTo>
                          <a:pt x="1970913" y="137873"/>
                          <a:pt x="1849660" y="71388"/>
                          <a:pt x="1547908" y="32050"/>
                        </a:cubicBezTo>
                        <a:lnTo>
                          <a:pt x="1547908" y="32050"/>
                        </a:lnTo>
                        <a:cubicBezTo>
                          <a:pt x="1193673" y="-13861"/>
                          <a:pt x="832961" y="-7384"/>
                          <a:pt x="478727" y="32050"/>
                        </a:cubicBezTo>
                        <a:cubicBezTo>
                          <a:pt x="216313" y="64816"/>
                          <a:pt x="65437" y="202547"/>
                          <a:pt x="13049" y="445340"/>
                        </a:cubicBezTo>
                        <a:cubicBezTo>
                          <a:pt x="1429" y="497537"/>
                          <a:pt x="95" y="554877"/>
                          <a:pt x="0" y="608217"/>
                        </a:cubicBezTo>
                        <a:cubicBezTo>
                          <a:pt x="191" y="644222"/>
                          <a:pt x="1524" y="684131"/>
                          <a:pt x="13049" y="718898"/>
                        </a:cubicBezTo>
                        <a:cubicBezTo>
                          <a:pt x="26194" y="758236"/>
                          <a:pt x="59246" y="805289"/>
                          <a:pt x="92012" y="825006"/>
                        </a:cubicBezTo>
                        <a:lnTo>
                          <a:pt x="1875949" y="825006"/>
                        </a:lnTo>
                        <a:lnTo>
                          <a:pt x="1875949" y="823959"/>
                        </a:lnTo>
                        <a:cubicBezTo>
                          <a:pt x="1876711" y="824339"/>
                          <a:pt x="1877473" y="824625"/>
                          <a:pt x="1878235" y="825006"/>
                        </a:cubicBezTo>
                        <a:cubicBezTo>
                          <a:pt x="1961960" y="785192"/>
                          <a:pt x="2017586" y="646508"/>
                          <a:pt x="2020253" y="633649"/>
                        </a:cubicBezTo>
                        <a:cubicBezTo>
                          <a:pt x="2029682" y="587072"/>
                          <a:pt x="2038064" y="550401"/>
                          <a:pt x="2036636" y="434862"/>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72" name="Freeform: Shape 71">
                    <a:extLst>
                      <a:ext uri="{FF2B5EF4-FFF2-40B4-BE49-F238E27FC236}">
                        <a16:creationId xmlns:a16="http://schemas.microsoft.com/office/drawing/2014/main" id="{1AD82935-25C3-C442-8F3A-8A92F9148CD9}"/>
                      </a:ext>
                    </a:extLst>
                  </p:cNvPr>
                  <p:cNvSpPr/>
                  <p:nvPr/>
                </p:nvSpPr>
                <p:spPr>
                  <a:xfrm>
                    <a:off x="2330221" y="4008214"/>
                    <a:ext cx="833221" cy="833056"/>
                  </a:xfrm>
                  <a:custGeom>
                    <a:avLst/>
                    <a:gdLst>
                      <a:gd name="connsiteX0" fmla="*/ 413455 w 833221"/>
                      <a:gd name="connsiteY0" fmla="*/ 833056 h 833056"/>
                      <a:gd name="connsiteX1" fmla="*/ 833222 w 833221"/>
                      <a:gd name="connsiteY1" fmla="*/ 419767 h 833056"/>
                      <a:gd name="connsiteX2" fmla="*/ 419932 w 833221"/>
                      <a:gd name="connsiteY2" fmla="*/ 0 h 833056"/>
                      <a:gd name="connsiteX3" fmla="*/ 165 w 833221"/>
                      <a:gd name="connsiteY3" fmla="*/ 413290 h 833056"/>
                      <a:gd name="connsiteX4" fmla="*/ 413455 w 833221"/>
                      <a:gd name="connsiteY4" fmla="*/ 833056 h 833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221" h="833056">
                        <a:moveTo>
                          <a:pt x="413455" y="833056"/>
                        </a:moveTo>
                        <a:cubicBezTo>
                          <a:pt x="643008" y="833056"/>
                          <a:pt x="826745" y="649414"/>
                          <a:pt x="833222" y="419767"/>
                        </a:cubicBezTo>
                        <a:cubicBezTo>
                          <a:pt x="833222" y="190214"/>
                          <a:pt x="649580" y="0"/>
                          <a:pt x="419932" y="0"/>
                        </a:cubicBezTo>
                        <a:cubicBezTo>
                          <a:pt x="190284" y="0"/>
                          <a:pt x="165" y="183642"/>
                          <a:pt x="165" y="413290"/>
                        </a:cubicBezTo>
                        <a:cubicBezTo>
                          <a:pt x="-6407" y="642842"/>
                          <a:pt x="183807" y="826580"/>
                          <a:pt x="413455" y="833056"/>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73" name="Freeform: Shape 72">
                    <a:extLst>
                      <a:ext uri="{FF2B5EF4-FFF2-40B4-BE49-F238E27FC236}">
                        <a16:creationId xmlns:a16="http://schemas.microsoft.com/office/drawing/2014/main" id="{99EF0CF1-EB29-53F8-CBCC-9C673A25B0DB}"/>
                      </a:ext>
                    </a:extLst>
                  </p:cNvPr>
                  <p:cNvSpPr/>
                  <p:nvPr/>
                </p:nvSpPr>
                <p:spPr>
                  <a:xfrm>
                    <a:off x="1733550" y="5534691"/>
                    <a:ext cx="9525" cy="34670"/>
                  </a:xfrm>
                  <a:custGeom>
                    <a:avLst/>
                    <a:gdLst>
                      <a:gd name="connsiteX0" fmla="*/ 0 w 9525"/>
                      <a:gd name="connsiteY0" fmla="*/ 34671 h 34670"/>
                      <a:gd name="connsiteX1" fmla="*/ 0 w 9525"/>
                      <a:gd name="connsiteY1" fmla="*/ 13906 h 34670"/>
                      <a:gd name="connsiteX2" fmla="*/ 0 w 9525"/>
                      <a:gd name="connsiteY2" fmla="*/ 0 h 34670"/>
                      <a:gd name="connsiteX3" fmla="*/ 0 w 9525"/>
                      <a:gd name="connsiteY3" fmla="*/ 34671 h 34670"/>
                    </a:gdLst>
                    <a:ahLst/>
                    <a:cxnLst>
                      <a:cxn ang="0">
                        <a:pos x="connsiteX0" y="connsiteY0"/>
                      </a:cxn>
                      <a:cxn ang="0">
                        <a:pos x="connsiteX1" y="connsiteY1"/>
                      </a:cxn>
                      <a:cxn ang="0">
                        <a:pos x="connsiteX2" y="connsiteY2"/>
                      </a:cxn>
                      <a:cxn ang="0">
                        <a:pos x="connsiteX3" y="connsiteY3"/>
                      </a:cxn>
                    </a:cxnLst>
                    <a:rect l="l" t="t" r="r" b="b"/>
                    <a:pathLst>
                      <a:path w="9525" h="34670">
                        <a:moveTo>
                          <a:pt x="0" y="34671"/>
                        </a:moveTo>
                        <a:cubicBezTo>
                          <a:pt x="0" y="27813"/>
                          <a:pt x="0" y="20860"/>
                          <a:pt x="0" y="13906"/>
                        </a:cubicBezTo>
                        <a:cubicBezTo>
                          <a:pt x="0" y="9239"/>
                          <a:pt x="0" y="4572"/>
                          <a:pt x="0" y="0"/>
                        </a:cubicBezTo>
                        <a:lnTo>
                          <a:pt x="0" y="34671"/>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75" name="Freeform: Shape 74">
                    <a:extLst>
                      <a:ext uri="{FF2B5EF4-FFF2-40B4-BE49-F238E27FC236}">
                        <a16:creationId xmlns:a16="http://schemas.microsoft.com/office/drawing/2014/main" id="{ADA0D5A5-E36F-81DC-FE15-574F1CCCE7E9}"/>
                      </a:ext>
                    </a:extLst>
                  </p:cNvPr>
                  <p:cNvSpPr/>
                  <p:nvPr/>
                </p:nvSpPr>
                <p:spPr>
                  <a:xfrm>
                    <a:off x="1733550" y="4940475"/>
                    <a:ext cx="2036795" cy="824911"/>
                  </a:xfrm>
                  <a:custGeom>
                    <a:avLst/>
                    <a:gdLst>
                      <a:gd name="connsiteX0" fmla="*/ 2036636 w 2036795"/>
                      <a:gd name="connsiteY0" fmla="*/ 434862 h 824911"/>
                      <a:gd name="connsiteX1" fmla="*/ 1547908 w 2036795"/>
                      <a:gd name="connsiteY1" fmla="*/ 32050 h 824911"/>
                      <a:gd name="connsiteX2" fmla="*/ 1547908 w 2036795"/>
                      <a:gd name="connsiteY2" fmla="*/ 32050 h 824911"/>
                      <a:gd name="connsiteX3" fmla="*/ 478726 w 2036795"/>
                      <a:gd name="connsiteY3" fmla="*/ 32050 h 824911"/>
                      <a:gd name="connsiteX4" fmla="*/ 13049 w 2036795"/>
                      <a:gd name="connsiteY4" fmla="*/ 445340 h 824911"/>
                      <a:gd name="connsiteX5" fmla="*/ 0 w 2036795"/>
                      <a:gd name="connsiteY5" fmla="*/ 608122 h 824911"/>
                      <a:gd name="connsiteX6" fmla="*/ 13049 w 2036795"/>
                      <a:gd name="connsiteY6" fmla="*/ 718802 h 824911"/>
                      <a:gd name="connsiteX7" fmla="*/ 92012 w 2036795"/>
                      <a:gd name="connsiteY7" fmla="*/ 824911 h 824911"/>
                      <a:gd name="connsiteX8" fmla="*/ 1875949 w 2036795"/>
                      <a:gd name="connsiteY8" fmla="*/ 824911 h 824911"/>
                      <a:gd name="connsiteX9" fmla="*/ 1875949 w 2036795"/>
                      <a:gd name="connsiteY9" fmla="*/ 823863 h 824911"/>
                      <a:gd name="connsiteX10" fmla="*/ 1878235 w 2036795"/>
                      <a:gd name="connsiteY10" fmla="*/ 824911 h 824911"/>
                      <a:gd name="connsiteX11" fmla="*/ 2020253 w 2036795"/>
                      <a:gd name="connsiteY11" fmla="*/ 633554 h 824911"/>
                      <a:gd name="connsiteX12" fmla="*/ 2036636 w 2036795"/>
                      <a:gd name="connsiteY12" fmla="*/ 434767 h 824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6795" h="824911">
                        <a:moveTo>
                          <a:pt x="2036636" y="434862"/>
                        </a:moveTo>
                        <a:cubicBezTo>
                          <a:pt x="1970913" y="137873"/>
                          <a:pt x="1849660" y="71388"/>
                          <a:pt x="1547908" y="32050"/>
                        </a:cubicBezTo>
                        <a:lnTo>
                          <a:pt x="1547908" y="32050"/>
                        </a:lnTo>
                        <a:cubicBezTo>
                          <a:pt x="1193673" y="-13860"/>
                          <a:pt x="832961" y="-7384"/>
                          <a:pt x="478726" y="32050"/>
                        </a:cubicBezTo>
                        <a:cubicBezTo>
                          <a:pt x="216313" y="64816"/>
                          <a:pt x="65437" y="202548"/>
                          <a:pt x="13049" y="445340"/>
                        </a:cubicBezTo>
                        <a:cubicBezTo>
                          <a:pt x="1524" y="497441"/>
                          <a:pt x="191" y="554782"/>
                          <a:pt x="0" y="608122"/>
                        </a:cubicBezTo>
                        <a:cubicBezTo>
                          <a:pt x="191" y="644126"/>
                          <a:pt x="1524" y="684036"/>
                          <a:pt x="13049" y="718802"/>
                        </a:cubicBezTo>
                        <a:cubicBezTo>
                          <a:pt x="26194" y="758141"/>
                          <a:pt x="59245" y="805194"/>
                          <a:pt x="92012" y="824911"/>
                        </a:cubicBezTo>
                        <a:lnTo>
                          <a:pt x="1875949" y="824911"/>
                        </a:lnTo>
                        <a:lnTo>
                          <a:pt x="1875949" y="823863"/>
                        </a:lnTo>
                        <a:cubicBezTo>
                          <a:pt x="1876711" y="824244"/>
                          <a:pt x="1877473" y="824530"/>
                          <a:pt x="1878235" y="824911"/>
                        </a:cubicBezTo>
                        <a:cubicBezTo>
                          <a:pt x="1961960" y="785096"/>
                          <a:pt x="2017586" y="646412"/>
                          <a:pt x="2020253" y="633554"/>
                        </a:cubicBezTo>
                        <a:cubicBezTo>
                          <a:pt x="2029682" y="586976"/>
                          <a:pt x="2038064" y="550305"/>
                          <a:pt x="2036636" y="434767"/>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76" name="Freeform: Shape 75">
                    <a:extLst>
                      <a:ext uri="{FF2B5EF4-FFF2-40B4-BE49-F238E27FC236}">
                        <a16:creationId xmlns:a16="http://schemas.microsoft.com/office/drawing/2014/main" id="{BA1508E0-B486-4B2C-F8D0-8AB994DB6D77}"/>
                      </a:ext>
                    </a:extLst>
                  </p:cNvPr>
                  <p:cNvSpPr/>
                  <p:nvPr/>
                </p:nvSpPr>
                <p:spPr>
                  <a:xfrm>
                    <a:off x="5676544" y="4008214"/>
                    <a:ext cx="833221" cy="833056"/>
                  </a:xfrm>
                  <a:custGeom>
                    <a:avLst/>
                    <a:gdLst>
                      <a:gd name="connsiteX0" fmla="*/ 413455 w 833221"/>
                      <a:gd name="connsiteY0" fmla="*/ 833056 h 833056"/>
                      <a:gd name="connsiteX1" fmla="*/ 833222 w 833221"/>
                      <a:gd name="connsiteY1" fmla="*/ 419767 h 833056"/>
                      <a:gd name="connsiteX2" fmla="*/ 419932 w 833221"/>
                      <a:gd name="connsiteY2" fmla="*/ 0 h 833056"/>
                      <a:gd name="connsiteX3" fmla="*/ 165 w 833221"/>
                      <a:gd name="connsiteY3" fmla="*/ 413290 h 833056"/>
                      <a:gd name="connsiteX4" fmla="*/ 413455 w 833221"/>
                      <a:gd name="connsiteY4" fmla="*/ 833056 h 833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221" h="833056">
                        <a:moveTo>
                          <a:pt x="413455" y="833056"/>
                        </a:moveTo>
                        <a:cubicBezTo>
                          <a:pt x="643008" y="833056"/>
                          <a:pt x="826745" y="649414"/>
                          <a:pt x="833222" y="419767"/>
                        </a:cubicBezTo>
                        <a:cubicBezTo>
                          <a:pt x="833222" y="190214"/>
                          <a:pt x="649580" y="0"/>
                          <a:pt x="419932" y="0"/>
                        </a:cubicBezTo>
                        <a:cubicBezTo>
                          <a:pt x="190284" y="0"/>
                          <a:pt x="165" y="183642"/>
                          <a:pt x="165" y="413290"/>
                        </a:cubicBezTo>
                        <a:cubicBezTo>
                          <a:pt x="-6407" y="642842"/>
                          <a:pt x="183807" y="826580"/>
                          <a:pt x="413455" y="833056"/>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77" name="Freeform: Shape 76">
                    <a:extLst>
                      <a:ext uri="{FF2B5EF4-FFF2-40B4-BE49-F238E27FC236}">
                        <a16:creationId xmlns:a16="http://schemas.microsoft.com/office/drawing/2014/main" id="{C461EB82-4EB0-8B71-2FDF-E7A965EEECD2}"/>
                      </a:ext>
                    </a:extLst>
                  </p:cNvPr>
                  <p:cNvSpPr/>
                  <p:nvPr/>
                </p:nvSpPr>
                <p:spPr>
                  <a:xfrm>
                    <a:off x="5079873" y="5534691"/>
                    <a:ext cx="9525" cy="34670"/>
                  </a:xfrm>
                  <a:custGeom>
                    <a:avLst/>
                    <a:gdLst>
                      <a:gd name="connsiteX0" fmla="*/ 0 w 9525"/>
                      <a:gd name="connsiteY0" fmla="*/ 34671 h 34670"/>
                      <a:gd name="connsiteX1" fmla="*/ 0 w 9525"/>
                      <a:gd name="connsiteY1" fmla="*/ 13906 h 34670"/>
                      <a:gd name="connsiteX2" fmla="*/ 0 w 9525"/>
                      <a:gd name="connsiteY2" fmla="*/ 0 h 34670"/>
                      <a:gd name="connsiteX3" fmla="*/ 0 w 9525"/>
                      <a:gd name="connsiteY3" fmla="*/ 34671 h 34670"/>
                    </a:gdLst>
                    <a:ahLst/>
                    <a:cxnLst>
                      <a:cxn ang="0">
                        <a:pos x="connsiteX0" y="connsiteY0"/>
                      </a:cxn>
                      <a:cxn ang="0">
                        <a:pos x="connsiteX1" y="connsiteY1"/>
                      </a:cxn>
                      <a:cxn ang="0">
                        <a:pos x="connsiteX2" y="connsiteY2"/>
                      </a:cxn>
                      <a:cxn ang="0">
                        <a:pos x="connsiteX3" y="connsiteY3"/>
                      </a:cxn>
                    </a:cxnLst>
                    <a:rect l="l" t="t" r="r" b="b"/>
                    <a:pathLst>
                      <a:path w="9525" h="34670">
                        <a:moveTo>
                          <a:pt x="0" y="34671"/>
                        </a:moveTo>
                        <a:cubicBezTo>
                          <a:pt x="0" y="27813"/>
                          <a:pt x="0" y="20860"/>
                          <a:pt x="0" y="13906"/>
                        </a:cubicBezTo>
                        <a:cubicBezTo>
                          <a:pt x="0" y="9239"/>
                          <a:pt x="0" y="4572"/>
                          <a:pt x="0" y="0"/>
                        </a:cubicBezTo>
                        <a:lnTo>
                          <a:pt x="0" y="34671"/>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78" name="Freeform: Shape 77">
                    <a:extLst>
                      <a:ext uri="{FF2B5EF4-FFF2-40B4-BE49-F238E27FC236}">
                        <a16:creationId xmlns:a16="http://schemas.microsoft.com/office/drawing/2014/main" id="{75DCB81D-CD21-F9A8-3EFF-5F214D223898}"/>
                      </a:ext>
                    </a:extLst>
                  </p:cNvPr>
                  <p:cNvSpPr/>
                  <p:nvPr/>
                </p:nvSpPr>
                <p:spPr>
                  <a:xfrm>
                    <a:off x="5079873" y="4940475"/>
                    <a:ext cx="2036795" cy="825006"/>
                  </a:xfrm>
                  <a:custGeom>
                    <a:avLst/>
                    <a:gdLst>
                      <a:gd name="connsiteX0" fmla="*/ 2036636 w 2036795"/>
                      <a:gd name="connsiteY0" fmla="*/ 434862 h 825006"/>
                      <a:gd name="connsiteX1" fmla="*/ 1547908 w 2036795"/>
                      <a:gd name="connsiteY1" fmla="*/ 32050 h 825006"/>
                      <a:gd name="connsiteX2" fmla="*/ 1547908 w 2036795"/>
                      <a:gd name="connsiteY2" fmla="*/ 32050 h 825006"/>
                      <a:gd name="connsiteX3" fmla="*/ 478726 w 2036795"/>
                      <a:gd name="connsiteY3" fmla="*/ 32050 h 825006"/>
                      <a:gd name="connsiteX4" fmla="*/ 13049 w 2036795"/>
                      <a:gd name="connsiteY4" fmla="*/ 445340 h 825006"/>
                      <a:gd name="connsiteX5" fmla="*/ 0 w 2036795"/>
                      <a:gd name="connsiteY5" fmla="*/ 608217 h 825006"/>
                      <a:gd name="connsiteX6" fmla="*/ 13049 w 2036795"/>
                      <a:gd name="connsiteY6" fmla="*/ 718898 h 825006"/>
                      <a:gd name="connsiteX7" fmla="*/ 92012 w 2036795"/>
                      <a:gd name="connsiteY7" fmla="*/ 825006 h 825006"/>
                      <a:gd name="connsiteX8" fmla="*/ 1875949 w 2036795"/>
                      <a:gd name="connsiteY8" fmla="*/ 825006 h 825006"/>
                      <a:gd name="connsiteX9" fmla="*/ 1875949 w 2036795"/>
                      <a:gd name="connsiteY9" fmla="*/ 823958 h 825006"/>
                      <a:gd name="connsiteX10" fmla="*/ 1878235 w 2036795"/>
                      <a:gd name="connsiteY10" fmla="*/ 825006 h 825006"/>
                      <a:gd name="connsiteX11" fmla="*/ 2020252 w 2036795"/>
                      <a:gd name="connsiteY11" fmla="*/ 633649 h 825006"/>
                      <a:gd name="connsiteX12" fmla="*/ 2036636 w 2036795"/>
                      <a:gd name="connsiteY12" fmla="*/ 434862 h 82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6795" h="825006">
                        <a:moveTo>
                          <a:pt x="2036636" y="434862"/>
                        </a:moveTo>
                        <a:cubicBezTo>
                          <a:pt x="1970913" y="137873"/>
                          <a:pt x="1849660" y="71388"/>
                          <a:pt x="1547908" y="32050"/>
                        </a:cubicBezTo>
                        <a:lnTo>
                          <a:pt x="1547908" y="32050"/>
                        </a:lnTo>
                        <a:cubicBezTo>
                          <a:pt x="1193673" y="-13860"/>
                          <a:pt x="832961" y="-7384"/>
                          <a:pt x="478726" y="32050"/>
                        </a:cubicBezTo>
                        <a:cubicBezTo>
                          <a:pt x="216313" y="64816"/>
                          <a:pt x="65437" y="202548"/>
                          <a:pt x="13049" y="445340"/>
                        </a:cubicBezTo>
                        <a:cubicBezTo>
                          <a:pt x="1429" y="497537"/>
                          <a:pt x="95" y="554877"/>
                          <a:pt x="0" y="608217"/>
                        </a:cubicBezTo>
                        <a:cubicBezTo>
                          <a:pt x="190" y="644222"/>
                          <a:pt x="1524" y="684132"/>
                          <a:pt x="13049" y="718898"/>
                        </a:cubicBezTo>
                        <a:cubicBezTo>
                          <a:pt x="26194" y="758236"/>
                          <a:pt x="59246" y="805290"/>
                          <a:pt x="92012" y="825006"/>
                        </a:cubicBezTo>
                        <a:lnTo>
                          <a:pt x="1875949" y="825006"/>
                        </a:lnTo>
                        <a:lnTo>
                          <a:pt x="1875949" y="823958"/>
                        </a:lnTo>
                        <a:cubicBezTo>
                          <a:pt x="1876711" y="824340"/>
                          <a:pt x="1877473" y="824625"/>
                          <a:pt x="1878235" y="825006"/>
                        </a:cubicBezTo>
                        <a:cubicBezTo>
                          <a:pt x="1961959" y="785192"/>
                          <a:pt x="2017586" y="646508"/>
                          <a:pt x="2020252" y="633649"/>
                        </a:cubicBezTo>
                        <a:cubicBezTo>
                          <a:pt x="2029682" y="587072"/>
                          <a:pt x="2038064" y="550400"/>
                          <a:pt x="2036636" y="434862"/>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80" name="Freeform: Shape 79">
                    <a:extLst>
                      <a:ext uri="{FF2B5EF4-FFF2-40B4-BE49-F238E27FC236}">
                        <a16:creationId xmlns:a16="http://schemas.microsoft.com/office/drawing/2014/main" id="{E195F0A8-0AC1-A974-B492-5D3DCA57F5A1}"/>
                      </a:ext>
                    </a:extLst>
                  </p:cNvPr>
                  <p:cNvSpPr/>
                  <p:nvPr/>
                </p:nvSpPr>
                <p:spPr>
                  <a:xfrm>
                    <a:off x="9022867" y="4008214"/>
                    <a:ext cx="833222" cy="833056"/>
                  </a:xfrm>
                  <a:custGeom>
                    <a:avLst/>
                    <a:gdLst>
                      <a:gd name="connsiteX0" fmla="*/ 413455 w 833222"/>
                      <a:gd name="connsiteY0" fmla="*/ 833056 h 833056"/>
                      <a:gd name="connsiteX1" fmla="*/ 833222 w 833222"/>
                      <a:gd name="connsiteY1" fmla="*/ 419767 h 833056"/>
                      <a:gd name="connsiteX2" fmla="*/ 419932 w 833222"/>
                      <a:gd name="connsiteY2" fmla="*/ 0 h 833056"/>
                      <a:gd name="connsiteX3" fmla="*/ 165 w 833222"/>
                      <a:gd name="connsiteY3" fmla="*/ 413290 h 833056"/>
                      <a:gd name="connsiteX4" fmla="*/ 413455 w 833222"/>
                      <a:gd name="connsiteY4" fmla="*/ 833056 h 833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222" h="833056">
                        <a:moveTo>
                          <a:pt x="413455" y="833056"/>
                        </a:moveTo>
                        <a:cubicBezTo>
                          <a:pt x="643008" y="833056"/>
                          <a:pt x="826745" y="649414"/>
                          <a:pt x="833222" y="419767"/>
                        </a:cubicBezTo>
                        <a:cubicBezTo>
                          <a:pt x="833222" y="190214"/>
                          <a:pt x="649580" y="0"/>
                          <a:pt x="419932" y="0"/>
                        </a:cubicBezTo>
                        <a:cubicBezTo>
                          <a:pt x="190285" y="0"/>
                          <a:pt x="165" y="183642"/>
                          <a:pt x="165" y="413290"/>
                        </a:cubicBezTo>
                        <a:cubicBezTo>
                          <a:pt x="-6407" y="642842"/>
                          <a:pt x="183808" y="826580"/>
                          <a:pt x="413455" y="833056"/>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81" name="Freeform: Shape 80">
                    <a:extLst>
                      <a:ext uri="{FF2B5EF4-FFF2-40B4-BE49-F238E27FC236}">
                        <a16:creationId xmlns:a16="http://schemas.microsoft.com/office/drawing/2014/main" id="{DC4A4B4B-9B54-562E-7897-2A062283B6B0}"/>
                      </a:ext>
                    </a:extLst>
                  </p:cNvPr>
                  <p:cNvSpPr/>
                  <p:nvPr/>
                </p:nvSpPr>
                <p:spPr>
                  <a:xfrm>
                    <a:off x="8426196" y="5534691"/>
                    <a:ext cx="9525" cy="34670"/>
                  </a:xfrm>
                  <a:custGeom>
                    <a:avLst/>
                    <a:gdLst>
                      <a:gd name="connsiteX0" fmla="*/ 0 w 9525"/>
                      <a:gd name="connsiteY0" fmla="*/ 34671 h 34670"/>
                      <a:gd name="connsiteX1" fmla="*/ 0 w 9525"/>
                      <a:gd name="connsiteY1" fmla="*/ 13906 h 34670"/>
                      <a:gd name="connsiteX2" fmla="*/ 0 w 9525"/>
                      <a:gd name="connsiteY2" fmla="*/ 0 h 34670"/>
                      <a:gd name="connsiteX3" fmla="*/ 0 w 9525"/>
                      <a:gd name="connsiteY3" fmla="*/ 34671 h 34670"/>
                    </a:gdLst>
                    <a:ahLst/>
                    <a:cxnLst>
                      <a:cxn ang="0">
                        <a:pos x="connsiteX0" y="connsiteY0"/>
                      </a:cxn>
                      <a:cxn ang="0">
                        <a:pos x="connsiteX1" y="connsiteY1"/>
                      </a:cxn>
                      <a:cxn ang="0">
                        <a:pos x="connsiteX2" y="connsiteY2"/>
                      </a:cxn>
                      <a:cxn ang="0">
                        <a:pos x="connsiteX3" y="connsiteY3"/>
                      </a:cxn>
                    </a:cxnLst>
                    <a:rect l="l" t="t" r="r" b="b"/>
                    <a:pathLst>
                      <a:path w="9525" h="34670">
                        <a:moveTo>
                          <a:pt x="0" y="34671"/>
                        </a:moveTo>
                        <a:cubicBezTo>
                          <a:pt x="0" y="27813"/>
                          <a:pt x="0" y="20860"/>
                          <a:pt x="0" y="13906"/>
                        </a:cubicBezTo>
                        <a:cubicBezTo>
                          <a:pt x="0" y="9239"/>
                          <a:pt x="0" y="4572"/>
                          <a:pt x="0" y="0"/>
                        </a:cubicBezTo>
                        <a:lnTo>
                          <a:pt x="0" y="34671"/>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82" name="Freeform: Shape 81">
                    <a:extLst>
                      <a:ext uri="{FF2B5EF4-FFF2-40B4-BE49-F238E27FC236}">
                        <a16:creationId xmlns:a16="http://schemas.microsoft.com/office/drawing/2014/main" id="{61F8F501-96BB-6E92-813F-670CE4A551A3}"/>
                      </a:ext>
                    </a:extLst>
                  </p:cNvPr>
                  <p:cNvSpPr/>
                  <p:nvPr/>
                </p:nvSpPr>
                <p:spPr>
                  <a:xfrm>
                    <a:off x="8426196" y="4940475"/>
                    <a:ext cx="2036795" cy="825006"/>
                  </a:xfrm>
                  <a:custGeom>
                    <a:avLst/>
                    <a:gdLst>
                      <a:gd name="connsiteX0" fmla="*/ 2036636 w 2036795"/>
                      <a:gd name="connsiteY0" fmla="*/ 434862 h 825006"/>
                      <a:gd name="connsiteX1" fmla="*/ 1547908 w 2036795"/>
                      <a:gd name="connsiteY1" fmla="*/ 32050 h 825006"/>
                      <a:gd name="connsiteX2" fmla="*/ 1547908 w 2036795"/>
                      <a:gd name="connsiteY2" fmla="*/ 32050 h 825006"/>
                      <a:gd name="connsiteX3" fmla="*/ 478727 w 2036795"/>
                      <a:gd name="connsiteY3" fmla="*/ 32050 h 825006"/>
                      <a:gd name="connsiteX4" fmla="*/ 13049 w 2036795"/>
                      <a:gd name="connsiteY4" fmla="*/ 445340 h 825006"/>
                      <a:gd name="connsiteX5" fmla="*/ 0 w 2036795"/>
                      <a:gd name="connsiteY5" fmla="*/ 608217 h 825006"/>
                      <a:gd name="connsiteX6" fmla="*/ 13049 w 2036795"/>
                      <a:gd name="connsiteY6" fmla="*/ 718898 h 825006"/>
                      <a:gd name="connsiteX7" fmla="*/ 92011 w 2036795"/>
                      <a:gd name="connsiteY7" fmla="*/ 825006 h 825006"/>
                      <a:gd name="connsiteX8" fmla="*/ 1875949 w 2036795"/>
                      <a:gd name="connsiteY8" fmla="*/ 825006 h 825006"/>
                      <a:gd name="connsiteX9" fmla="*/ 1875949 w 2036795"/>
                      <a:gd name="connsiteY9" fmla="*/ 823958 h 825006"/>
                      <a:gd name="connsiteX10" fmla="*/ 1878235 w 2036795"/>
                      <a:gd name="connsiteY10" fmla="*/ 825006 h 825006"/>
                      <a:gd name="connsiteX11" fmla="*/ 2020252 w 2036795"/>
                      <a:gd name="connsiteY11" fmla="*/ 633649 h 825006"/>
                      <a:gd name="connsiteX12" fmla="*/ 2036636 w 2036795"/>
                      <a:gd name="connsiteY12" fmla="*/ 434862 h 82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6795" h="825006">
                        <a:moveTo>
                          <a:pt x="2036636" y="434862"/>
                        </a:moveTo>
                        <a:cubicBezTo>
                          <a:pt x="1970913" y="137873"/>
                          <a:pt x="1849660" y="71388"/>
                          <a:pt x="1547908" y="32050"/>
                        </a:cubicBezTo>
                        <a:lnTo>
                          <a:pt x="1547908" y="32050"/>
                        </a:lnTo>
                        <a:cubicBezTo>
                          <a:pt x="1193673" y="-13860"/>
                          <a:pt x="832961" y="-7384"/>
                          <a:pt x="478727" y="32050"/>
                        </a:cubicBezTo>
                        <a:cubicBezTo>
                          <a:pt x="216312" y="64816"/>
                          <a:pt x="65437" y="202548"/>
                          <a:pt x="13049" y="445340"/>
                        </a:cubicBezTo>
                        <a:cubicBezTo>
                          <a:pt x="1428" y="497537"/>
                          <a:pt x="95" y="554877"/>
                          <a:pt x="0" y="608217"/>
                        </a:cubicBezTo>
                        <a:cubicBezTo>
                          <a:pt x="190" y="644222"/>
                          <a:pt x="1524" y="684132"/>
                          <a:pt x="13049" y="718898"/>
                        </a:cubicBezTo>
                        <a:cubicBezTo>
                          <a:pt x="26194" y="758236"/>
                          <a:pt x="59245" y="805290"/>
                          <a:pt x="92011" y="825006"/>
                        </a:cubicBezTo>
                        <a:lnTo>
                          <a:pt x="1875949" y="825006"/>
                        </a:lnTo>
                        <a:lnTo>
                          <a:pt x="1875949" y="823958"/>
                        </a:lnTo>
                        <a:cubicBezTo>
                          <a:pt x="1876711" y="824340"/>
                          <a:pt x="1877473" y="824625"/>
                          <a:pt x="1878235" y="825006"/>
                        </a:cubicBezTo>
                        <a:cubicBezTo>
                          <a:pt x="1961959" y="785192"/>
                          <a:pt x="2017586" y="646508"/>
                          <a:pt x="2020252" y="633649"/>
                        </a:cubicBezTo>
                        <a:cubicBezTo>
                          <a:pt x="2029682" y="587072"/>
                          <a:pt x="2038064" y="550400"/>
                          <a:pt x="2036636" y="434862"/>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83" name="Freeform: Shape 82">
                    <a:extLst>
                      <a:ext uri="{FF2B5EF4-FFF2-40B4-BE49-F238E27FC236}">
                        <a16:creationId xmlns:a16="http://schemas.microsoft.com/office/drawing/2014/main" id="{3FFC0E4C-86DC-4762-1650-50B58E7EF58B}"/>
                      </a:ext>
                    </a:extLst>
                  </p:cNvPr>
                  <p:cNvSpPr/>
                  <p:nvPr/>
                </p:nvSpPr>
                <p:spPr>
                  <a:xfrm>
                    <a:off x="3993667" y="2624422"/>
                    <a:ext cx="833221" cy="833056"/>
                  </a:xfrm>
                  <a:custGeom>
                    <a:avLst/>
                    <a:gdLst>
                      <a:gd name="connsiteX0" fmla="*/ 413455 w 833221"/>
                      <a:gd name="connsiteY0" fmla="*/ 833057 h 833056"/>
                      <a:gd name="connsiteX1" fmla="*/ 833222 w 833221"/>
                      <a:gd name="connsiteY1" fmla="*/ 419767 h 833056"/>
                      <a:gd name="connsiteX2" fmla="*/ 419932 w 833221"/>
                      <a:gd name="connsiteY2" fmla="*/ 0 h 833056"/>
                      <a:gd name="connsiteX3" fmla="*/ 165 w 833221"/>
                      <a:gd name="connsiteY3" fmla="*/ 413290 h 833056"/>
                      <a:gd name="connsiteX4" fmla="*/ 413455 w 833221"/>
                      <a:gd name="connsiteY4" fmla="*/ 833057 h 833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221" h="833056">
                        <a:moveTo>
                          <a:pt x="413455" y="833057"/>
                        </a:moveTo>
                        <a:cubicBezTo>
                          <a:pt x="643008" y="833057"/>
                          <a:pt x="826745" y="649415"/>
                          <a:pt x="833222" y="419767"/>
                        </a:cubicBezTo>
                        <a:cubicBezTo>
                          <a:pt x="833222" y="190214"/>
                          <a:pt x="649580" y="0"/>
                          <a:pt x="419932" y="0"/>
                        </a:cubicBezTo>
                        <a:cubicBezTo>
                          <a:pt x="190284" y="0"/>
                          <a:pt x="165" y="183642"/>
                          <a:pt x="165" y="413290"/>
                        </a:cubicBezTo>
                        <a:cubicBezTo>
                          <a:pt x="-6407" y="642842"/>
                          <a:pt x="183807" y="826580"/>
                          <a:pt x="413455" y="833057"/>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84" name="Freeform: Shape 83">
                    <a:extLst>
                      <a:ext uri="{FF2B5EF4-FFF2-40B4-BE49-F238E27FC236}">
                        <a16:creationId xmlns:a16="http://schemas.microsoft.com/office/drawing/2014/main" id="{DA135299-FA8C-7A18-7F9D-2D60EB236B90}"/>
                      </a:ext>
                    </a:extLst>
                  </p:cNvPr>
                  <p:cNvSpPr/>
                  <p:nvPr/>
                </p:nvSpPr>
                <p:spPr>
                  <a:xfrm>
                    <a:off x="3396995" y="4150899"/>
                    <a:ext cx="9525" cy="34670"/>
                  </a:xfrm>
                  <a:custGeom>
                    <a:avLst/>
                    <a:gdLst>
                      <a:gd name="connsiteX0" fmla="*/ 0 w 9525"/>
                      <a:gd name="connsiteY0" fmla="*/ 34671 h 34670"/>
                      <a:gd name="connsiteX1" fmla="*/ 0 w 9525"/>
                      <a:gd name="connsiteY1" fmla="*/ 13906 h 34670"/>
                      <a:gd name="connsiteX2" fmla="*/ 0 w 9525"/>
                      <a:gd name="connsiteY2" fmla="*/ 0 h 34670"/>
                      <a:gd name="connsiteX3" fmla="*/ 0 w 9525"/>
                      <a:gd name="connsiteY3" fmla="*/ 34671 h 34670"/>
                    </a:gdLst>
                    <a:ahLst/>
                    <a:cxnLst>
                      <a:cxn ang="0">
                        <a:pos x="connsiteX0" y="connsiteY0"/>
                      </a:cxn>
                      <a:cxn ang="0">
                        <a:pos x="connsiteX1" y="connsiteY1"/>
                      </a:cxn>
                      <a:cxn ang="0">
                        <a:pos x="connsiteX2" y="connsiteY2"/>
                      </a:cxn>
                      <a:cxn ang="0">
                        <a:pos x="connsiteX3" y="connsiteY3"/>
                      </a:cxn>
                    </a:cxnLst>
                    <a:rect l="l" t="t" r="r" b="b"/>
                    <a:pathLst>
                      <a:path w="9525" h="34670">
                        <a:moveTo>
                          <a:pt x="0" y="34671"/>
                        </a:moveTo>
                        <a:cubicBezTo>
                          <a:pt x="0" y="27813"/>
                          <a:pt x="0" y="20860"/>
                          <a:pt x="0" y="13906"/>
                        </a:cubicBezTo>
                        <a:cubicBezTo>
                          <a:pt x="0" y="9239"/>
                          <a:pt x="0" y="4572"/>
                          <a:pt x="0" y="0"/>
                        </a:cubicBezTo>
                        <a:lnTo>
                          <a:pt x="0" y="34671"/>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85" name="Freeform: Shape 84">
                    <a:extLst>
                      <a:ext uri="{FF2B5EF4-FFF2-40B4-BE49-F238E27FC236}">
                        <a16:creationId xmlns:a16="http://schemas.microsoft.com/office/drawing/2014/main" id="{9CB90F1F-B0D8-623D-ECFE-BF628E3756A0}"/>
                      </a:ext>
                    </a:extLst>
                  </p:cNvPr>
                  <p:cNvSpPr/>
                  <p:nvPr/>
                </p:nvSpPr>
                <p:spPr>
                  <a:xfrm>
                    <a:off x="3396995" y="3556683"/>
                    <a:ext cx="2036795" cy="825006"/>
                  </a:xfrm>
                  <a:custGeom>
                    <a:avLst/>
                    <a:gdLst>
                      <a:gd name="connsiteX0" fmla="*/ 2036635 w 2036795"/>
                      <a:gd name="connsiteY0" fmla="*/ 434862 h 825006"/>
                      <a:gd name="connsiteX1" fmla="*/ 1547908 w 2036795"/>
                      <a:gd name="connsiteY1" fmla="*/ 32050 h 825006"/>
                      <a:gd name="connsiteX2" fmla="*/ 1547908 w 2036795"/>
                      <a:gd name="connsiteY2" fmla="*/ 32050 h 825006"/>
                      <a:gd name="connsiteX3" fmla="*/ 478726 w 2036795"/>
                      <a:gd name="connsiteY3" fmla="*/ 32050 h 825006"/>
                      <a:gd name="connsiteX4" fmla="*/ 13049 w 2036795"/>
                      <a:gd name="connsiteY4" fmla="*/ 445340 h 825006"/>
                      <a:gd name="connsiteX5" fmla="*/ 0 w 2036795"/>
                      <a:gd name="connsiteY5" fmla="*/ 608217 h 825006"/>
                      <a:gd name="connsiteX6" fmla="*/ 13049 w 2036795"/>
                      <a:gd name="connsiteY6" fmla="*/ 718898 h 825006"/>
                      <a:gd name="connsiteX7" fmla="*/ 92012 w 2036795"/>
                      <a:gd name="connsiteY7" fmla="*/ 825006 h 825006"/>
                      <a:gd name="connsiteX8" fmla="*/ 1875949 w 2036795"/>
                      <a:gd name="connsiteY8" fmla="*/ 825006 h 825006"/>
                      <a:gd name="connsiteX9" fmla="*/ 1875949 w 2036795"/>
                      <a:gd name="connsiteY9" fmla="*/ 823958 h 825006"/>
                      <a:gd name="connsiteX10" fmla="*/ 1878235 w 2036795"/>
                      <a:gd name="connsiteY10" fmla="*/ 825006 h 825006"/>
                      <a:gd name="connsiteX11" fmla="*/ 2020252 w 2036795"/>
                      <a:gd name="connsiteY11" fmla="*/ 633649 h 825006"/>
                      <a:gd name="connsiteX12" fmla="*/ 2036635 w 2036795"/>
                      <a:gd name="connsiteY12" fmla="*/ 434862 h 82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6795" h="825006">
                        <a:moveTo>
                          <a:pt x="2036635" y="434862"/>
                        </a:moveTo>
                        <a:cubicBezTo>
                          <a:pt x="1970913" y="137873"/>
                          <a:pt x="1849660" y="71388"/>
                          <a:pt x="1547908" y="32050"/>
                        </a:cubicBezTo>
                        <a:lnTo>
                          <a:pt x="1547908" y="32050"/>
                        </a:lnTo>
                        <a:cubicBezTo>
                          <a:pt x="1193673" y="-13860"/>
                          <a:pt x="832961" y="-7384"/>
                          <a:pt x="478726" y="32050"/>
                        </a:cubicBezTo>
                        <a:cubicBezTo>
                          <a:pt x="216313" y="64816"/>
                          <a:pt x="65437" y="202548"/>
                          <a:pt x="13049" y="445340"/>
                        </a:cubicBezTo>
                        <a:cubicBezTo>
                          <a:pt x="1429" y="497537"/>
                          <a:pt x="95" y="554877"/>
                          <a:pt x="0" y="608217"/>
                        </a:cubicBezTo>
                        <a:cubicBezTo>
                          <a:pt x="191" y="644222"/>
                          <a:pt x="1524" y="684132"/>
                          <a:pt x="13049" y="718898"/>
                        </a:cubicBezTo>
                        <a:cubicBezTo>
                          <a:pt x="26194" y="758236"/>
                          <a:pt x="59246" y="805290"/>
                          <a:pt x="92012" y="825006"/>
                        </a:cubicBezTo>
                        <a:lnTo>
                          <a:pt x="1875949" y="825006"/>
                        </a:lnTo>
                        <a:lnTo>
                          <a:pt x="1875949" y="823958"/>
                        </a:lnTo>
                        <a:cubicBezTo>
                          <a:pt x="1876711" y="824340"/>
                          <a:pt x="1877473" y="824625"/>
                          <a:pt x="1878235" y="825006"/>
                        </a:cubicBezTo>
                        <a:cubicBezTo>
                          <a:pt x="1961960" y="785192"/>
                          <a:pt x="2017585" y="646508"/>
                          <a:pt x="2020252" y="633649"/>
                        </a:cubicBezTo>
                        <a:cubicBezTo>
                          <a:pt x="2029682" y="587072"/>
                          <a:pt x="2038064" y="550400"/>
                          <a:pt x="2036635" y="434862"/>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86" name="Freeform: Shape 85">
                    <a:extLst>
                      <a:ext uri="{FF2B5EF4-FFF2-40B4-BE49-F238E27FC236}">
                        <a16:creationId xmlns:a16="http://schemas.microsoft.com/office/drawing/2014/main" id="{670474B7-4531-DD23-C5E1-685545AAA240}"/>
                      </a:ext>
                    </a:extLst>
                  </p:cNvPr>
                  <p:cNvSpPr/>
                  <p:nvPr/>
                </p:nvSpPr>
                <p:spPr>
                  <a:xfrm>
                    <a:off x="7339990" y="2624422"/>
                    <a:ext cx="833222" cy="833056"/>
                  </a:xfrm>
                  <a:custGeom>
                    <a:avLst/>
                    <a:gdLst>
                      <a:gd name="connsiteX0" fmla="*/ 413455 w 833222"/>
                      <a:gd name="connsiteY0" fmla="*/ 833057 h 833056"/>
                      <a:gd name="connsiteX1" fmla="*/ 833222 w 833222"/>
                      <a:gd name="connsiteY1" fmla="*/ 419767 h 833056"/>
                      <a:gd name="connsiteX2" fmla="*/ 419932 w 833222"/>
                      <a:gd name="connsiteY2" fmla="*/ 0 h 833056"/>
                      <a:gd name="connsiteX3" fmla="*/ 165 w 833222"/>
                      <a:gd name="connsiteY3" fmla="*/ 413290 h 833056"/>
                      <a:gd name="connsiteX4" fmla="*/ 413455 w 833222"/>
                      <a:gd name="connsiteY4" fmla="*/ 833057 h 833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222" h="833056">
                        <a:moveTo>
                          <a:pt x="413455" y="833057"/>
                        </a:moveTo>
                        <a:cubicBezTo>
                          <a:pt x="643008" y="833057"/>
                          <a:pt x="826745" y="649415"/>
                          <a:pt x="833222" y="419767"/>
                        </a:cubicBezTo>
                        <a:cubicBezTo>
                          <a:pt x="833222" y="190214"/>
                          <a:pt x="649580" y="0"/>
                          <a:pt x="419932" y="0"/>
                        </a:cubicBezTo>
                        <a:cubicBezTo>
                          <a:pt x="190285" y="0"/>
                          <a:pt x="165" y="183642"/>
                          <a:pt x="165" y="413290"/>
                        </a:cubicBezTo>
                        <a:cubicBezTo>
                          <a:pt x="-6407" y="642842"/>
                          <a:pt x="183808" y="826580"/>
                          <a:pt x="413455" y="833057"/>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92" name="Freeform: Shape 91">
                    <a:extLst>
                      <a:ext uri="{FF2B5EF4-FFF2-40B4-BE49-F238E27FC236}">
                        <a16:creationId xmlns:a16="http://schemas.microsoft.com/office/drawing/2014/main" id="{F5C22152-B117-CB91-9A1D-EA01C9F68A3A}"/>
                      </a:ext>
                    </a:extLst>
                  </p:cNvPr>
                  <p:cNvSpPr/>
                  <p:nvPr/>
                </p:nvSpPr>
                <p:spPr>
                  <a:xfrm>
                    <a:off x="6743319" y="4150899"/>
                    <a:ext cx="9525" cy="34670"/>
                  </a:xfrm>
                  <a:custGeom>
                    <a:avLst/>
                    <a:gdLst>
                      <a:gd name="connsiteX0" fmla="*/ 0 w 9525"/>
                      <a:gd name="connsiteY0" fmla="*/ 34671 h 34670"/>
                      <a:gd name="connsiteX1" fmla="*/ 0 w 9525"/>
                      <a:gd name="connsiteY1" fmla="*/ 13906 h 34670"/>
                      <a:gd name="connsiteX2" fmla="*/ 0 w 9525"/>
                      <a:gd name="connsiteY2" fmla="*/ 0 h 34670"/>
                      <a:gd name="connsiteX3" fmla="*/ 0 w 9525"/>
                      <a:gd name="connsiteY3" fmla="*/ 34671 h 34670"/>
                    </a:gdLst>
                    <a:ahLst/>
                    <a:cxnLst>
                      <a:cxn ang="0">
                        <a:pos x="connsiteX0" y="connsiteY0"/>
                      </a:cxn>
                      <a:cxn ang="0">
                        <a:pos x="connsiteX1" y="connsiteY1"/>
                      </a:cxn>
                      <a:cxn ang="0">
                        <a:pos x="connsiteX2" y="connsiteY2"/>
                      </a:cxn>
                      <a:cxn ang="0">
                        <a:pos x="connsiteX3" y="connsiteY3"/>
                      </a:cxn>
                    </a:cxnLst>
                    <a:rect l="l" t="t" r="r" b="b"/>
                    <a:pathLst>
                      <a:path w="9525" h="34670">
                        <a:moveTo>
                          <a:pt x="0" y="34671"/>
                        </a:moveTo>
                        <a:cubicBezTo>
                          <a:pt x="0" y="27813"/>
                          <a:pt x="0" y="20860"/>
                          <a:pt x="0" y="13906"/>
                        </a:cubicBezTo>
                        <a:cubicBezTo>
                          <a:pt x="0" y="9239"/>
                          <a:pt x="0" y="4572"/>
                          <a:pt x="0" y="0"/>
                        </a:cubicBezTo>
                        <a:lnTo>
                          <a:pt x="0" y="34671"/>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93" name="Freeform: Shape 92">
                    <a:extLst>
                      <a:ext uri="{FF2B5EF4-FFF2-40B4-BE49-F238E27FC236}">
                        <a16:creationId xmlns:a16="http://schemas.microsoft.com/office/drawing/2014/main" id="{1879ECF2-8B8A-C4E3-11AB-3956A0436AFF}"/>
                      </a:ext>
                    </a:extLst>
                  </p:cNvPr>
                  <p:cNvSpPr/>
                  <p:nvPr/>
                </p:nvSpPr>
                <p:spPr>
                  <a:xfrm>
                    <a:off x="6743319" y="3556683"/>
                    <a:ext cx="2036795" cy="825006"/>
                  </a:xfrm>
                  <a:custGeom>
                    <a:avLst/>
                    <a:gdLst>
                      <a:gd name="connsiteX0" fmla="*/ 2036636 w 2036795"/>
                      <a:gd name="connsiteY0" fmla="*/ 434862 h 825006"/>
                      <a:gd name="connsiteX1" fmla="*/ 1547907 w 2036795"/>
                      <a:gd name="connsiteY1" fmla="*/ 32050 h 825006"/>
                      <a:gd name="connsiteX2" fmla="*/ 1547907 w 2036795"/>
                      <a:gd name="connsiteY2" fmla="*/ 32050 h 825006"/>
                      <a:gd name="connsiteX3" fmla="*/ 478726 w 2036795"/>
                      <a:gd name="connsiteY3" fmla="*/ 32050 h 825006"/>
                      <a:gd name="connsiteX4" fmla="*/ 13049 w 2036795"/>
                      <a:gd name="connsiteY4" fmla="*/ 445340 h 825006"/>
                      <a:gd name="connsiteX5" fmla="*/ 0 w 2036795"/>
                      <a:gd name="connsiteY5" fmla="*/ 608217 h 825006"/>
                      <a:gd name="connsiteX6" fmla="*/ 13049 w 2036795"/>
                      <a:gd name="connsiteY6" fmla="*/ 718898 h 825006"/>
                      <a:gd name="connsiteX7" fmla="*/ 92011 w 2036795"/>
                      <a:gd name="connsiteY7" fmla="*/ 825006 h 825006"/>
                      <a:gd name="connsiteX8" fmla="*/ 1875948 w 2036795"/>
                      <a:gd name="connsiteY8" fmla="*/ 825006 h 825006"/>
                      <a:gd name="connsiteX9" fmla="*/ 1875948 w 2036795"/>
                      <a:gd name="connsiteY9" fmla="*/ 823958 h 825006"/>
                      <a:gd name="connsiteX10" fmla="*/ 1878235 w 2036795"/>
                      <a:gd name="connsiteY10" fmla="*/ 825006 h 825006"/>
                      <a:gd name="connsiteX11" fmla="*/ 2020252 w 2036795"/>
                      <a:gd name="connsiteY11" fmla="*/ 633649 h 825006"/>
                      <a:gd name="connsiteX12" fmla="*/ 2036636 w 2036795"/>
                      <a:gd name="connsiteY12" fmla="*/ 434862 h 82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6795" h="825006">
                        <a:moveTo>
                          <a:pt x="2036636" y="434862"/>
                        </a:moveTo>
                        <a:cubicBezTo>
                          <a:pt x="1970913" y="137873"/>
                          <a:pt x="1849660" y="71388"/>
                          <a:pt x="1547907" y="32050"/>
                        </a:cubicBezTo>
                        <a:lnTo>
                          <a:pt x="1547907" y="32050"/>
                        </a:lnTo>
                        <a:cubicBezTo>
                          <a:pt x="1193673" y="-13860"/>
                          <a:pt x="832961" y="-7384"/>
                          <a:pt x="478726" y="32050"/>
                        </a:cubicBezTo>
                        <a:cubicBezTo>
                          <a:pt x="216312" y="64816"/>
                          <a:pt x="65437" y="202548"/>
                          <a:pt x="13049" y="445340"/>
                        </a:cubicBezTo>
                        <a:cubicBezTo>
                          <a:pt x="1428" y="497537"/>
                          <a:pt x="95" y="554877"/>
                          <a:pt x="0" y="608217"/>
                        </a:cubicBezTo>
                        <a:cubicBezTo>
                          <a:pt x="190" y="644222"/>
                          <a:pt x="1524" y="684132"/>
                          <a:pt x="13049" y="718898"/>
                        </a:cubicBezTo>
                        <a:cubicBezTo>
                          <a:pt x="26194" y="758236"/>
                          <a:pt x="59245" y="805290"/>
                          <a:pt x="92011" y="825006"/>
                        </a:cubicBezTo>
                        <a:lnTo>
                          <a:pt x="1875948" y="825006"/>
                        </a:lnTo>
                        <a:lnTo>
                          <a:pt x="1875948" y="823958"/>
                        </a:lnTo>
                        <a:cubicBezTo>
                          <a:pt x="1876711" y="824340"/>
                          <a:pt x="1877473" y="824625"/>
                          <a:pt x="1878235" y="825006"/>
                        </a:cubicBezTo>
                        <a:cubicBezTo>
                          <a:pt x="1961959" y="785192"/>
                          <a:pt x="2017586" y="646508"/>
                          <a:pt x="2020252" y="633649"/>
                        </a:cubicBezTo>
                        <a:cubicBezTo>
                          <a:pt x="2029682" y="587072"/>
                          <a:pt x="2038064" y="550400"/>
                          <a:pt x="2036636" y="434862"/>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grpSp>
        </p:grpSp>
        <p:grpSp>
          <p:nvGrpSpPr>
            <p:cNvPr id="100" name="Group 99">
              <a:extLst>
                <a:ext uri="{FF2B5EF4-FFF2-40B4-BE49-F238E27FC236}">
                  <a16:creationId xmlns:a16="http://schemas.microsoft.com/office/drawing/2014/main" id="{D5138614-C940-ACA9-4B6F-E4C84E052A8A}"/>
                </a:ext>
              </a:extLst>
            </p:cNvPr>
            <p:cNvGrpSpPr/>
            <p:nvPr/>
          </p:nvGrpSpPr>
          <p:grpSpPr>
            <a:xfrm>
              <a:off x="6972285" y="6547439"/>
              <a:ext cx="1520200" cy="392652"/>
              <a:chOff x="614988" y="5922358"/>
              <a:chExt cx="1520200" cy="392652"/>
            </a:xfrm>
          </p:grpSpPr>
          <p:sp>
            <p:nvSpPr>
              <p:cNvPr id="233" name="Rectangle 232">
                <a:extLst>
                  <a:ext uri="{FF2B5EF4-FFF2-40B4-BE49-F238E27FC236}">
                    <a16:creationId xmlns:a16="http://schemas.microsoft.com/office/drawing/2014/main" id="{820F3CCC-3B70-D83E-2F24-4FA8860FC1B2}"/>
                  </a:ext>
                </a:extLst>
              </p:cNvPr>
              <p:cNvSpPr/>
              <p:nvPr/>
            </p:nvSpPr>
            <p:spPr>
              <a:xfrm>
                <a:off x="996195" y="5960556"/>
                <a:ext cx="1138993" cy="3162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Roboto"/>
                    <a:ea typeface="+mn-ea"/>
                    <a:cs typeface="+mn-cs"/>
                  </a:rPr>
                  <a:t>Complete range for the job</a:t>
                </a:r>
              </a:p>
            </p:txBody>
          </p:sp>
          <p:sp>
            <p:nvSpPr>
              <p:cNvPr id="285" name="Graphic 18">
                <a:extLst>
                  <a:ext uri="{FF2B5EF4-FFF2-40B4-BE49-F238E27FC236}">
                    <a16:creationId xmlns:a16="http://schemas.microsoft.com/office/drawing/2014/main" id="{6D5A2052-B43D-E569-B637-4AB0DB0A9560}"/>
                  </a:ext>
                </a:extLst>
              </p:cNvPr>
              <p:cNvSpPr/>
              <p:nvPr/>
            </p:nvSpPr>
            <p:spPr>
              <a:xfrm>
                <a:off x="614988" y="5922358"/>
                <a:ext cx="340028" cy="392652"/>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pic>
            <p:nvPicPr>
              <p:cNvPr id="99" name="Graphic 98">
                <a:extLst>
                  <a:ext uri="{FF2B5EF4-FFF2-40B4-BE49-F238E27FC236}">
                    <a16:creationId xmlns:a16="http://schemas.microsoft.com/office/drawing/2014/main" id="{49866253-E661-7007-E20C-CD9911FD235D}"/>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78326" y="6004382"/>
                <a:ext cx="228593" cy="228593"/>
              </a:xfrm>
              <a:prstGeom prst="rect">
                <a:avLst/>
              </a:prstGeom>
            </p:spPr>
          </p:pic>
        </p:grpSp>
      </p:grpSp>
      <p:sp>
        <p:nvSpPr>
          <p:cNvPr id="2" name="Rectangle 1">
            <a:extLst>
              <a:ext uri="{FF2B5EF4-FFF2-40B4-BE49-F238E27FC236}">
                <a16:creationId xmlns:a16="http://schemas.microsoft.com/office/drawing/2014/main" id="{826D33E7-D8EC-95CE-DCC8-18F647F0F201}"/>
              </a:ext>
            </a:extLst>
          </p:cNvPr>
          <p:cNvSpPr/>
          <p:nvPr/>
        </p:nvSpPr>
        <p:spPr>
          <a:xfrm>
            <a:off x="6625631" y="2019751"/>
            <a:ext cx="1367811" cy="9676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Roboto"/>
                <a:ea typeface="+mn-ea"/>
                <a:cs typeface="+mn-cs"/>
              </a:rPr>
              <a:t>October 20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Roboto"/>
                <a:ea typeface="+mn-ea"/>
                <a:cs typeface="+mn-cs"/>
              </a:rPr>
              <a:t>Tool Hire opened in Jewson Andover branch</a:t>
            </a:r>
          </a:p>
        </p:txBody>
      </p:sp>
      <p:sp>
        <p:nvSpPr>
          <p:cNvPr id="6" name="TextBox 5">
            <a:extLst>
              <a:ext uri="{FF2B5EF4-FFF2-40B4-BE49-F238E27FC236}">
                <a16:creationId xmlns:a16="http://schemas.microsoft.com/office/drawing/2014/main" id="{31646CA3-73B7-50E1-406C-56BE7A31806C}"/>
              </a:ext>
            </a:extLst>
          </p:cNvPr>
          <p:cNvSpPr txBox="1"/>
          <p:nvPr/>
        </p:nvSpPr>
        <p:spPr>
          <a:xfrm>
            <a:off x="10487611" y="4472876"/>
            <a:ext cx="1470614" cy="1015663"/>
          </a:xfrm>
          <a:prstGeom prst="rect">
            <a:avLst/>
          </a:prstGeom>
          <a:noFill/>
        </p:spPr>
        <p:txBody>
          <a:bodyPr wrap="square"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Roboto"/>
                <a:ea typeface="+mn-ea"/>
                <a:cs typeface="+mn-cs"/>
              </a:rPr>
              <a:t>Dec 2023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Roboto"/>
                <a:ea typeface="+mn-ea"/>
                <a:cs typeface="+mn-cs"/>
              </a:rPr>
              <a:t>New Bonus Scheme letters sent to all colleagues</a:t>
            </a:r>
          </a:p>
        </p:txBody>
      </p:sp>
      <p:grpSp>
        <p:nvGrpSpPr>
          <p:cNvPr id="12" name="Group 11">
            <a:extLst>
              <a:ext uri="{FF2B5EF4-FFF2-40B4-BE49-F238E27FC236}">
                <a16:creationId xmlns:a16="http://schemas.microsoft.com/office/drawing/2014/main" id="{B4E335FB-D0D6-1992-B795-FA9E428D20B9}"/>
              </a:ext>
            </a:extLst>
          </p:cNvPr>
          <p:cNvGrpSpPr/>
          <p:nvPr/>
        </p:nvGrpSpPr>
        <p:grpSpPr>
          <a:xfrm>
            <a:off x="6587186" y="1394218"/>
            <a:ext cx="462728" cy="534342"/>
            <a:chOff x="3825947" y="5928323"/>
            <a:chExt cx="296702" cy="342621"/>
          </a:xfrm>
        </p:grpSpPr>
        <p:sp>
          <p:nvSpPr>
            <p:cNvPr id="13" name="Graphic 18">
              <a:extLst>
                <a:ext uri="{FF2B5EF4-FFF2-40B4-BE49-F238E27FC236}">
                  <a16:creationId xmlns:a16="http://schemas.microsoft.com/office/drawing/2014/main" id="{C11B6043-4304-E9C3-2F85-11B4A1542E55}"/>
                </a:ext>
              </a:extLst>
            </p:cNvPr>
            <p:cNvSpPr/>
            <p:nvPr/>
          </p:nvSpPr>
          <p:spPr>
            <a:xfrm>
              <a:off x="3825947" y="5928323"/>
              <a:ext cx="296702" cy="342621"/>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grpSp>
          <p:nvGrpSpPr>
            <p:cNvPr id="20" name="Graphic 12">
              <a:extLst>
                <a:ext uri="{FF2B5EF4-FFF2-40B4-BE49-F238E27FC236}">
                  <a16:creationId xmlns:a16="http://schemas.microsoft.com/office/drawing/2014/main" id="{3AAA2BDD-AD2A-D699-C848-442684751BBD}"/>
                </a:ext>
              </a:extLst>
            </p:cNvPr>
            <p:cNvGrpSpPr/>
            <p:nvPr/>
          </p:nvGrpSpPr>
          <p:grpSpPr>
            <a:xfrm>
              <a:off x="3875752" y="6000319"/>
              <a:ext cx="197093" cy="184902"/>
              <a:chOff x="2838464" y="370331"/>
              <a:chExt cx="6513365" cy="6110496"/>
            </a:xfrm>
            <a:solidFill>
              <a:schemeClr val="bg1"/>
            </a:solidFill>
          </p:grpSpPr>
          <p:sp>
            <p:nvSpPr>
              <p:cNvPr id="22" name="Freeform: Shape 228">
                <a:extLst>
                  <a:ext uri="{FF2B5EF4-FFF2-40B4-BE49-F238E27FC236}">
                    <a16:creationId xmlns:a16="http://schemas.microsoft.com/office/drawing/2014/main" id="{9E4A9525-27F2-D8E5-EB45-083B5E8C9EAD}"/>
                  </a:ext>
                </a:extLst>
              </p:cNvPr>
              <p:cNvSpPr/>
              <p:nvPr/>
            </p:nvSpPr>
            <p:spPr>
              <a:xfrm>
                <a:off x="2838464" y="3408414"/>
                <a:ext cx="3024357" cy="3019229"/>
              </a:xfrm>
              <a:custGeom>
                <a:avLst/>
                <a:gdLst>
                  <a:gd name="connsiteX0" fmla="*/ 61713 w 3024357"/>
                  <a:gd name="connsiteY0" fmla="*/ 1940825 h 3019229"/>
                  <a:gd name="connsiteX1" fmla="*/ 61713 w 3024357"/>
                  <a:gd name="connsiteY1" fmla="*/ 2228850 h 3019229"/>
                  <a:gd name="connsiteX2" fmla="*/ 795519 w 3024357"/>
                  <a:gd name="connsiteY2" fmla="*/ 2962656 h 3019229"/>
                  <a:gd name="connsiteX3" fmla="*/ 1083544 w 3024357"/>
                  <a:gd name="connsiteY3" fmla="*/ 2962656 h 3019229"/>
                  <a:gd name="connsiteX4" fmla="*/ 3024358 w 3024357"/>
                  <a:gd name="connsiteY4" fmla="*/ 1021842 h 3019229"/>
                  <a:gd name="connsiteX5" fmla="*/ 2002516 w 3024357"/>
                  <a:gd name="connsiteY5" fmla="*/ 0 h 3019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24357" h="3019229">
                    <a:moveTo>
                      <a:pt x="61713" y="1940825"/>
                    </a:moveTo>
                    <a:cubicBezTo>
                      <a:pt x="-20571" y="2016258"/>
                      <a:pt x="-20571" y="2146565"/>
                      <a:pt x="61713" y="2228850"/>
                    </a:cubicBezTo>
                    <a:lnTo>
                      <a:pt x="795519" y="2962656"/>
                    </a:lnTo>
                    <a:cubicBezTo>
                      <a:pt x="870952" y="3038088"/>
                      <a:pt x="1001259" y="3038088"/>
                      <a:pt x="1083544" y="2962656"/>
                    </a:cubicBezTo>
                    <a:lnTo>
                      <a:pt x="3024358" y="1021842"/>
                    </a:lnTo>
                    <a:lnTo>
                      <a:pt x="2002516" y="0"/>
                    </a:ln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23" name="Freeform: Shape 229">
                <a:extLst>
                  <a:ext uri="{FF2B5EF4-FFF2-40B4-BE49-F238E27FC236}">
                    <a16:creationId xmlns:a16="http://schemas.microsoft.com/office/drawing/2014/main" id="{871375B4-9895-9ABE-856E-C3E0CBD15268}"/>
                  </a:ext>
                </a:extLst>
              </p:cNvPr>
              <p:cNvSpPr/>
              <p:nvPr/>
            </p:nvSpPr>
            <p:spPr>
              <a:xfrm>
                <a:off x="6342882" y="427758"/>
                <a:ext cx="3008947" cy="2500621"/>
              </a:xfrm>
              <a:custGeom>
                <a:avLst/>
                <a:gdLst>
                  <a:gd name="connsiteX0" fmla="*/ 2983236 w 3008947"/>
                  <a:gd name="connsiteY0" fmla="*/ 1396469 h 2500621"/>
                  <a:gd name="connsiteX1" fmla="*/ 2619751 w 3008947"/>
                  <a:gd name="connsiteY1" fmla="*/ 1032984 h 2500621"/>
                  <a:gd name="connsiteX2" fmla="*/ 2475739 w 3008947"/>
                  <a:gd name="connsiteY2" fmla="*/ 1032984 h 2500621"/>
                  <a:gd name="connsiteX3" fmla="*/ 2420865 w 3008947"/>
                  <a:gd name="connsiteY3" fmla="*/ 1087857 h 2500621"/>
                  <a:gd name="connsiteX4" fmla="*/ 1618479 w 3008947"/>
                  <a:gd name="connsiteY4" fmla="*/ 285471 h 2500621"/>
                  <a:gd name="connsiteX5" fmla="*/ 205731 w 3008947"/>
                  <a:gd name="connsiteY5" fmla="*/ 141458 h 2500621"/>
                  <a:gd name="connsiteX6" fmla="*/ 260604 w 3008947"/>
                  <a:gd name="connsiteY6" fmla="*/ 333494 h 2500621"/>
                  <a:gd name="connsiteX7" fmla="*/ 1145286 w 3008947"/>
                  <a:gd name="connsiteY7" fmla="*/ 902719 h 2500621"/>
                  <a:gd name="connsiteX8" fmla="*/ 0 w 3008947"/>
                  <a:gd name="connsiteY8" fmla="*/ 2041147 h 2500621"/>
                  <a:gd name="connsiteX9" fmla="*/ 459475 w 3008947"/>
                  <a:gd name="connsiteY9" fmla="*/ 2500622 h 2500621"/>
                  <a:gd name="connsiteX10" fmla="*/ 1563613 w 3008947"/>
                  <a:gd name="connsiteY10" fmla="*/ 1396484 h 2500621"/>
                  <a:gd name="connsiteX11" fmla="*/ 1824228 w 3008947"/>
                  <a:gd name="connsiteY11" fmla="*/ 1691389 h 2500621"/>
                  <a:gd name="connsiteX12" fmla="*/ 1762501 w 3008947"/>
                  <a:gd name="connsiteY12" fmla="*/ 1753117 h 2500621"/>
                  <a:gd name="connsiteX13" fmla="*/ 1762501 w 3008947"/>
                  <a:gd name="connsiteY13" fmla="*/ 1897129 h 2500621"/>
                  <a:gd name="connsiteX14" fmla="*/ 2125986 w 3008947"/>
                  <a:gd name="connsiteY14" fmla="*/ 2260615 h 2500621"/>
                  <a:gd name="connsiteX15" fmla="*/ 2269999 w 3008947"/>
                  <a:gd name="connsiteY15" fmla="*/ 2260615 h 2500621"/>
                  <a:gd name="connsiteX16" fmla="*/ 2983230 w 3008947"/>
                  <a:gd name="connsiteY16" fmla="*/ 1547383 h 2500621"/>
                  <a:gd name="connsiteX17" fmla="*/ 2983230 w 3008947"/>
                  <a:gd name="connsiteY17" fmla="*/ 1396495 h 2500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08947" h="2500621">
                    <a:moveTo>
                      <a:pt x="2983236" y="1396469"/>
                    </a:moveTo>
                    <a:lnTo>
                      <a:pt x="2619751" y="1032984"/>
                    </a:lnTo>
                    <a:cubicBezTo>
                      <a:pt x="2578607" y="991840"/>
                      <a:pt x="2516881" y="991840"/>
                      <a:pt x="2475739" y="1032984"/>
                    </a:cubicBezTo>
                    <a:lnTo>
                      <a:pt x="2420865" y="1087857"/>
                    </a:lnTo>
                    <a:cubicBezTo>
                      <a:pt x="2420865" y="1087857"/>
                      <a:pt x="1645911" y="312903"/>
                      <a:pt x="1618479" y="285471"/>
                    </a:cubicBezTo>
                    <a:cubicBezTo>
                      <a:pt x="1254994" y="-78015"/>
                      <a:pt x="528057" y="-57429"/>
                      <a:pt x="205731" y="141458"/>
                    </a:cubicBezTo>
                    <a:cubicBezTo>
                      <a:pt x="116566" y="196332"/>
                      <a:pt x="157734" y="333494"/>
                      <a:pt x="260604" y="333494"/>
                    </a:cubicBezTo>
                    <a:cubicBezTo>
                      <a:pt x="678936" y="354077"/>
                      <a:pt x="932688" y="648956"/>
                      <a:pt x="1145286" y="902719"/>
                    </a:cubicBezTo>
                    <a:lnTo>
                      <a:pt x="0" y="2041147"/>
                    </a:lnTo>
                    <a:lnTo>
                      <a:pt x="459475" y="2500622"/>
                    </a:lnTo>
                    <a:lnTo>
                      <a:pt x="1563613" y="1396484"/>
                    </a:lnTo>
                    <a:lnTo>
                      <a:pt x="1824228" y="1691389"/>
                    </a:lnTo>
                    <a:lnTo>
                      <a:pt x="1762501" y="1753117"/>
                    </a:lnTo>
                    <a:cubicBezTo>
                      <a:pt x="1721357" y="1794261"/>
                      <a:pt x="1721357" y="1855987"/>
                      <a:pt x="1762501" y="1897129"/>
                    </a:cubicBezTo>
                    <a:lnTo>
                      <a:pt x="2125986" y="2260615"/>
                    </a:lnTo>
                    <a:cubicBezTo>
                      <a:pt x="2167129" y="2301758"/>
                      <a:pt x="2228856" y="2301758"/>
                      <a:pt x="2269999" y="2260615"/>
                    </a:cubicBezTo>
                    <a:lnTo>
                      <a:pt x="2983230" y="1547383"/>
                    </a:lnTo>
                    <a:cubicBezTo>
                      <a:pt x="3017520" y="1506217"/>
                      <a:pt x="3017520" y="1437638"/>
                      <a:pt x="2983230" y="1396495"/>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24" name="Freeform: Shape 230">
                <a:extLst>
                  <a:ext uri="{FF2B5EF4-FFF2-40B4-BE49-F238E27FC236}">
                    <a16:creationId xmlns:a16="http://schemas.microsoft.com/office/drawing/2014/main" id="{DE4A31E5-2700-293A-839D-EFE1333F565A}"/>
                  </a:ext>
                </a:extLst>
              </p:cNvPr>
              <p:cNvSpPr/>
              <p:nvPr/>
            </p:nvSpPr>
            <p:spPr>
              <a:xfrm>
                <a:off x="3030206" y="370331"/>
                <a:ext cx="6099335" cy="6110496"/>
              </a:xfrm>
              <a:custGeom>
                <a:avLst/>
                <a:gdLst>
                  <a:gd name="connsiteX0" fmla="*/ 4732287 w 6099335"/>
                  <a:gd name="connsiteY0" fmla="*/ 3902203 h 6110496"/>
                  <a:gd name="connsiteX1" fmla="*/ 2208543 w 6099335"/>
                  <a:gd name="connsiteY1" fmla="*/ 1378459 h 6110496"/>
                  <a:gd name="connsiteX2" fmla="*/ 1913638 w 6099335"/>
                  <a:gd name="connsiteY2" fmla="*/ 329185 h 6110496"/>
                  <a:gd name="connsiteX3" fmla="*/ 706630 w 6099335"/>
                  <a:gd name="connsiteY3" fmla="*/ 82303 h 6110496"/>
                  <a:gd name="connsiteX4" fmla="*/ 1268974 w 6099335"/>
                  <a:gd name="connsiteY4" fmla="*/ 644647 h 6110496"/>
                  <a:gd name="connsiteX5" fmla="*/ 1268974 w 6099335"/>
                  <a:gd name="connsiteY5" fmla="*/ 1268725 h 6110496"/>
                  <a:gd name="connsiteX6" fmla="*/ 644896 w 6099335"/>
                  <a:gd name="connsiteY6" fmla="*/ 1268725 h 6110496"/>
                  <a:gd name="connsiteX7" fmla="*/ 82552 w 6099335"/>
                  <a:gd name="connsiteY7" fmla="*/ 706381 h 6110496"/>
                  <a:gd name="connsiteX8" fmla="*/ 322582 w 6099335"/>
                  <a:gd name="connsiteY8" fmla="*/ 1913389 h 6110496"/>
                  <a:gd name="connsiteX9" fmla="*/ 1371856 w 6099335"/>
                  <a:gd name="connsiteY9" fmla="*/ 2208294 h 6110496"/>
                  <a:gd name="connsiteX10" fmla="*/ 3895600 w 6099335"/>
                  <a:gd name="connsiteY10" fmla="*/ 4732038 h 6110496"/>
                  <a:gd name="connsiteX11" fmla="*/ 4190505 w 6099335"/>
                  <a:gd name="connsiteY11" fmla="*/ 5781312 h 6110496"/>
                  <a:gd name="connsiteX12" fmla="*/ 5397513 w 6099335"/>
                  <a:gd name="connsiteY12" fmla="*/ 6028195 h 6110496"/>
                  <a:gd name="connsiteX13" fmla="*/ 4835169 w 6099335"/>
                  <a:gd name="connsiteY13" fmla="*/ 5465850 h 6110496"/>
                  <a:gd name="connsiteX14" fmla="*/ 4835169 w 6099335"/>
                  <a:gd name="connsiteY14" fmla="*/ 4841772 h 6110496"/>
                  <a:gd name="connsiteX15" fmla="*/ 5459247 w 6099335"/>
                  <a:gd name="connsiteY15" fmla="*/ 4841772 h 6110496"/>
                  <a:gd name="connsiteX16" fmla="*/ 6021591 w 6099335"/>
                  <a:gd name="connsiteY16" fmla="*/ 5404116 h 6110496"/>
                  <a:gd name="connsiteX17" fmla="*/ 5774709 w 6099335"/>
                  <a:gd name="connsiteY17" fmla="*/ 4197109 h 6110496"/>
                  <a:gd name="connsiteX18" fmla="*/ 4732293 w 6099335"/>
                  <a:gd name="connsiteY18" fmla="*/ 3902186 h 6110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9335" h="6110496">
                    <a:moveTo>
                      <a:pt x="4732287" y="3902203"/>
                    </a:moveTo>
                    <a:lnTo>
                      <a:pt x="2208543" y="1378459"/>
                    </a:lnTo>
                    <a:cubicBezTo>
                      <a:pt x="2297709" y="1014973"/>
                      <a:pt x="2194836" y="617221"/>
                      <a:pt x="1913638" y="329185"/>
                    </a:cubicBezTo>
                    <a:cubicBezTo>
                      <a:pt x="1584442" y="-11"/>
                      <a:pt x="1111252" y="-82295"/>
                      <a:pt x="706630" y="82303"/>
                    </a:cubicBezTo>
                    <a:lnTo>
                      <a:pt x="1268974" y="644647"/>
                    </a:lnTo>
                    <a:cubicBezTo>
                      <a:pt x="1440424" y="816097"/>
                      <a:pt x="1440424" y="1097270"/>
                      <a:pt x="1268974" y="1268725"/>
                    </a:cubicBezTo>
                    <a:cubicBezTo>
                      <a:pt x="1097524" y="1440181"/>
                      <a:pt x="816352" y="1440175"/>
                      <a:pt x="644896" y="1268725"/>
                    </a:cubicBezTo>
                    <a:lnTo>
                      <a:pt x="82552" y="706381"/>
                    </a:lnTo>
                    <a:cubicBezTo>
                      <a:pt x="-82046" y="1111008"/>
                      <a:pt x="267" y="1591063"/>
                      <a:pt x="322582" y="1913389"/>
                    </a:cubicBezTo>
                    <a:cubicBezTo>
                      <a:pt x="610606" y="2201413"/>
                      <a:pt x="1008382" y="2297431"/>
                      <a:pt x="1371856" y="2208294"/>
                    </a:cubicBezTo>
                    <a:lnTo>
                      <a:pt x="3895600" y="4732038"/>
                    </a:lnTo>
                    <a:cubicBezTo>
                      <a:pt x="3806435" y="5095524"/>
                      <a:pt x="3909307" y="5500134"/>
                      <a:pt x="4190505" y="5781312"/>
                    </a:cubicBezTo>
                    <a:cubicBezTo>
                      <a:pt x="4519701" y="6110508"/>
                      <a:pt x="4992892" y="6192792"/>
                      <a:pt x="5397513" y="6028195"/>
                    </a:cubicBezTo>
                    <a:lnTo>
                      <a:pt x="4835169" y="5465850"/>
                    </a:lnTo>
                    <a:cubicBezTo>
                      <a:pt x="4663719" y="5294400"/>
                      <a:pt x="4663719" y="5013228"/>
                      <a:pt x="4835169" y="4841772"/>
                    </a:cubicBezTo>
                    <a:cubicBezTo>
                      <a:pt x="5006619" y="4670316"/>
                      <a:pt x="5287791" y="4670322"/>
                      <a:pt x="5459247" y="4841772"/>
                    </a:cubicBezTo>
                    <a:lnTo>
                      <a:pt x="6021591" y="5404116"/>
                    </a:lnTo>
                    <a:cubicBezTo>
                      <a:pt x="6179337" y="4999489"/>
                      <a:pt x="6097024" y="4519434"/>
                      <a:pt x="5774709" y="4197109"/>
                    </a:cubicBezTo>
                    <a:cubicBezTo>
                      <a:pt x="5500366" y="3915890"/>
                      <a:pt x="5095767" y="3813020"/>
                      <a:pt x="4732293" y="3902186"/>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grpSp>
      <p:grpSp>
        <p:nvGrpSpPr>
          <p:cNvPr id="25" name="Group 24">
            <a:extLst>
              <a:ext uri="{FF2B5EF4-FFF2-40B4-BE49-F238E27FC236}">
                <a16:creationId xmlns:a16="http://schemas.microsoft.com/office/drawing/2014/main" id="{C13EBB81-37C2-6243-0D8D-CBB4B2B7C459}"/>
              </a:ext>
            </a:extLst>
          </p:cNvPr>
          <p:cNvGrpSpPr/>
          <p:nvPr/>
        </p:nvGrpSpPr>
        <p:grpSpPr>
          <a:xfrm>
            <a:off x="10862195" y="3506127"/>
            <a:ext cx="176289" cy="388791"/>
            <a:chOff x="982713" y="3010457"/>
            <a:chExt cx="139179" cy="306948"/>
          </a:xfrm>
        </p:grpSpPr>
        <p:cxnSp>
          <p:nvCxnSpPr>
            <p:cNvPr id="26" name="Straight Connector 25">
              <a:extLst>
                <a:ext uri="{FF2B5EF4-FFF2-40B4-BE49-F238E27FC236}">
                  <a16:creationId xmlns:a16="http://schemas.microsoft.com/office/drawing/2014/main" id="{0FBA1149-15FD-6197-067B-91CBB75FA950}"/>
                </a:ext>
              </a:extLst>
            </p:cNvPr>
            <p:cNvCxnSpPr>
              <a:cxnSpLocks/>
            </p:cNvCxnSpPr>
            <p:nvPr/>
          </p:nvCxnSpPr>
          <p:spPr>
            <a:xfrm flipH="1" flipV="1">
              <a:off x="1052303" y="3010457"/>
              <a:ext cx="1489" cy="242074"/>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B83FA112-8E83-0E61-D135-93259FF5409F}"/>
                </a:ext>
              </a:extLst>
            </p:cNvPr>
            <p:cNvSpPr/>
            <p:nvPr/>
          </p:nvSpPr>
          <p:spPr>
            <a:xfrm>
              <a:off x="982713" y="3178228"/>
              <a:ext cx="139179" cy="139177"/>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a:ea typeface="+mn-ea"/>
                <a:cs typeface="+mn-cs"/>
              </a:endParaRPr>
            </a:p>
          </p:txBody>
        </p:sp>
      </p:grpSp>
      <p:grpSp>
        <p:nvGrpSpPr>
          <p:cNvPr id="29" name="Group 28">
            <a:extLst>
              <a:ext uri="{FF2B5EF4-FFF2-40B4-BE49-F238E27FC236}">
                <a16:creationId xmlns:a16="http://schemas.microsoft.com/office/drawing/2014/main" id="{1DFF3CCC-648F-FECE-B937-48A27A194518}"/>
              </a:ext>
            </a:extLst>
          </p:cNvPr>
          <p:cNvGrpSpPr/>
          <p:nvPr/>
        </p:nvGrpSpPr>
        <p:grpSpPr>
          <a:xfrm rot="10800000">
            <a:off x="6419277" y="2689126"/>
            <a:ext cx="176289" cy="388791"/>
            <a:chOff x="982713" y="3010457"/>
            <a:chExt cx="139179" cy="306948"/>
          </a:xfrm>
        </p:grpSpPr>
        <p:cxnSp>
          <p:nvCxnSpPr>
            <p:cNvPr id="30" name="Straight Connector 29">
              <a:extLst>
                <a:ext uri="{FF2B5EF4-FFF2-40B4-BE49-F238E27FC236}">
                  <a16:creationId xmlns:a16="http://schemas.microsoft.com/office/drawing/2014/main" id="{079F7BDC-EB70-7990-C835-C8FA9C1884B1}"/>
                </a:ext>
              </a:extLst>
            </p:cNvPr>
            <p:cNvCxnSpPr>
              <a:cxnSpLocks/>
            </p:cNvCxnSpPr>
            <p:nvPr/>
          </p:nvCxnSpPr>
          <p:spPr>
            <a:xfrm flipH="1" flipV="1">
              <a:off x="1052303" y="3010457"/>
              <a:ext cx="1489" cy="242074"/>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EBF776FA-F743-CEA1-B335-3ECD143B1B4B}"/>
                </a:ext>
              </a:extLst>
            </p:cNvPr>
            <p:cNvSpPr/>
            <p:nvPr/>
          </p:nvSpPr>
          <p:spPr>
            <a:xfrm>
              <a:off x="982713" y="3178228"/>
              <a:ext cx="139179" cy="139177"/>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a:ea typeface="+mn-ea"/>
                <a:cs typeface="+mn-cs"/>
              </a:endParaRPr>
            </a:p>
          </p:txBody>
        </p:sp>
      </p:grpSp>
      <p:grpSp>
        <p:nvGrpSpPr>
          <p:cNvPr id="118" name="Group 117">
            <a:extLst>
              <a:ext uri="{FF2B5EF4-FFF2-40B4-BE49-F238E27FC236}">
                <a16:creationId xmlns:a16="http://schemas.microsoft.com/office/drawing/2014/main" id="{783940B7-58D4-E900-46D2-69BCC25D88DC}"/>
              </a:ext>
            </a:extLst>
          </p:cNvPr>
          <p:cNvGrpSpPr/>
          <p:nvPr/>
        </p:nvGrpSpPr>
        <p:grpSpPr>
          <a:xfrm>
            <a:off x="10487611" y="3923020"/>
            <a:ext cx="462728" cy="534342"/>
            <a:chOff x="10986039" y="1258739"/>
            <a:chExt cx="462728" cy="534342"/>
          </a:xfrm>
        </p:grpSpPr>
        <p:sp>
          <p:nvSpPr>
            <p:cNvPr id="7" name="Graphic 18">
              <a:extLst>
                <a:ext uri="{FF2B5EF4-FFF2-40B4-BE49-F238E27FC236}">
                  <a16:creationId xmlns:a16="http://schemas.microsoft.com/office/drawing/2014/main" id="{59133723-2EEF-9508-EE35-4CB069F9CC70}"/>
                </a:ext>
              </a:extLst>
            </p:cNvPr>
            <p:cNvSpPr/>
            <p:nvPr/>
          </p:nvSpPr>
          <p:spPr>
            <a:xfrm>
              <a:off x="10986039" y="1258739"/>
              <a:ext cx="462728" cy="534342"/>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grpSp>
          <p:nvGrpSpPr>
            <p:cNvPr id="32" name="Group 31">
              <a:extLst>
                <a:ext uri="{FF2B5EF4-FFF2-40B4-BE49-F238E27FC236}">
                  <a16:creationId xmlns:a16="http://schemas.microsoft.com/office/drawing/2014/main" id="{3547FE5B-99FD-C451-92A6-15E51A7F4CDF}"/>
                </a:ext>
              </a:extLst>
            </p:cNvPr>
            <p:cNvGrpSpPr/>
            <p:nvPr/>
          </p:nvGrpSpPr>
          <p:grpSpPr>
            <a:xfrm>
              <a:off x="11009201" y="1368691"/>
              <a:ext cx="414740" cy="222106"/>
              <a:chOff x="1733550" y="1090612"/>
              <a:chExt cx="8729441" cy="4674869"/>
            </a:xfrm>
            <a:solidFill>
              <a:schemeClr val="bg1"/>
            </a:solidFill>
          </p:grpSpPr>
          <p:sp>
            <p:nvSpPr>
              <p:cNvPr id="34" name="Freeform: Shape 389">
                <a:extLst>
                  <a:ext uri="{FF2B5EF4-FFF2-40B4-BE49-F238E27FC236}">
                    <a16:creationId xmlns:a16="http://schemas.microsoft.com/office/drawing/2014/main" id="{8ED33E6D-D97A-F26E-DEB2-46C95E4D0143}"/>
                  </a:ext>
                </a:extLst>
              </p:cNvPr>
              <p:cNvSpPr/>
              <p:nvPr/>
            </p:nvSpPr>
            <p:spPr>
              <a:xfrm>
                <a:off x="5644540" y="1090612"/>
                <a:ext cx="833221" cy="833056"/>
              </a:xfrm>
              <a:custGeom>
                <a:avLst/>
                <a:gdLst>
                  <a:gd name="connsiteX0" fmla="*/ 413455 w 833221"/>
                  <a:gd name="connsiteY0" fmla="*/ 833057 h 833056"/>
                  <a:gd name="connsiteX1" fmla="*/ 833222 w 833221"/>
                  <a:gd name="connsiteY1" fmla="*/ 419767 h 833056"/>
                  <a:gd name="connsiteX2" fmla="*/ 419932 w 833221"/>
                  <a:gd name="connsiteY2" fmla="*/ 0 h 833056"/>
                  <a:gd name="connsiteX3" fmla="*/ 165 w 833221"/>
                  <a:gd name="connsiteY3" fmla="*/ 413290 h 833056"/>
                  <a:gd name="connsiteX4" fmla="*/ 413455 w 833221"/>
                  <a:gd name="connsiteY4" fmla="*/ 833057 h 833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221" h="833056">
                    <a:moveTo>
                      <a:pt x="413455" y="833057"/>
                    </a:moveTo>
                    <a:cubicBezTo>
                      <a:pt x="643008" y="833057"/>
                      <a:pt x="826745" y="649415"/>
                      <a:pt x="833222" y="419767"/>
                    </a:cubicBezTo>
                    <a:cubicBezTo>
                      <a:pt x="833222" y="190214"/>
                      <a:pt x="649580" y="0"/>
                      <a:pt x="419932" y="0"/>
                    </a:cubicBezTo>
                    <a:cubicBezTo>
                      <a:pt x="190284" y="0"/>
                      <a:pt x="165" y="183642"/>
                      <a:pt x="165" y="413290"/>
                    </a:cubicBezTo>
                    <a:cubicBezTo>
                      <a:pt x="-6407" y="642842"/>
                      <a:pt x="183807" y="826580"/>
                      <a:pt x="413455" y="833057"/>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35" name="Freeform: Shape 390">
                <a:extLst>
                  <a:ext uri="{FF2B5EF4-FFF2-40B4-BE49-F238E27FC236}">
                    <a16:creationId xmlns:a16="http://schemas.microsoft.com/office/drawing/2014/main" id="{D9F3905F-3C1D-6637-B30D-C8992F563219}"/>
                  </a:ext>
                </a:extLst>
              </p:cNvPr>
              <p:cNvSpPr/>
              <p:nvPr/>
            </p:nvSpPr>
            <p:spPr>
              <a:xfrm>
                <a:off x="5047868" y="2617088"/>
                <a:ext cx="9525" cy="34670"/>
              </a:xfrm>
              <a:custGeom>
                <a:avLst/>
                <a:gdLst>
                  <a:gd name="connsiteX0" fmla="*/ 0 w 9525"/>
                  <a:gd name="connsiteY0" fmla="*/ 34671 h 34670"/>
                  <a:gd name="connsiteX1" fmla="*/ 0 w 9525"/>
                  <a:gd name="connsiteY1" fmla="*/ 13907 h 34670"/>
                  <a:gd name="connsiteX2" fmla="*/ 0 w 9525"/>
                  <a:gd name="connsiteY2" fmla="*/ 0 h 34670"/>
                  <a:gd name="connsiteX3" fmla="*/ 0 w 9525"/>
                  <a:gd name="connsiteY3" fmla="*/ 34671 h 34670"/>
                </a:gdLst>
                <a:ahLst/>
                <a:cxnLst>
                  <a:cxn ang="0">
                    <a:pos x="connsiteX0" y="connsiteY0"/>
                  </a:cxn>
                  <a:cxn ang="0">
                    <a:pos x="connsiteX1" y="connsiteY1"/>
                  </a:cxn>
                  <a:cxn ang="0">
                    <a:pos x="connsiteX2" y="connsiteY2"/>
                  </a:cxn>
                  <a:cxn ang="0">
                    <a:pos x="connsiteX3" y="connsiteY3"/>
                  </a:cxn>
                </a:cxnLst>
                <a:rect l="l" t="t" r="r" b="b"/>
                <a:pathLst>
                  <a:path w="9525" h="34670">
                    <a:moveTo>
                      <a:pt x="0" y="34671"/>
                    </a:moveTo>
                    <a:cubicBezTo>
                      <a:pt x="0" y="27813"/>
                      <a:pt x="0" y="20860"/>
                      <a:pt x="0" y="13907"/>
                    </a:cubicBezTo>
                    <a:cubicBezTo>
                      <a:pt x="0" y="9239"/>
                      <a:pt x="0" y="4572"/>
                      <a:pt x="0" y="0"/>
                    </a:cubicBezTo>
                    <a:lnTo>
                      <a:pt x="0" y="34671"/>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38" name="Freeform: Shape 391">
                <a:extLst>
                  <a:ext uri="{FF2B5EF4-FFF2-40B4-BE49-F238E27FC236}">
                    <a16:creationId xmlns:a16="http://schemas.microsoft.com/office/drawing/2014/main" id="{B3A72915-73D5-617D-313D-2691DCF08ECD}"/>
                  </a:ext>
                </a:extLst>
              </p:cNvPr>
              <p:cNvSpPr/>
              <p:nvPr/>
            </p:nvSpPr>
            <p:spPr>
              <a:xfrm>
                <a:off x="5047868" y="2022873"/>
                <a:ext cx="2036795" cy="825006"/>
              </a:xfrm>
              <a:custGeom>
                <a:avLst/>
                <a:gdLst>
                  <a:gd name="connsiteX0" fmla="*/ 2036636 w 2036795"/>
                  <a:gd name="connsiteY0" fmla="*/ 434862 h 825006"/>
                  <a:gd name="connsiteX1" fmla="*/ 1547908 w 2036795"/>
                  <a:gd name="connsiteY1" fmla="*/ 32050 h 825006"/>
                  <a:gd name="connsiteX2" fmla="*/ 1547908 w 2036795"/>
                  <a:gd name="connsiteY2" fmla="*/ 32050 h 825006"/>
                  <a:gd name="connsiteX3" fmla="*/ 478727 w 2036795"/>
                  <a:gd name="connsiteY3" fmla="*/ 32050 h 825006"/>
                  <a:gd name="connsiteX4" fmla="*/ 13049 w 2036795"/>
                  <a:gd name="connsiteY4" fmla="*/ 445340 h 825006"/>
                  <a:gd name="connsiteX5" fmla="*/ 0 w 2036795"/>
                  <a:gd name="connsiteY5" fmla="*/ 608217 h 825006"/>
                  <a:gd name="connsiteX6" fmla="*/ 13049 w 2036795"/>
                  <a:gd name="connsiteY6" fmla="*/ 718898 h 825006"/>
                  <a:gd name="connsiteX7" fmla="*/ 92012 w 2036795"/>
                  <a:gd name="connsiteY7" fmla="*/ 825006 h 825006"/>
                  <a:gd name="connsiteX8" fmla="*/ 1875949 w 2036795"/>
                  <a:gd name="connsiteY8" fmla="*/ 825006 h 825006"/>
                  <a:gd name="connsiteX9" fmla="*/ 1875949 w 2036795"/>
                  <a:gd name="connsiteY9" fmla="*/ 823959 h 825006"/>
                  <a:gd name="connsiteX10" fmla="*/ 1878235 w 2036795"/>
                  <a:gd name="connsiteY10" fmla="*/ 825006 h 825006"/>
                  <a:gd name="connsiteX11" fmla="*/ 2020253 w 2036795"/>
                  <a:gd name="connsiteY11" fmla="*/ 633649 h 825006"/>
                  <a:gd name="connsiteX12" fmla="*/ 2036636 w 2036795"/>
                  <a:gd name="connsiteY12" fmla="*/ 434862 h 82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6795" h="825006">
                    <a:moveTo>
                      <a:pt x="2036636" y="434862"/>
                    </a:moveTo>
                    <a:cubicBezTo>
                      <a:pt x="1970913" y="137873"/>
                      <a:pt x="1849660" y="71388"/>
                      <a:pt x="1547908" y="32050"/>
                    </a:cubicBezTo>
                    <a:lnTo>
                      <a:pt x="1547908" y="32050"/>
                    </a:lnTo>
                    <a:cubicBezTo>
                      <a:pt x="1193673" y="-13861"/>
                      <a:pt x="832961" y="-7384"/>
                      <a:pt x="478727" y="32050"/>
                    </a:cubicBezTo>
                    <a:cubicBezTo>
                      <a:pt x="216313" y="64816"/>
                      <a:pt x="65437" y="202547"/>
                      <a:pt x="13049" y="445340"/>
                    </a:cubicBezTo>
                    <a:cubicBezTo>
                      <a:pt x="1429" y="497537"/>
                      <a:pt x="95" y="554877"/>
                      <a:pt x="0" y="608217"/>
                    </a:cubicBezTo>
                    <a:cubicBezTo>
                      <a:pt x="191" y="644222"/>
                      <a:pt x="1524" y="684131"/>
                      <a:pt x="13049" y="718898"/>
                    </a:cubicBezTo>
                    <a:cubicBezTo>
                      <a:pt x="26194" y="758236"/>
                      <a:pt x="59246" y="805289"/>
                      <a:pt x="92012" y="825006"/>
                    </a:cubicBezTo>
                    <a:lnTo>
                      <a:pt x="1875949" y="825006"/>
                    </a:lnTo>
                    <a:lnTo>
                      <a:pt x="1875949" y="823959"/>
                    </a:lnTo>
                    <a:cubicBezTo>
                      <a:pt x="1876711" y="824339"/>
                      <a:pt x="1877473" y="824625"/>
                      <a:pt x="1878235" y="825006"/>
                    </a:cubicBezTo>
                    <a:cubicBezTo>
                      <a:pt x="1961960" y="785192"/>
                      <a:pt x="2017586" y="646508"/>
                      <a:pt x="2020253" y="633649"/>
                    </a:cubicBezTo>
                    <a:cubicBezTo>
                      <a:pt x="2029682" y="587072"/>
                      <a:pt x="2038064" y="550401"/>
                      <a:pt x="2036636" y="434862"/>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0" name="Freeform: Shape 392">
                <a:extLst>
                  <a:ext uri="{FF2B5EF4-FFF2-40B4-BE49-F238E27FC236}">
                    <a16:creationId xmlns:a16="http://schemas.microsoft.com/office/drawing/2014/main" id="{00A0E166-1486-3396-7127-0E36D143613D}"/>
                  </a:ext>
                </a:extLst>
              </p:cNvPr>
              <p:cNvSpPr/>
              <p:nvPr/>
            </p:nvSpPr>
            <p:spPr>
              <a:xfrm>
                <a:off x="2330221" y="4008214"/>
                <a:ext cx="833221" cy="833056"/>
              </a:xfrm>
              <a:custGeom>
                <a:avLst/>
                <a:gdLst>
                  <a:gd name="connsiteX0" fmla="*/ 413455 w 833221"/>
                  <a:gd name="connsiteY0" fmla="*/ 833056 h 833056"/>
                  <a:gd name="connsiteX1" fmla="*/ 833222 w 833221"/>
                  <a:gd name="connsiteY1" fmla="*/ 419767 h 833056"/>
                  <a:gd name="connsiteX2" fmla="*/ 419932 w 833221"/>
                  <a:gd name="connsiteY2" fmla="*/ 0 h 833056"/>
                  <a:gd name="connsiteX3" fmla="*/ 165 w 833221"/>
                  <a:gd name="connsiteY3" fmla="*/ 413290 h 833056"/>
                  <a:gd name="connsiteX4" fmla="*/ 413455 w 833221"/>
                  <a:gd name="connsiteY4" fmla="*/ 833056 h 833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221" h="833056">
                    <a:moveTo>
                      <a:pt x="413455" y="833056"/>
                    </a:moveTo>
                    <a:cubicBezTo>
                      <a:pt x="643008" y="833056"/>
                      <a:pt x="826745" y="649414"/>
                      <a:pt x="833222" y="419767"/>
                    </a:cubicBezTo>
                    <a:cubicBezTo>
                      <a:pt x="833222" y="190214"/>
                      <a:pt x="649580" y="0"/>
                      <a:pt x="419932" y="0"/>
                    </a:cubicBezTo>
                    <a:cubicBezTo>
                      <a:pt x="190284" y="0"/>
                      <a:pt x="165" y="183642"/>
                      <a:pt x="165" y="413290"/>
                    </a:cubicBezTo>
                    <a:cubicBezTo>
                      <a:pt x="-6407" y="642842"/>
                      <a:pt x="183807" y="826580"/>
                      <a:pt x="413455" y="833056"/>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1" name="Freeform: Shape 393">
                <a:extLst>
                  <a:ext uri="{FF2B5EF4-FFF2-40B4-BE49-F238E27FC236}">
                    <a16:creationId xmlns:a16="http://schemas.microsoft.com/office/drawing/2014/main" id="{118D12C2-B1BE-BA2F-A39F-03D1D847C00A}"/>
                  </a:ext>
                </a:extLst>
              </p:cNvPr>
              <p:cNvSpPr/>
              <p:nvPr/>
            </p:nvSpPr>
            <p:spPr>
              <a:xfrm>
                <a:off x="1733550" y="5534691"/>
                <a:ext cx="9525" cy="34670"/>
              </a:xfrm>
              <a:custGeom>
                <a:avLst/>
                <a:gdLst>
                  <a:gd name="connsiteX0" fmla="*/ 0 w 9525"/>
                  <a:gd name="connsiteY0" fmla="*/ 34671 h 34670"/>
                  <a:gd name="connsiteX1" fmla="*/ 0 w 9525"/>
                  <a:gd name="connsiteY1" fmla="*/ 13906 h 34670"/>
                  <a:gd name="connsiteX2" fmla="*/ 0 w 9525"/>
                  <a:gd name="connsiteY2" fmla="*/ 0 h 34670"/>
                  <a:gd name="connsiteX3" fmla="*/ 0 w 9525"/>
                  <a:gd name="connsiteY3" fmla="*/ 34671 h 34670"/>
                </a:gdLst>
                <a:ahLst/>
                <a:cxnLst>
                  <a:cxn ang="0">
                    <a:pos x="connsiteX0" y="connsiteY0"/>
                  </a:cxn>
                  <a:cxn ang="0">
                    <a:pos x="connsiteX1" y="connsiteY1"/>
                  </a:cxn>
                  <a:cxn ang="0">
                    <a:pos x="connsiteX2" y="connsiteY2"/>
                  </a:cxn>
                  <a:cxn ang="0">
                    <a:pos x="connsiteX3" y="connsiteY3"/>
                  </a:cxn>
                </a:cxnLst>
                <a:rect l="l" t="t" r="r" b="b"/>
                <a:pathLst>
                  <a:path w="9525" h="34670">
                    <a:moveTo>
                      <a:pt x="0" y="34671"/>
                    </a:moveTo>
                    <a:cubicBezTo>
                      <a:pt x="0" y="27813"/>
                      <a:pt x="0" y="20860"/>
                      <a:pt x="0" y="13906"/>
                    </a:cubicBezTo>
                    <a:cubicBezTo>
                      <a:pt x="0" y="9239"/>
                      <a:pt x="0" y="4572"/>
                      <a:pt x="0" y="0"/>
                    </a:cubicBezTo>
                    <a:lnTo>
                      <a:pt x="0" y="34671"/>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2" name="Freeform: Shape 394">
                <a:extLst>
                  <a:ext uri="{FF2B5EF4-FFF2-40B4-BE49-F238E27FC236}">
                    <a16:creationId xmlns:a16="http://schemas.microsoft.com/office/drawing/2014/main" id="{777098A7-F9E1-BCCE-D08A-3EB61958DFFF}"/>
                  </a:ext>
                </a:extLst>
              </p:cNvPr>
              <p:cNvSpPr/>
              <p:nvPr/>
            </p:nvSpPr>
            <p:spPr>
              <a:xfrm>
                <a:off x="1733550" y="4940475"/>
                <a:ext cx="2036795" cy="824911"/>
              </a:xfrm>
              <a:custGeom>
                <a:avLst/>
                <a:gdLst>
                  <a:gd name="connsiteX0" fmla="*/ 2036636 w 2036795"/>
                  <a:gd name="connsiteY0" fmla="*/ 434862 h 824911"/>
                  <a:gd name="connsiteX1" fmla="*/ 1547908 w 2036795"/>
                  <a:gd name="connsiteY1" fmla="*/ 32050 h 824911"/>
                  <a:gd name="connsiteX2" fmla="*/ 1547908 w 2036795"/>
                  <a:gd name="connsiteY2" fmla="*/ 32050 h 824911"/>
                  <a:gd name="connsiteX3" fmla="*/ 478726 w 2036795"/>
                  <a:gd name="connsiteY3" fmla="*/ 32050 h 824911"/>
                  <a:gd name="connsiteX4" fmla="*/ 13049 w 2036795"/>
                  <a:gd name="connsiteY4" fmla="*/ 445340 h 824911"/>
                  <a:gd name="connsiteX5" fmla="*/ 0 w 2036795"/>
                  <a:gd name="connsiteY5" fmla="*/ 608122 h 824911"/>
                  <a:gd name="connsiteX6" fmla="*/ 13049 w 2036795"/>
                  <a:gd name="connsiteY6" fmla="*/ 718802 h 824911"/>
                  <a:gd name="connsiteX7" fmla="*/ 92012 w 2036795"/>
                  <a:gd name="connsiteY7" fmla="*/ 824911 h 824911"/>
                  <a:gd name="connsiteX8" fmla="*/ 1875949 w 2036795"/>
                  <a:gd name="connsiteY8" fmla="*/ 824911 h 824911"/>
                  <a:gd name="connsiteX9" fmla="*/ 1875949 w 2036795"/>
                  <a:gd name="connsiteY9" fmla="*/ 823863 h 824911"/>
                  <a:gd name="connsiteX10" fmla="*/ 1878235 w 2036795"/>
                  <a:gd name="connsiteY10" fmla="*/ 824911 h 824911"/>
                  <a:gd name="connsiteX11" fmla="*/ 2020253 w 2036795"/>
                  <a:gd name="connsiteY11" fmla="*/ 633554 h 824911"/>
                  <a:gd name="connsiteX12" fmla="*/ 2036636 w 2036795"/>
                  <a:gd name="connsiteY12" fmla="*/ 434767 h 824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6795" h="824911">
                    <a:moveTo>
                      <a:pt x="2036636" y="434862"/>
                    </a:moveTo>
                    <a:cubicBezTo>
                      <a:pt x="1970913" y="137873"/>
                      <a:pt x="1849660" y="71388"/>
                      <a:pt x="1547908" y="32050"/>
                    </a:cubicBezTo>
                    <a:lnTo>
                      <a:pt x="1547908" y="32050"/>
                    </a:lnTo>
                    <a:cubicBezTo>
                      <a:pt x="1193673" y="-13860"/>
                      <a:pt x="832961" y="-7384"/>
                      <a:pt x="478726" y="32050"/>
                    </a:cubicBezTo>
                    <a:cubicBezTo>
                      <a:pt x="216313" y="64816"/>
                      <a:pt x="65437" y="202548"/>
                      <a:pt x="13049" y="445340"/>
                    </a:cubicBezTo>
                    <a:cubicBezTo>
                      <a:pt x="1524" y="497441"/>
                      <a:pt x="191" y="554782"/>
                      <a:pt x="0" y="608122"/>
                    </a:cubicBezTo>
                    <a:cubicBezTo>
                      <a:pt x="191" y="644126"/>
                      <a:pt x="1524" y="684036"/>
                      <a:pt x="13049" y="718802"/>
                    </a:cubicBezTo>
                    <a:cubicBezTo>
                      <a:pt x="26194" y="758141"/>
                      <a:pt x="59245" y="805194"/>
                      <a:pt x="92012" y="824911"/>
                    </a:cubicBezTo>
                    <a:lnTo>
                      <a:pt x="1875949" y="824911"/>
                    </a:lnTo>
                    <a:lnTo>
                      <a:pt x="1875949" y="823863"/>
                    </a:lnTo>
                    <a:cubicBezTo>
                      <a:pt x="1876711" y="824244"/>
                      <a:pt x="1877473" y="824530"/>
                      <a:pt x="1878235" y="824911"/>
                    </a:cubicBezTo>
                    <a:cubicBezTo>
                      <a:pt x="1961960" y="785096"/>
                      <a:pt x="2017586" y="646412"/>
                      <a:pt x="2020253" y="633554"/>
                    </a:cubicBezTo>
                    <a:cubicBezTo>
                      <a:pt x="2029682" y="586976"/>
                      <a:pt x="2038064" y="550305"/>
                      <a:pt x="2036636" y="434767"/>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98" name="Freeform: Shape 395">
                <a:extLst>
                  <a:ext uri="{FF2B5EF4-FFF2-40B4-BE49-F238E27FC236}">
                    <a16:creationId xmlns:a16="http://schemas.microsoft.com/office/drawing/2014/main" id="{174A20D6-FF11-D36F-B0AE-06D2DB9201D8}"/>
                  </a:ext>
                </a:extLst>
              </p:cNvPr>
              <p:cNvSpPr/>
              <p:nvPr/>
            </p:nvSpPr>
            <p:spPr>
              <a:xfrm>
                <a:off x="5676544" y="4008214"/>
                <a:ext cx="833221" cy="833056"/>
              </a:xfrm>
              <a:custGeom>
                <a:avLst/>
                <a:gdLst>
                  <a:gd name="connsiteX0" fmla="*/ 413455 w 833221"/>
                  <a:gd name="connsiteY0" fmla="*/ 833056 h 833056"/>
                  <a:gd name="connsiteX1" fmla="*/ 833222 w 833221"/>
                  <a:gd name="connsiteY1" fmla="*/ 419767 h 833056"/>
                  <a:gd name="connsiteX2" fmla="*/ 419932 w 833221"/>
                  <a:gd name="connsiteY2" fmla="*/ 0 h 833056"/>
                  <a:gd name="connsiteX3" fmla="*/ 165 w 833221"/>
                  <a:gd name="connsiteY3" fmla="*/ 413290 h 833056"/>
                  <a:gd name="connsiteX4" fmla="*/ 413455 w 833221"/>
                  <a:gd name="connsiteY4" fmla="*/ 833056 h 833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221" h="833056">
                    <a:moveTo>
                      <a:pt x="413455" y="833056"/>
                    </a:moveTo>
                    <a:cubicBezTo>
                      <a:pt x="643008" y="833056"/>
                      <a:pt x="826745" y="649414"/>
                      <a:pt x="833222" y="419767"/>
                    </a:cubicBezTo>
                    <a:cubicBezTo>
                      <a:pt x="833222" y="190214"/>
                      <a:pt x="649580" y="0"/>
                      <a:pt x="419932" y="0"/>
                    </a:cubicBezTo>
                    <a:cubicBezTo>
                      <a:pt x="190284" y="0"/>
                      <a:pt x="165" y="183642"/>
                      <a:pt x="165" y="413290"/>
                    </a:cubicBezTo>
                    <a:cubicBezTo>
                      <a:pt x="-6407" y="642842"/>
                      <a:pt x="183807" y="826580"/>
                      <a:pt x="413455" y="833056"/>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107" name="Freeform: Shape 396">
                <a:extLst>
                  <a:ext uri="{FF2B5EF4-FFF2-40B4-BE49-F238E27FC236}">
                    <a16:creationId xmlns:a16="http://schemas.microsoft.com/office/drawing/2014/main" id="{E454F0FF-E076-997E-D4BD-F4ABC5D201DB}"/>
                  </a:ext>
                </a:extLst>
              </p:cNvPr>
              <p:cNvSpPr/>
              <p:nvPr/>
            </p:nvSpPr>
            <p:spPr>
              <a:xfrm>
                <a:off x="5079873" y="5534691"/>
                <a:ext cx="9525" cy="34670"/>
              </a:xfrm>
              <a:custGeom>
                <a:avLst/>
                <a:gdLst>
                  <a:gd name="connsiteX0" fmla="*/ 0 w 9525"/>
                  <a:gd name="connsiteY0" fmla="*/ 34671 h 34670"/>
                  <a:gd name="connsiteX1" fmla="*/ 0 w 9525"/>
                  <a:gd name="connsiteY1" fmla="*/ 13906 h 34670"/>
                  <a:gd name="connsiteX2" fmla="*/ 0 w 9525"/>
                  <a:gd name="connsiteY2" fmla="*/ 0 h 34670"/>
                  <a:gd name="connsiteX3" fmla="*/ 0 w 9525"/>
                  <a:gd name="connsiteY3" fmla="*/ 34671 h 34670"/>
                </a:gdLst>
                <a:ahLst/>
                <a:cxnLst>
                  <a:cxn ang="0">
                    <a:pos x="connsiteX0" y="connsiteY0"/>
                  </a:cxn>
                  <a:cxn ang="0">
                    <a:pos x="connsiteX1" y="connsiteY1"/>
                  </a:cxn>
                  <a:cxn ang="0">
                    <a:pos x="connsiteX2" y="connsiteY2"/>
                  </a:cxn>
                  <a:cxn ang="0">
                    <a:pos x="connsiteX3" y="connsiteY3"/>
                  </a:cxn>
                </a:cxnLst>
                <a:rect l="l" t="t" r="r" b="b"/>
                <a:pathLst>
                  <a:path w="9525" h="34670">
                    <a:moveTo>
                      <a:pt x="0" y="34671"/>
                    </a:moveTo>
                    <a:cubicBezTo>
                      <a:pt x="0" y="27813"/>
                      <a:pt x="0" y="20860"/>
                      <a:pt x="0" y="13906"/>
                    </a:cubicBezTo>
                    <a:cubicBezTo>
                      <a:pt x="0" y="9239"/>
                      <a:pt x="0" y="4572"/>
                      <a:pt x="0" y="0"/>
                    </a:cubicBezTo>
                    <a:lnTo>
                      <a:pt x="0" y="34671"/>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108" name="Freeform: Shape 397">
                <a:extLst>
                  <a:ext uri="{FF2B5EF4-FFF2-40B4-BE49-F238E27FC236}">
                    <a16:creationId xmlns:a16="http://schemas.microsoft.com/office/drawing/2014/main" id="{E036F631-E081-4DB0-5E16-38EF3356DDC5}"/>
                  </a:ext>
                </a:extLst>
              </p:cNvPr>
              <p:cNvSpPr/>
              <p:nvPr/>
            </p:nvSpPr>
            <p:spPr>
              <a:xfrm>
                <a:off x="5079873" y="4940475"/>
                <a:ext cx="2036795" cy="825006"/>
              </a:xfrm>
              <a:custGeom>
                <a:avLst/>
                <a:gdLst>
                  <a:gd name="connsiteX0" fmla="*/ 2036636 w 2036795"/>
                  <a:gd name="connsiteY0" fmla="*/ 434862 h 825006"/>
                  <a:gd name="connsiteX1" fmla="*/ 1547908 w 2036795"/>
                  <a:gd name="connsiteY1" fmla="*/ 32050 h 825006"/>
                  <a:gd name="connsiteX2" fmla="*/ 1547908 w 2036795"/>
                  <a:gd name="connsiteY2" fmla="*/ 32050 h 825006"/>
                  <a:gd name="connsiteX3" fmla="*/ 478726 w 2036795"/>
                  <a:gd name="connsiteY3" fmla="*/ 32050 h 825006"/>
                  <a:gd name="connsiteX4" fmla="*/ 13049 w 2036795"/>
                  <a:gd name="connsiteY4" fmla="*/ 445340 h 825006"/>
                  <a:gd name="connsiteX5" fmla="*/ 0 w 2036795"/>
                  <a:gd name="connsiteY5" fmla="*/ 608217 h 825006"/>
                  <a:gd name="connsiteX6" fmla="*/ 13049 w 2036795"/>
                  <a:gd name="connsiteY6" fmla="*/ 718898 h 825006"/>
                  <a:gd name="connsiteX7" fmla="*/ 92012 w 2036795"/>
                  <a:gd name="connsiteY7" fmla="*/ 825006 h 825006"/>
                  <a:gd name="connsiteX8" fmla="*/ 1875949 w 2036795"/>
                  <a:gd name="connsiteY8" fmla="*/ 825006 h 825006"/>
                  <a:gd name="connsiteX9" fmla="*/ 1875949 w 2036795"/>
                  <a:gd name="connsiteY9" fmla="*/ 823958 h 825006"/>
                  <a:gd name="connsiteX10" fmla="*/ 1878235 w 2036795"/>
                  <a:gd name="connsiteY10" fmla="*/ 825006 h 825006"/>
                  <a:gd name="connsiteX11" fmla="*/ 2020252 w 2036795"/>
                  <a:gd name="connsiteY11" fmla="*/ 633649 h 825006"/>
                  <a:gd name="connsiteX12" fmla="*/ 2036636 w 2036795"/>
                  <a:gd name="connsiteY12" fmla="*/ 434862 h 82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6795" h="825006">
                    <a:moveTo>
                      <a:pt x="2036636" y="434862"/>
                    </a:moveTo>
                    <a:cubicBezTo>
                      <a:pt x="1970913" y="137873"/>
                      <a:pt x="1849660" y="71388"/>
                      <a:pt x="1547908" y="32050"/>
                    </a:cubicBezTo>
                    <a:lnTo>
                      <a:pt x="1547908" y="32050"/>
                    </a:lnTo>
                    <a:cubicBezTo>
                      <a:pt x="1193673" y="-13860"/>
                      <a:pt x="832961" y="-7384"/>
                      <a:pt x="478726" y="32050"/>
                    </a:cubicBezTo>
                    <a:cubicBezTo>
                      <a:pt x="216313" y="64816"/>
                      <a:pt x="65437" y="202548"/>
                      <a:pt x="13049" y="445340"/>
                    </a:cubicBezTo>
                    <a:cubicBezTo>
                      <a:pt x="1429" y="497537"/>
                      <a:pt x="95" y="554877"/>
                      <a:pt x="0" y="608217"/>
                    </a:cubicBezTo>
                    <a:cubicBezTo>
                      <a:pt x="190" y="644222"/>
                      <a:pt x="1524" y="684132"/>
                      <a:pt x="13049" y="718898"/>
                    </a:cubicBezTo>
                    <a:cubicBezTo>
                      <a:pt x="26194" y="758236"/>
                      <a:pt x="59246" y="805290"/>
                      <a:pt x="92012" y="825006"/>
                    </a:cubicBezTo>
                    <a:lnTo>
                      <a:pt x="1875949" y="825006"/>
                    </a:lnTo>
                    <a:lnTo>
                      <a:pt x="1875949" y="823958"/>
                    </a:lnTo>
                    <a:cubicBezTo>
                      <a:pt x="1876711" y="824340"/>
                      <a:pt x="1877473" y="824625"/>
                      <a:pt x="1878235" y="825006"/>
                    </a:cubicBezTo>
                    <a:cubicBezTo>
                      <a:pt x="1961959" y="785192"/>
                      <a:pt x="2017586" y="646508"/>
                      <a:pt x="2020252" y="633649"/>
                    </a:cubicBezTo>
                    <a:cubicBezTo>
                      <a:pt x="2029682" y="587072"/>
                      <a:pt x="2038064" y="550400"/>
                      <a:pt x="2036636" y="434862"/>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109" name="Freeform: Shape 398">
                <a:extLst>
                  <a:ext uri="{FF2B5EF4-FFF2-40B4-BE49-F238E27FC236}">
                    <a16:creationId xmlns:a16="http://schemas.microsoft.com/office/drawing/2014/main" id="{622DEA8E-D22B-728C-6790-5D77422AFFB5}"/>
                  </a:ext>
                </a:extLst>
              </p:cNvPr>
              <p:cNvSpPr/>
              <p:nvPr/>
            </p:nvSpPr>
            <p:spPr>
              <a:xfrm>
                <a:off x="9022867" y="4008214"/>
                <a:ext cx="833222" cy="833056"/>
              </a:xfrm>
              <a:custGeom>
                <a:avLst/>
                <a:gdLst>
                  <a:gd name="connsiteX0" fmla="*/ 413455 w 833222"/>
                  <a:gd name="connsiteY0" fmla="*/ 833056 h 833056"/>
                  <a:gd name="connsiteX1" fmla="*/ 833222 w 833222"/>
                  <a:gd name="connsiteY1" fmla="*/ 419767 h 833056"/>
                  <a:gd name="connsiteX2" fmla="*/ 419932 w 833222"/>
                  <a:gd name="connsiteY2" fmla="*/ 0 h 833056"/>
                  <a:gd name="connsiteX3" fmla="*/ 165 w 833222"/>
                  <a:gd name="connsiteY3" fmla="*/ 413290 h 833056"/>
                  <a:gd name="connsiteX4" fmla="*/ 413455 w 833222"/>
                  <a:gd name="connsiteY4" fmla="*/ 833056 h 833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222" h="833056">
                    <a:moveTo>
                      <a:pt x="413455" y="833056"/>
                    </a:moveTo>
                    <a:cubicBezTo>
                      <a:pt x="643008" y="833056"/>
                      <a:pt x="826745" y="649414"/>
                      <a:pt x="833222" y="419767"/>
                    </a:cubicBezTo>
                    <a:cubicBezTo>
                      <a:pt x="833222" y="190214"/>
                      <a:pt x="649580" y="0"/>
                      <a:pt x="419932" y="0"/>
                    </a:cubicBezTo>
                    <a:cubicBezTo>
                      <a:pt x="190285" y="0"/>
                      <a:pt x="165" y="183642"/>
                      <a:pt x="165" y="413290"/>
                    </a:cubicBezTo>
                    <a:cubicBezTo>
                      <a:pt x="-6407" y="642842"/>
                      <a:pt x="183808" y="826580"/>
                      <a:pt x="413455" y="833056"/>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110" name="Freeform: Shape 399">
                <a:extLst>
                  <a:ext uri="{FF2B5EF4-FFF2-40B4-BE49-F238E27FC236}">
                    <a16:creationId xmlns:a16="http://schemas.microsoft.com/office/drawing/2014/main" id="{CC9664F0-65B6-BBC2-1C2A-AF602A7B7B11}"/>
                  </a:ext>
                </a:extLst>
              </p:cNvPr>
              <p:cNvSpPr/>
              <p:nvPr/>
            </p:nvSpPr>
            <p:spPr>
              <a:xfrm>
                <a:off x="8426196" y="5534691"/>
                <a:ext cx="9525" cy="34670"/>
              </a:xfrm>
              <a:custGeom>
                <a:avLst/>
                <a:gdLst>
                  <a:gd name="connsiteX0" fmla="*/ 0 w 9525"/>
                  <a:gd name="connsiteY0" fmla="*/ 34671 h 34670"/>
                  <a:gd name="connsiteX1" fmla="*/ 0 w 9525"/>
                  <a:gd name="connsiteY1" fmla="*/ 13906 h 34670"/>
                  <a:gd name="connsiteX2" fmla="*/ 0 w 9525"/>
                  <a:gd name="connsiteY2" fmla="*/ 0 h 34670"/>
                  <a:gd name="connsiteX3" fmla="*/ 0 w 9525"/>
                  <a:gd name="connsiteY3" fmla="*/ 34671 h 34670"/>
                </a:gdLst>
                <a:ahLst/>
                <a:cxnLst>
                  <a:cxn ang="0">
                    <a:pos x="connsiteX0" y="connsiteY0"/>
                  </a:cxn>
                  <a:cxn ang="0">
                    <a:pos x="connsiteX1" y="connsiteY1"/>
                  </a:cxn>
                  <a:cxn ang="0">
                    <a:pos x="connsiteX2" y="connsiteY2"/>
                  </a:cxn>
                  <a:cxn ang="0">
                    <a:pos x="connsiteX3" y="connsiteY3"/>
                  </a:cxn>
                </a:cxnLst>
                <a:rect l="l" t="t" r="r" b="b"/>
                <a:pathLst>
                  <a:path w="9525" h="34670">
                    <a:moveTo>
                      <a:pt x="0" y="34671"/>
                    </a:moveTo>
                    <a:cubicBezTo>
                      <a:pt x="0" y="27813"/>
                      <a:pt x="0" y="20860"/>
                      <a:pt x="0" y="13906"/>
                    </a:cubicBezTo>
                    <a:cubicBezTo>
                      <a:pt x="0" y="9239"/>
                      <a:pt x="0" y="4572"/>
                      <a:pt x="0" y="0"/>
                    </a:cubicBezTo>
                    <a:lnTo>
                      <a:pt x="0" y="34671"/>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111" name="Freeform: Shape 400">
                <a:extLst>
                  <a:ext uri="{FF2B5EF4-FFF2-40B4-BE49-F238E27FC236}">
                    <a16:creationId xmlns:a16="http://schemas.microsoft.com/office/drawing/2014/main" id="{420576C2-7F5A-807C-6E83-638036E8137C}"/>
                  </a:ext>
                </a:extLst>
              </p:cNvPr>
              <p:cNvSpPr/>
              <p:nvPr/>
            </p:nvSpPr>
            <p:spPr>
              <a:xfrm>
                <a:off x="8426196" y="4940475"/>
                <a:ext cx="2036795" cy="825006"/>
              </a:xfrm>
              <a:custGeom>
                <a:avLst/>
                <a:gdLst>
                  <a:gd name="connsiteX0" fmla="*/ 2036636 w 2036795"/>
                  <a:gd name="connsiteY0" fmla="*/ 434862 h 825006"/>
                  <a:gd name="connsiteX1" fmla="*/ 1547908 w 2036795"/>
                  <a:gd name="connsiteY1" fmla="*/ 32050 h 825006"/>
                  <a:gd name="connsiteX2" fmla="*/ 1547908 w 2036795"/>
                  <a:gd name="connsiteY2" fmla="*/ 32050 h 825006"/>
                  <a:gd name="connsiteX3" fmla="*/ 478727 w 2036795"/>
                  <a:gd name="connsiteY3" fmla="*/ 32050 h 825006"/>
                  <a:gd name="connsiteX4" fmla="*/ 13049 w 2036795"/>
                  <a:gd name="connsiteY4" fmla="*/ 445340 h 825006"/>
                  <a:gd name="connsiteX5" fmla="*/ 0 w 2036795"/>
                  <a:gd name="connsiteY5" fmla="*/ 608217 h 825006"/>
                  <a:gd name="connsiteX6" fmla="*/ 13049 w 2036795"/>
                  <a:gd name="connsiteY6" fmla="*/ 718898 h 825006"/>
                  <a:gd name="connsiteX7" fmla="*/ 92011 w 2036795"/>
                  <a:gd name="connsiteY7" fmla="*/ 825006 h 825006"/>
                  <a:gd name="connsiteX8" fmla="*/ 1875949 w 2036795"/>
                  <a:gd name="connsiteY8" fmla="*/ 825006 h 825006"/>
                  <a:gd name="connsiteX9" fmla="*/ 1875949 w 2036795"/>
                  <a:gd name="connsiteY9" fmla="*/ 823958 h 825006"/>
                  <a:gd name="connsiteX10" fmla="*/ 1878235 w 2036795"/>
                  <a:gd name="connsiteY10" fmla="*/ 825006 h 825006"/>
                  <a:gd name="connsiteX11" fmla="*/ 2020252 w 2036795"/>
                  <a:gd name="connsiteY11" fmla="*/ 633649 h 825006"/>
                  <a:gd name="connsiteX12" fmla="*/ 2036636 w 2036795"/>
                  <a:gd name="connsiteY12" fmla="*/ 434862 h 82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6795" h="825006">
                    <a:moveTo>
                      <a:pt x="2036636" y="434862"/>
                    </a:moveTo>
                    <a:cubicBezTo>
                      <a:pt x="1970913" y="137873"/>
                      <a:pt x="1849660" y="71388"/>
                      <a:pt x="1547908" y="32050"/>
                    </a:cubicBezTo>
                    <a:lnTo>
                      <a:pt x="1547908" y="32050"/>
                    </a:lnTo>
                    <a:cubicBezTo>
                      <a:pt x="1193673" y="-13860"/>
                      <a:pt x="832961" y="-7384"/>
                      <a:pt x="478727" y="32050"/>
                    </a:cubicBezTo>
                    <a:cubicBezTo>
                      <a:pt x="216312" y="64816"/>
                      <a:pt x="65437" y="202548"/>
                      <a:pt x="13049" y="445340"/>
                    </a:cubicBezTo>
                    <a:cubicBezTo>
                      <a:pt x="1428" y="497537"/>
                      <a:pt x="95" y="554877"/>
                      <a:pt x="0" y="608217"/>
                    </a:cubicBezTo>
                    <a:cubicBezTo>
                      <a:pt x="190" y="644222"/>
                      <a:pt x="1524" y="684132"/>
                      <a:pt x="13049" y="718898"/>
                    </a:cubicBezTo>
                    <a:cubicBezTo>
                      <a:pt x="26194" y="758236"/>
                      <a:pt x="59245" y="805290"/>
                      <a:pt x="92011" y="825006"/>
                    </a:cubicBezTo>
                    <a:lnTo>
                      <a:pt x="1875949" y="825006"/>
                    </a:lnTo>
                    <a:lnTo>
                      <a:pt x="1875949" y="823958"/>
                    </a:lnTo>
                    <a:cubicBezTo>
                      <a:pt x="1876711" y="824340"/>
                      <a:pt x="1877473" y="824625"/>
                      <a:pt x="1878235" y="825006"/>
                    </a:cubicBezTo>
                    <a:cubicBezTo>
                      <a:pt x="1961959" y="785192"/>
                      <a:pt x="2017586" y="646508"/>
                      <a:pt x="2020252" y="633649"/>
                    </a:cubicBezTo>
                    <a:cubicBezTo>
                      <a:pt x="2029682" y="587072"/>
                      <a:pt x="2038064" y="550400"/>
                      <a:pt x="2036636" y="434862"/>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112" name="Freeform: Shape 401">
                <a:extLst>
                  <a:ext uri="{FF2B5EF4-FFF2-40B4-BE49-F238E27FC236}">
                    <a16:creationId xmlns:a16="http://schemas.microsoft.com/office/drawing/2014/main" id="{8CC4DE8E-A03A-8B85-08D6-37C971B9023C}"/>
                  </a:ext>
                </a:extLst>
              </p:cNvPr>
              <p:cNvSpPr/>
              <p:nvPr/>
            </p:nvSpPr>
            <p:spPr>
              <a:xfrm>
                <a:off x="3993667" y="2624422"/>
                <a:ext cx="833221" cy="833056"/>
              </a:xfrm>
              <a:custGeom>
                <a:avLst/>
                <a:gdLst>
                  <a:gd name="connsiteX0" fmla="*/ 413455 w 833221"/>
                  <a:gd name="connsiteY0" fmla="*/ 833057 h 833056"/>
                  <a:gd name="connsiteX1" fmla="*/ 833222 w 833221"/>
                  <a:gd name="connsiteY1" fmla="*/ 419767 h 833056"/>
                  <a:gd name="connsiteX2" fmla="*/ 419932 w 833221"/>
                  <a:gd name="connsiteY2" fmla="*/ 0 h 833056"/>
                  <a:gd name="connsiteX3" fmla="*/ 165 w 833221"/>
                  <a:gd name="connsiteY3" fmla="*/ 413290 h 833056"/>
                  <a:gd name="connsiteX4" fmla="*/ 413455 w 833221"/>
                  <a:gd name="connsiteY4" fmla="*/ 833057 h 833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221" h="833056">
                    <a:moveTo>
                      <a:pt x="413455" y="833057"/>
                    </a:moveTo>
                    <a:cubicBezTo>
                      <a:pt x="643008" y="833057"/>
                      <a:pt x="826745" y="649415"/>
                      <a:pt x="833222" y="419767"/>
                    </a:cubicBezTo>
                    <a:cubicBezTo>
                      <a:pt x="833222" y="190214"/>
                      <a:pt x="649580" y="0"/>
                      <a:pt x="419932" y="0"/>
                    </a:cubicBezTo>
                    <a:cubicBezTo>
                      <a:pt x="190284" y="0"/>
                      <a:pt x="165" y="183642"/>
                      <a:pt x="165" y="413290"/>
                    </a:cubicBezTo>
                    <a:cubicBezTo>
                      <a:pt x="-6407" y="642842"/>
                      <a:pt x="183807" y="826580"/>
                      <a:pt x="413455" y="833057"/>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113" name="Freeform: Shape 402">
                <a:extLst>
                  <a:ext uri="{FF2B5EF4-FFF2-40B4-BE49-F238E27FC236}">
                    <a16:creationId xmlns:a16="http://schemas.microsoft.com/office/drawing/2014/main" id="{AAA736C6-5220-F35B-AD19-FDD8E9F86ED4}"/>
                  </a:ext>
                </a:extLst>
              </p:cNvPr>
              <p:cNvSpPr/>
              <p:nvPr/>
            </p:nvSpPr>
            <p:spPr>
              <a:xfrm>
                <a:off x="3396995" y="4150899"/>
                <a:ext cx="9525" cy="34670"/>
              </a:xfrm>
              <a:custGeom>
                <a:avLst/>
                <a:gdLst>
                  <a:gd name="connsiteX0" fmla="*/ 0 w 9525"/>
                  <a:gd name="connsiteY0" fmla="*/ 34671 h 34670"/>
                  <a:gd name="connsiteX1" fmla="*/ 0 w 9525"/>
                  <a:gd name="connsiteY1" fmla="*/ 13906 h 34670"/>
                  <a:gd name="connsiteX2" fmla="*/ 0 w 9525"/>
                  <a:gd name="connsiteY2" fmla="*/ 0 h 34670"/>
                  <a:gd name="connsiteX3" fmla="*/ 0 w 9525"/>
                  <a:gd name="connsiteY3" fmla="*/ 34671 h 34670"/>
                </a:gdLst>
                <a:ahLst/>
                <a:cxnLst>
                  <a:cxn ang="0">
                    <a:pos x="connsiteX0" y="connsiteY0"/>
                  </a:cxn>
                  <a:cxn ang="0">
                    <a:pos x="connsiteX1" y="connsiteY1"/>
                  </a:cxn>
                  <a:cxn ang="0">
                    <a:pos x="connsiteX2" y="connsiteY2"/>
                  </a:cxn>
                  <a:cxn ang="0">
                    <a:pos x="connsiteX3" y="connsiteY3"/>
                  </a:cxn>
                </a:cxnLst>
                <a:rect l="l" t="t" r="r" b="b"/>
                <a:pathLst>
                  <a:path w="9525" h="34670">
                    <a:moveTo>
                      <a:pt x="0" y="34671"/>
                    </a:moveTo>
                    <a:cubicBezTo>
                      <a:pt x="0" y="27813"/>
                      <a:pt x="0" y="20860"/>
                      <a:pt x="0" y="13906"/>
                    </a:cubicBezTo>
                    <a:cubicBezTo>
                      <a:pt x="0" y="9239"/>
                      <a:pt x="0" y="4572"/>
                      <a:pt x="0" y="0"/>
                    </a:cubicBezTo>
                    <a:lnTo>
                      <a:pt x="0" y="34671"/>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114" name="Freeform: Shape 403">
                <a:extLst>
                  <a:ext uri="{FF2B5EF4-FFF2-40B4-BE49-F238E27FC236}">
                    <a16:creationId xmlns:a16="http://schemas.microsoft.com/office/drawing/2014/main" id="{4F6EBE40-FE2B-D6C5-71B7-96FF1DD8C6F7}"/>
                  </a:ext>
                </a:extLst>
              </p:cNvPr>
              <p:cNvSpPr/>
              <p:nvPr/>
            </p:nvSpPr>
            <p:spPr>
              <a:xfrm>
                <a:off x="3396995" y="3556683"/>
                <a:ext cx="2036795" cy="825006"/>
              </a:xfrm>
              <a:custGeom>
                <a:avLst/>
                <a:gdLst>
                  <a:gd name="connsiteX0" fmla="*/ 2036635 w 2036795"/>
                  <a:gd name="connsiteY0" fmla="*/ 434862 h 825006"/>
                  <a:gd name="connsiteX1" fmla="*/ 1547908 w 2036795"/>
                  <a:gd name="connsiteY1" fmla="*/ 32050 h 825006"/>
                  <a:gd name="connsiteX2" fmla="*/ 1547908 w 2036795"/>
                  <a:gd name="connsiteY2" fmla="*/ 32050 h 825006"/>
                  <a:gd name="connsiteX3" fmla="*/ 478726 w 2036795"/>
                  <a:gd name="connsiteY3" fmla="*/ 32050 h 825006"/>
                  <a:gd name="connsiteX4" fmla="*/ 13049 w 2036795"/>
                  <a:gd name="connsiteY4" fmla="*/ 445340 h 825006"/>
                  <a:gd name="connsiteX5" fmla="*/ 0 w 2036795"/>
                  <a:gd name="connsiteY5" fmla="*/ 608217 h 825006"/>
                  <a:gd name="connsiteX6" fmla="*/ 13049 w 2036795"/>
                  <a:gd name="connsiteY6" fmla="*/ 718898 h 825006"/>
                  <a:gd name="connsiteX7" fmla="*/ 92012 w 2036795"/>
                  <a:gd name="connsiteY7" fmla="*/ 825006 h 825006"/>
                  <a:gd name="connsiteX8" fmla="*/ 1875949 w 2036795"/>
                  <a:gd name="connsiteY8" fmla="*/ 825006 h 825006"/>
                  <a:gd name="connsiteX9" fmla="*/ 1875949 w 2036795"/>
                  <a:gd name="connsiteY9" fmla="*/ 823958 h 825006"/>
                  <a:gd name="connsiteX10" fmla="*/ 1878235 w 2036795"/>
                  <a:gd name="connsiteY10" fmla="*/ 825006 h 825006"/>
                  <a:gd name="connsiteX11" fmla="*/ 2020252 w 2036795"/>
                  <a:gd name="connsiteY11" fmla="*/ 633649 h 825006"/>
                  <a:gd name="connsiteX12" fmla="*/ 2036635 w 2036795"/>
                  <a:gd name="connsiteY12" fmla="*/ 434862 h 82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6795" h="825006">
                    <a:moveTo>
                      <a:pt x="2036635" y="434862"/>
                    </a:moveTo>
                    <a:cubicBezTo>
                      <a:pt x="1970913" y="137873"/>
                      <a:pt x="1849660" y="71388"/>
                      <a:pt x="1547908" y="32050"/>
                    </a:cubicBezTo>
                    <a:lnTo>
                      <a:pt x="1547908" y="32050"/>
                    </a:lnTo>
                    <a:cubicBezTo>
                      <a:pt x="1193673" y="-13860"/>
                      <a:pt x="832961" y="-7384"/>
                      <a:pt x="478726" y="32050"/>
                    </a:cubicBezTo>
                    <a:cubicBezTo>
                      <a:pt x="216313" y="64816"/>
                      <a:pt x="65437" y="202548"/>
                      <a:pt x="13049" y="445340"/>
                    </a:cubicBezTo>
                    <a:cubicBezTo>
                      <a:pt x="1429" y="497537"/>
                      <a:pt x="95" y="554877"/>
                      <a:pt x="0" y="608217"/>
                    </a:cubicBezTo>
                    <a:cubicBezTo>
                      <a:pt x="191" y="644222"/>
                      <a:pt x="1524" y="684132"/>
                      <a:pt x="13049" y="718898"/>
                    </a:cubicBezTo>
                    <a:cubicBezTo>
                      <a:pt x="26194" y="758236"/>
                      <a:pt x="59246" y="805290"/>
                      <a:pt x="92012" y="825006"/>
                    </a:cubicBezTo>
                    <a:lnTo>
                      <a:pt x="1875949" y="825006"/>
                    </a:lnTo>
                    <a:lnTo>
                      <a:pt x="1875949" y="823958"/>
                    </a:lnTo>
                    <a:cubicBezTo>
                      <a:pt x="1876711" y="824340"/>
                      <a:pt x="1877473" y="824625"/>
                      <a:pt x="1878235" y="825006"/>
                    </a:cubicBezTo>
                    <a:cubicBezTo>
                      <a:pt x="1961960" y="785192"/>
                      <a:pt x="2017585" y="646508"/>
                      <a:pt x="2020252" y="633649"/>
                    </a:cubicBezTo>
                    <a:cubicBezTo>
                      <a:pt x="2029682" y="587072"/>
                      <a:pt x="2038064" y="550400"/>
                      <a:pt x="2036635" y="434862"/>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115" name="Freeform: Shape 404">
                <a:extLst>
                  <a:ext uri="{FF2B5EF4-FFF2-40B4-BE49-F238E27FC236}">
                    <a16:creationId xmlns:a16="http://schemas.microsoft.com/office/drawing/2014/main" id="{F53B607C-61C2-2CC1-3E15-ECFFEC2A628F}"/>
                  </a:ext>
                </a:extLst>
              </p:cNvPr>
              <p:cNvSpPr/>
              <p:nvPr/>
            </p:nvSpPr>
            <p:spPr>
              <a:xfrm>
                <a:off x="7339990" y="2624422"/>
                <a:ext cx="833222" cy="833056"/>
              </a:xfrm>
              <a:custGeom>
                <a:avLst/>
                <a:gdLst>
                  <a:gd name="connsiteX0" fmla="*/ 413455 w 833222"/>
                  <a:gd name="connsiteY0" fmla="*/ 833057 h 833056"/>
                  <a:gd name="connsiteX1" fmla="*/ 833222 w 833222"/>
                  <a:gd name="connsiteY1" fmla="*/ 419767 h 833056"/>
                  <a:gd name="connsiteX2" fmla="*/ 419932 w 833222"/>
                  <a:gd name="connsiteY2" fmla="*/ 0 h 833056"/>
                  <a:gd name="connsiteX3" fmla="*/ 165 w 833222"/>
                  <a:gd name="connsiteY3" fmla="*/ 413290 h 833056"/>
                  <a:gd name="connsiteX4" fmla="*/ 413455 w 833222"/>
                  <a:gd name="connsiteY4" fmla="*/ 833057 h 833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222" h="833056">
                    <a:moveTo>
                      <a:pt x="413455" y="833057"/>
                    </a:moveTo>
                    <a:cubicBezTo>
                      <a:pt x="643008" y="833057"/>
                      <a:pt x="826745" y="649415"/>
                      <a:pt x="833222" y="419767"/>
                    </a:cubicBezTo>
                    <a:cubicBezTo>
                      <a:pt x="833222" y="190214"/>
                      <a:pt x="649580" y="0"/>
                      <a:pt x="419932" y="0"/>
                    </a:cubicBezTo>
                    <a:cubicBezTo>
                      <a:pt x="190285" y="0"/>
                      <a:pt x="165" y="183642"/>
                      <a:pt x="165" y="413290"/>
                    </a:cubicBezTo>
                    <a:cubicBezTo>
                      <a:pt x="-6407" y="642842"/>
                      <a:pt x="183808" y="826580"/>
                      <a:pt x="413455" y="833057"/>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116" name="Freeform: Shape 405">
                <a:extLst>
                  <a:ext uri="{FF2B5EF4-FFF2-40B4-BE49-F238E27FC236}">
                    <a16:creationId xmlns:a16="http://schemas.microsoft.com/office/drawing/2014/main" id="{E1FBBC9F-4B81-82B0-F1B3-F86CC9279341}"/>
                  </a:ext>
                </a:extLst>
              </p:cNvPr>
              <p:cNvSpPr/>
              <p:nvPr/>
            </p:nvSpPr>
            <p:spPr>
              <a:xfrm>
                <a:off x="6743319" y="4150899"/>
                <a:ext cx="9525" cy="34670"/>
              </a:xfrm>
              <a:custGeom>
                <a:avLst/>
                <a:gdLst>
                  <a:gd name="connsiteX0" fmla="*/ 0 w 9525"/>
                  <a:gd name="connsiteY0" fmla="*/ 34671 h 34670"/>
                  <a:gd name="connsiteX1" fmla="*/ 0 w 9525"/>
                  <a:gd name="connsiteY1" fmla="*/ 13906 h 34670"/>
                  <a:gd name="connsiteX2" fmla="*/ 0 w 9525"/>
                  <a:gd name="connsiteY2" fmla="*/ 0 h 34670"/>
                  <a:gd name="connsiteX3" fmla="*/ 0 w 9525"/>
                  <a:gd name="connsiteY3" fmla="*/ 34671 h 34670"/>
                </a:gdLst>
                <a:ahLst/>
                <a:cxnLst>
                  <a:cxn ang="0">
                    <a:pos x="connsiteX0" y="connsiteY0"/>
                  </a:cxn>
                  <a:cxn ang="0">
                    <a:pos x="connsiteX1" y="connsiteY1"/>
                  </a:cxn>
                  <a:cxn ang="0">
                    <a:pos x="connsiteX2" y="connsiteY2"/>
                  </a:cxn>
                  <a:cxn ang="0">
                    <a:pos x="connsiteX3" y="connsiteY3"/>
                  </a:cxn>
                </a:cxnLst>
                <a:rect l="l" t="t" r="r" b="b"/>
                <a:pathLst>
                  <a:path w="9525" h="34670">
                    <a:moveTo>
                      <a:pt x="0" y="34671"/>
                    </a:moveTo>
                    <a:cubicBezTo>
                      <a:pt x="0" y="27813"/>
                      <a:pt x="0" y="20860"/>
                      <a:pt x="0" y="13906"/>
                    </a:cubicBezTo>
                    <a:cubicBezTo>
                      <a:pt x="0" y="9239"/>
                      <a:pt x="0" y="4572"/>
                      <a:pt x="0" y="0"/>
                    </a:cubicBezTo>
                    <a:lnTo>
                      <a:pt x="0" y="34671"/>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117" name="Freeform: Shape 406">
                <a:extLst>
                  <a:ext uri="{FF2B5EF4-FFF2-40B4-BE49-F238E27FC236}">
                    <a16:creationId xmlns:a16="http://schemas.microsoft.com/office/drawing/2014/main" id="{E6DAD78F-0CBC-DF01-F564-A73301792D36}"/>
                  </a:ext>
                </a:extLst>
              </p:cNvPr>
              <p:cNvSpPr/>
              <p:nvPr/>
            </p:nvSpPr>
            <p:spPr>
              <a:xfrm>
                <a:off x="6743319" y="3556683"/>
                <a:ext cx="2036795" cy="825006"/>
              </a:xfrm>
              <a:custGeom>
                <a:avLst/>
                <a:gdLst>
                  <a:gd name="connsiteX0" fmla="*/ 2036636 w 2036795"/>
                  <a:gd name="connsiteY0" fmla="*/ 434862 h 825006"/>
                  <a:gd name="connsiteX1" fmla="*/ 1547907 w 2036795"/>
                  <a:gd name="connsiteY1" fmla="*/ 32050 h 825006"/>
                  <a:gd name="connsiteX2" fmla="*/ 1547907 w 2036795"/>
                  <a:gd name="connsiteY2" fmla="*/ 32050 h 825006"/>
                  <a:gd name="connsiteX3" fmla="*/ 478726 w 2036795"/>
                  <a:gd name="connsiteY3" fmla="*/ 32050 h 825006"/>
                  <a:gd name="connsiteX4" fmla="*/ 13049 w 2036795"/>
                  <a:gd name="connsiteY4" fmla="*/ 445340 h 825006"/>
                  <a:gd name="connsiteX5" fmla="*/ 0 w 2036795"/>
                  <a:gd name="connsiteY5" fmla="*/ 608217 h 825006"/>
                  <a:gd name="connsiteX6" fmla="*/ 13049 w 2036795"/>
                  <a:gd name="connsiteY6" fmla="*/ 718898 h 825006"/>
                  <a:gd name="connsiteX7" fmla="*/ 92011 w 2036795"/>
                  <a:gd name="connsiteY7" fmla="*/ 825006 h 825006"/>
                  <a:gd name="connsiteX8" fmla="*/ 1875948 w 2036795"/>
                  <a:gd name="connsiteY8" fmla="*/ 825006 h 825006"/>
                  <a:gd name="connsiteX9" fmla="*/ 1875948 w 2036795"/>
                  <a:gd name="connsiteY9" fmla="*/ 823958 h 825006"/>
                  <a:gd name="connsiteX10" fmla="*/ 1878235 w 2036795"/>
                  <a:gd name="connsiteY10" fmla="*/ 825006 h 825006"/>
                  <a:gd name="connsiteX11" fmla="*/ 2020252 w 2036795"/>
                  <a:gd name="connsiteY11" fmla="*/ 633649 h 825006"/>
                  <a:gd name="connsiteX12" fmla="*/ 2036636 w 2036795"/>
                  <a:gd name="connsiteY12" fmla="*/ 434862 h 82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6795" h="825006">
                    <a:moveTo>
                      <a:pt x="2036636" y="434862"/>
                    </a:moveTo>
                    <a:cubicBezTo>
                      <a:pt x="1970913" y="137873"/>
                      <a:pt x="1849660" y="71388"/>
                      <a:pt x="1547907" y="32050"/>
                    </a:cubicBezTo>
                    <a:lnTo>
                      <a:pt x="1547907" y="32050"/>
                    </a:lnTo>
                    <a:cubicBezTo>
                      <a:pt x="1193673" y="-13860"/>
                      <a:pt x="832961" y="-7384"/>
                      <a:pt x="478726" y="32050"/>
                    </a:cubicBezTo>
                    <a:cubicBezTo>
                      <a:pt x="216312" y="64816"/>
                      <a:pt x="65437" y="202548"/>
                      <a:pt x="13049" y="445340"/>
                    </a:cubicBezTo>
                    <a:cubicBezTo>
                      <a:pt x="1428" y="497537"/>
                      <a:pt x="95" y="554877"/>
                      <a:pt x="0" y="608217"/>
                    </a:cubicBezTo>
                    <a:cubicBezTo>
                      <a:pt x="190" y="644222"/>
                      <a:pt x="1524" y="684132"/>
                      <a:pt x="13049" y="718898"/>
                    </a:cubicBezTo>
                    <a:cubicBezTo>
                      <a:pt x="26194" y="758236"/>
                      <a:pt x="59245" y="805290"/>
                      <a:pt x="92011" y="825006"/>
                    </a:cubicBezTo>
                    <a:lnTo>
                      <a:pt x="1875948" y="825006"/>
                    </a:lnTo>
                    <a:lnTo>
                      <a:pt x="1875948" y="823958"/>
                    </a:lnTo>
                    <a:cubicBezTo>
                      <a:pt x="1876711" y="824340"/>
                      <a:pt x="1877473" y="824625"/>
                      <a:pt x="1878235" y="825006"/>
                    </a:cubicBezTo>
                    <a:cubicBezTo>
                      <a:pt x="1961959" y="785192"/>
                      <a:pt x="2017586" y="646508"/>
                      <a:pt x="2020252" y="633649"/>
                    </a:cubicBezTo>
                    <a:cubicBezTo>
                      <a:pt x="2029682" y="587072"/>
                      <a:pt x="2038064" y="550400"/>
                      <a:pt x="2036636" y="434862"/>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grpSp>
      <p:grpSp>
        <p:nvGrpSpPr>
          <p:cNvPr id="133" name="Group 132">
            <a:extLst>
              <a:ext uri="{FF2B5EF4-FFF2-40B4-BE49-F238E27FC236}">
                <a16:creationId xmlns:a16="http://schemas.microsoft.com/office/drawing/2014/main" id="{32FC1842-78CE-55F7-EA1B-026E18AB5EED}"/>
              </a:ext>
            </a:extLst>
          </p:cNvPr>
          <p:cNvGrpSpPr/>
          <p:nvPr/>
        </p:nvGrpSpPr>
        <p:grpSpPr>
          <a:xfrm rot="10800000">
            <a:off x="11580072" y="2689126"/>
            <a:ext cx="176289" cy="388791"/>
            <a:chOff x="982713" y="3010457"/>
            <a:chExt cx="139179" cy="306948"/>
          </a:xfrm>
        </p:grpSpPr>
        <p:cxnSp>
          <p:nvCxnSpPr>
            <p:cNvPr id="149" name="Straight Connector 148">
              <a:extLst>
                <a:ext uri="{FF2B5EF4-FFF2-40B4-BE49-F238E27FC236}">
                  <a16:creationId xmlns:a16="http://schemas.microsoft.com/office/drawing/2014/main" id="{5FDAA093-53A6-16F4-F3AC-1483E1036053}"/>
                </a:ext>
              </a:extLst>
            </p:cNvPr>
            <p:cNvCxnSpPr>
              <a:cxnSpLocks/>
            </p:cNvCxnSpPr>
            <p:nvPr/>
          </p:nvCxnSpPr>
          <p:spPr>
            <a:xfrm flipH="1" flipV="1">
              <a:off x="1052303" y="3010457"/>
              <a:ext cx="1489" cy="242074"/>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50" name="Oval 149">
              <a:extLst>
                <a:ext uri="{FF2B5EF4-FFF2-40B4-BE49-F238E27FC236}">
                  <a16:creationId xmlns:a16="http://schemas.microsoft.com/office/drawing/2014/main" id="{C086FED1-E24B-99F6-CF6C-96FEBE83E335}"/>
                </a:ext>
              </a:extLst>
            </p:cNvPr>
            <p:cNvSpPr/>
            <p:nvPr/>
          </p:nvSpPr>
          <p:spPr>
            <a:xfrm>
              <a:off x="982713" y="3178228"/>
              <a:ext cx="139179" cy="139177"/>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a:ea typeface="+mn-ea"/>
                <a:cs typeface="+mn-cs"/>
              </a:endParaRPr>
            </a:p>
          </p:txBody>
        </p:sp>
      </p:grpSp>
      <p:sp>
        <p:nvSpPr>
          <p:cNvPr id="154" name="Rectangle 153">
            <a:extLst>
              <a:ext uri="{FF2B5EF4-FFF2-40B4-BE49-F238E27FC236}">
                <a16:creationId xmlns:a16="http://schemas.microsoft.com/office/drawing/2014/main" id="{44783A6E-8E45-986D-A2F1-DD3466A4818B}"/>
              </a:ext>
            </a:extLst>
          </p:cNvPr>
          <p:cNvSpPr/>
          <p:nvPr/>
        </p:nvSpPr>
        <p:spPr>
          <a:xfrm>
            <a:off x="10462908" y="3146579"/>
            <a:ext cx="1048188" cy="2803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Roboto"/>
                <a:ea typeface="+mn-ea"/>
                <a:cs typeface="+mn-cs"/>
              </a:rPr>
              <a:t>Dec</a:t>
            </a:r>
            <a:endParaRPr kumimoji="0" lang="en-GB" sz="1400" b="0" i="0" u="none" strike="noStrike" kern="1200" cap="none" spc="0" normalizeH="0" baseline="0" noProof="0">
              <a:ln>
                <a:noFill/>
              </a:ln>
              <a:solidFill>
                <a:srgbClr val="000000"/>
              </a:solidFill>
              <a:effectLst/>
              <a:uLnTx/>
              <a:uFillTx/>
              <a:latin typeface="Roboto"/>
              <a:ea typeface="+mn-ea"/>
              <a:cs typeface="+mn-cs"/>
            </a:endParaRPr>
          </a:p>
        </p:txBody>
      </p:sp>
      <p:sp>
        <p:nvSpPr>
          <p:cNvPr id="157" name="Rectangle 156">
            <a:extLst>
              <a:ext uri="{FF2B5EF4-FFF2-40B4-BE49-F238E27FC236}">
                <a16:creationId xmlns:a16="http://schemas.microsoft.com/office/drawing/2014/main" id="{596BC672-1557-A884-79A1-6A1EB61CE7CC}"/>
              </a:ext>
            </a:extLst>
          </p:cNvPr>
          <p:cNvSpPr/>
          <p:nvPr/>
        </p:nvSpPr>
        <p:spPr>
          <a:xfrm>
            <a:off x="10610521" y="2007333"/>
            <a:ext cx="1476923" cy="8317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Roboto"/>
                <a:ea typeface="+mn-ea"/>
                <a:cs typeface="+mn-cs"/>
              </a:rPr>
              <a:t>Dec 20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Roboto"/>
                <a:ea typeface="+mn-ea"/>
                <a:cs typeface="+mn-cs"/>
              </a:rPr>
              <a:t>Build Aviator process simplification / Flight Deck</a:t>
            </a:r>
          </a:p>
        </p:txBody>
      </p:sp>
      <p:sp>
        <p:nvSpPr>
          <p:cNvPr id="158" name="Graphic 18">
            <a:extLst>
              <a:ext uri="{FF2B5EF4-FFF2-40B4-BE49-F238E27FC236}">
                <a16:creationId xmlns:a16="http://schemas.microsoft.com/office/drawing/2014/main" id="{433C196F-8DDE-F842-E976-682B9D15962A}"/>
              </a:ext>
            </a:extLst>
          </p:cNvPr>
          <p:cNvSpPr/>
          <p:nvPr/>
        </p:nvSpPr>
        <p:spPr>
          <a:xfrm>
            <a:off x="10716418" y="1414982"/>
            <a:ext cx="462728" cy="534342"/>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pic>
        <p:nvPicPr>
          <p:cNvPr id="159" name="Graphic 158">
            <a:extLst>
              <a:ext uri="{FF2B5EF4-FFF2-40B4-BE49-F238E27FC236}">
                <a16:creationId xmlns:a16="http://schemas.microsoft.com/office/drawing/2014/main" id="{59F99EDE-E4A6-142D-A1DD-2E394D14480E}"/>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805029" y="1511786"/>
            <a:ext cx="340731" cy="340731"/>
          </a:xfrm>
          <a:prstGeom prst="rect">
            <a:avLst/>
          </a:prstGeom>
        </p:spPr>
      </p:pic>
    </p:spTree>
    <p:extLst>
      <p:ext uri="{BB962C8B-B14F-4D97-AF65-F5344CB8AC3E}">
        <p14:creationId xmlns:p14="http://schemas.microsoft.com/office/powerpoint/2010/main" val="3949111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02D1F26A-B012-9A07-C213-72ACFF2FE5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8" name="think-cell data - do not delete" hidden="1">
                        <a:extLst>
                          <a:ext uri="{FF2B5EF4-FFF2-40B4-BE49-F238E27FC236}">
                            <a16:creationId xmlns:a16="http://schemas.microsoft.com/office/drawing/2014/main" id="{02D1F26A-B012-9A07-C213-72ACFF2FE5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3" name="Title 8">
            <a:extLst>
              <a:ext uri="{FF2B5EF4-FFF2-40B4-BE49-F238E27FC236}">
                <a16:creationId xmlns:a16="http://schemas.microsoft.com/office/drawing/2014/main" id="{0174D30B-20D6-BAD7-2D82-75099C24576E}"/>
              </a:ext>
            </a:extLst>
          </p:cNvPr>
          <p:cNvSpPr>
            <a:spLocks noGrp="1"/>
          </p:cNvSpPr>
          <p:nvPr>
            <p:ph type="title"/>
          </p:nvPr>
        </p:nvSpPr>
        <p:spPr>
          <a:xfrm>
            <a:off x="527501" y="117475"/>
            <a:ext cx="11131100" cy="554400"/>
          </a:xfrm>
        </p:spPr>
        <p:txBody>
          <a:bodyPr vert="horz" lIns="91440" tIns="45720" rIns="91440" bIns="45720" rtlCol="0" anchor="ctr">
            <a:noAutofit/>
          </a:bodyPr>
          <a:lstStyle/>
          <a:p>
            <a:r>
              <a:rPr lang="en-GB" sz="3600" b="1">
                <a:solidFill>
                  <a:srgbClr val="002060"/>
                </a:solidFill>
                <a:latin typeface="Roboto Condensed"/>
                <a:ea typeface="Roboto Condensed"/>
                <a:cs typeface="Roboto Condensed"/>
              </a:rPr>
              <a:t>Our next</a:t>
            </a:r>
            <a:r>
              <a:rPr lang="en-GB" sz="3600" b="1">
                <a:latin typeface="Roboto Condensed"/>
                <a:ea typeface="Roboto Condensed"/>
                <a:cs typeface="Roboto Condensed"/>
              </a:rPr>
              <a:t> </a:t>
            </a:r>
            <a:r>
              <a:rPr lang="en-GB" sz="3600" b="1">
                <a:solidFill>
                  <a:schemeClr val="accent2"/>
                </a:solidFill>
                <a:latin typeface="Roboto Condensed"/>
                <a:ea typeface="Roboto Condensed"/>
                <a:cs typeface="Roboto Condensed"/>
              </a:rPr>
              <a:t>priorities								</a:t>
            </a:r>
          </a:p>
        </p:txBody>
      </p:sp>
      <p:sp>
        <p:nvSpPr>
          <p:cNvPr id="96" name="Rectangle 95">
            <a:extLst>
              <a:ext uri="{FF2B5EF4-FFF2-40B4-BE49-F238E27FC236}">
                <a16:creationId xmlns:a16="http://schemas.microsoft.com/office/drawing/2014/main" id="{C2F2474F-598A-45B8-B817-F99C8DF5B49D}"/>
              </a:ext>
            </a:extLst>
          </p:cNvPr>
          <p:cNvSpPr/>
          <p:nvPr/>
        </p:nvSpPr>
        <p:spPr>
          <a:xfrm>
            <a:off x="8656150" y="1802020"/>
            <a:ext cx="1491822" cy="650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Roboto"/>
                <a:ea typeface="+mn-ea"/>
                <a:cs typeface="+mn-cs"/>
              </a:rPr>
              <a:t>Mar 2024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Roboto"/>
                <a:ea typeface="+mn-ea"/>
                <a:cs typeface="+mn-cs"/>
              </a:rPr>
              <a:t>New and revised Decorating &amp; Drainage propositions</a:t>
            </a:r>
          </a:p>
        </p:txBody>
      </p:sp>
      <p:sp>
        <p:nvSpPr>
          <p:cNvPr id="100" name="Rectangle 99">
            <a:extLst>
              <a:ext uri="{FF2B5EF4-FFF2-40B4-BE49-F238E27FC236}">
                <a16:creationId xmlns:a16="http://schemas.microsoft.com/office/drawing/2014/main" id="{4AE0BBA7-B305-11A4-8D3D-962BC10EC7A2}"/>
              </a:ext>
            </a:extLst>
          </p:cNvPr>
          <p:cNvSpPr/>
          <p:nvPr/>
        </p:nvSpPr>
        <p:spPr>
          <a:xfrm>
            <a:off x="3907359" y="1802020"/>
            <a:ext cx="1191000" cy="5567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Roboto"/>
                <a:ea typeface="+mn-ea"/>
                <a:cs typeface="+mn-cs"/>
              </a:rPr>
              <a:t>Jan 2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Roboto"/>
                <a:ea typeface="+mn-ea"/>
                <a:cs typeface="+mn-cs"/>
              </a:rPr>
              <a:t>Template terms launches</a:t>
            </a:r>
          </a:p>
        </p:txBody>
      </p:sp>
      <p:sp>
        <p:nvSpPr>
          <p:cNvPr id="147" name="Rectangle 146">
            <a:extLst>
              <a:ext uri="{FF2B5EF4-FFF2-40B4-BE49-F238E27FC236}">
                <a16:creationId xmlns:a16="http://schemas.microsoft.com/office/drawing/2014/main" id="{AE0210DC-EEFF-F000-DDB4-09BF137886AF}"/>
              </a:ext>
            </a:extLst>
          </p:cNvPr>
          <p:cNvSpPr/>
          <p:nvPr/>
        </p:nvSpPr>
        <p:spPr>
          <a:xfrm>
            <a:off x="0" y="3072564"/>
            <a:ext cx="12190511" cy="413786"/>
          </a:xfrm>
          <a:prstGeom prst="rect">
            <a:avLst/>
          </a:prstGeom>
          <a:solidFill>
            <a:schemeClr val="bg1">
              <a:lumMod val="85000"/>
            </a:schemeClr>
          </a:solidFill>
        </p:spPr>
        <p:txBody>
          <a:bodyPr wrap="squar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prstClr val="black"/>
              </a:solidFill>
              <a:effectLst/>
              <a:uLnTx/>
              <a:uFillTx/>
              <a:latin typeface="Roboto"/>
              <a:ea typeface="+mn-ea"/>
              <a:cs typeface="+mn-cs"/>
            </a:endParaRPr>
          </a:p>
        </p:txBody>
      </p:sp>
      <p:sp>
        <p:nvSpPr>
          <p:cNvPr id="152" name="Rectangle 151">
            <a:extLst>
              <a:ext uri="{FF2B5EF4-FFF2-40B4-BE49-F238E27FC236}">
                <a16:creationId xmlns:a16="http://schemas.microsoft.com/office/drawing/2014/main" id="{1707793B-DC54-7E36-F4C3-92DED1618CE4}"/>
              </a:ext>
            </a:extLst>
          </p:cNvPr>
          <p:cNvSpPr/>
          <p:nvPr/>
        </p:nvSpPr>
        <p:spPr>
          <a:xfrm>
            <a:off x="1411128" y="3139304"/>
            <a:ext cx="1048188" cy="2803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Roboto"/>
                <a:ea typeface="+mn-ea"/>
                <a:cs typeface="+mn-cs"/>
              </a:rPr>
              <a:t>Jan</a:t>
            </a:r>
            <a:endParaRPr kumimoji="0" lang="en-GB" sz="1400" b="0" i="0" u="none" strike="noStrike" kern="1200" cap="none" spc="0" normalizeH="0" baseline="0" noProof="0">
              <a:ln>
                <a:noFill/>
              </a:ln>
              <a:solidFill>
                <a:srgbClr val="000000"/>
              </a:solidFill>
              <a:effectLst/>
              <a:uLnTx/>
              <a:uFillTx/>
              <a:latin typeface="Roboto"/>
              <a:ea typeface="+mn-ea"/>
              <a:cs typeface="+mn-cs"/>
            </a:endParaRPr>
          </a:p>
        </p:txBody>
      </p:sp>
      <p:sp>
        <p:nvSpPr>
          <p:cNvPr id="153" name="Rectangle 152">
            <a:extLst>
              <a:ext uri="{FF2B5EF4-FFF2-40B4-BE49-F238E27FC236}">
                <a16:creationId xmlns:a16="http://schemas.microsoft.com/office/drawing/2014/main" id="{B4BE9A1B-6676-7DC4-00E6-477D544E028D}"/>
              </a:ext>
            </a:extLst>
          </p:cNvPr>
          <p:cNvSpPr/>
          <p:nvPr/>
        </p:nvSpPr>
        <p:spPr>
          <a:xfrm>
            <a:off x="5125946" y="3139304"/>
            <a:ext cx="1048188" cy="2803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Roboto"/>
                <a:ea typeface="+mn-ea"/>
                <a:cs typeface="+mn-cs"/>
              </a:rPr>
              <a:t>Feb</a:t>
            </a:r>
            <a:endParaRPr kumimoji="0" lang="en-GB" sz="1400" b="0" i="0" u="none" strike="noStrike" kern="1200" cap="none" spc="0" normalizeH="0" baseline="0" noProof="0">
              <a:ln>
                <a:noFill/>
              </a:ln>
              <a:solidFill>
                <a:srgbClr val="000000"/>
              </a:solidFill>
              <a:effectLst/>
              <a:uLnTx/>
              <a:uFillTx/>
              <a:latin typeface="Roboto"/>
              <a:ea typeface="+mn-ea"/>
              <a:cs typeface="+mn-cs"/>
            </a:endParaRPr>
          </a:p>
        </p:txBody>
      </p:sp>
      <p:sp>
        <p:nvSpPr>
          <p:cNvPr id="154" name="Rectangle 153">
            <a:extLst>
              <a:ext uri="{FF2B5EF4-FFF2-40B4-BE49-F238E27FC236}">
                <a16:creationId xmlns:a16="http://schemas.microsoft.com/office/drawing/2014/main" id="{F4B7C652-C3A9-A998-C407-BE69EABEEC89}"/>
              </a:ext>
            </a:extLst>
          </p:cNvPr>
          <p:cNvSpPr/>
          <p:nvPr/>
        </p:nvSpPr>
        <p:spPr>
          <a:xfrm>
            <a:off x="8840764" y="3139304"/>
            <a:ext cx="1048188" cy="2803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Roboto"/>
                <a:ea typeface="+mn-ea"/>
                <a:cs typeface="+mn-cs"/>
              </a:rPr>
              <a:t>Mar</a:t>
            </a:r>
            <a:endParaRPr kumimoji="0" lang="en-GB" sz="1400" b="0" i="0" u="none" strike="noStrike" kern="1200" cap="none" spc="0" normalizeH="0" baseline="0" noProof="0">
              <a:ln>
                <a:noFill/>
              </a:ln>
              <a:solidFill>
                <a:srgbClr val="000000"/>
              </a:solidFill>
              <a:effectLst/>
              <a:uLnTx/>
              <a:uFillTx/>
              <a:latin typeface="Roboto"/>
              <a:ea typeface="+mn-ea"/>
              <a:cs typeface="+mn-cs"/>
            </a:endParaRPr>
          </a:p>
        </p:txBody>
      </p:sp>
      <p:sp>
        <p:nvSpPr>
          <p:cNvPr id="170" name="Rectangle 169">
            <a:extLst>
              <a:ext uri="{FF2B5EF4-FFF2-40B4-BE49-F238E27FC236}">
                <a16:creationId xmlns:a16="http://schemas.microsoft.com/office/drawing/2014/main" id="{30C1186A-E26E-1BAB-2740-469B6C4C7319}"/>
              </a:ext>
            </a:extLst>
          </p:cNvPr>
          <p:cNvSpPr/>
          <p:nvPr/>
        </p:nvSpPr>
        <p:spPr>
          <a:xfrm>
            <a:off x="9458863" y="4387967"/>
            <a:ext cx="1541313" cy="9676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Roboto"/>
                <a:ea typeface="+mn-ea"/>
                <a:cs typeface="+mn-cs"/>
              </a:rPr>
              <a:t>Mar 2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Roboto"/>
                <a:ea typeface="+mn-ea"/>
                <a:cs typeface="+mn-cs"/>
              </a:rPr>
              <a:t>Management training &amp; development programme</a:t>
            </a:r>
          </a:p>
        </p:txBody>
      </p:sp>
      <p:sp>
        <p:nvSpPr>
          <p:cNvPr id="176" name="Rectangle 175">
            <a:extLst>
              <a:ext uri="{FF2B5EF4-FFF2-40B4-BE49-F238E27FC236}">
                <a16:creationId xmlns:a16="http://schemas.microsoft.com/office/drawing/2014/main" id="{FF36D132-E89D-D6A9-E70A-DDCCDBB126A6}"/>
              </a:ext>
            </a:extLst>
          </p:cNvPr>
          <p:cNvSpPr/>
          <p:nvPr/>
        </p:nvSpPr>
        <p:spPr>
          <a:xfrm>
            <a:off x="1953651" y="4387967"/>
            <a:ext cx="1367811" cy="9676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Roboto"/>
                <a:ea typeface="+mn-ea"/>
                <a:cs typeface="+mn-cs"/>
              </a:rPr>
              <a:t>Jan 2024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Roboto"/>
                <a:ea typeface="+mn-ea"/>
                <a:cs typeface="+mn-cs"/>
              </a:rPr>
              <a:t>Regional Roadshows</a:t>
            </a:r>
          </a:p>
        </p:txBody>
      </p:sp>
      <p:sp>
        <p:nvSpPr>
          <p:cNvPr id="29" name="Rectangle 28">
            <a:extLst>
              <a:ext uri="{FF2B5EF4-FFF2-40B4-BE49-F238E27FC236}">
                <a16:creationId xmlns:a16="http://schemas.microsoft.com/office/drawing/2014/main" id="{E846D3CE-A6C7-F0DC-F399-CEF4358F07FD}"/>
              </a:ext>
            </a:extLst>
          </p:cNvPr>
          <p:cNvSpPr/>
          <p:nvPr/>
        </p:nvSpPr>
        <p:spPr>
          <a:xfrm>
            <a:off x="1784861" y="1802020"/>
            <a:ext cx="1367560" cy="5474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Roboto"/>
                <a:ea typeface="+mn-ea"/>
                <a:cs typeface="+mn-cs"/>
              </a:rPr>
              <a:t>Jan 2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Roboto"/>
                <a:ea typeface="+mn-ea"/>
                <a:cs typeface="+mn-cs"/>
              </a:rPr>
              <a:t>MDT simplification</a:t>
            </a:r>
          </a:p>
        </p:txBody>
      </p:sp>
      <p:sp>
        <p:nvSpPr>
          <p:cNvPr id="37" name="Rectangle 36">
            <a:extLst>
              <a:ext uri="{FF2B5EF4-FFF2-40B4-BE49-F238E27FC236}">
                <a16:creationId xmlns:a16="http://schemas.microsoft.com/office/drawing/2014/main" id="{9EFBF89D-A763-7BC6-CA8B-85D79684AFE1}"/>
              </a:ext>
            </a:extLst>
          </p:cNvPr>
          <p:cNvSpPr/>
          <p:nvPr/>
        </p:nvSpPr>
        <p:spPr>
          <a:xfrm>
            <a:off x="6391752" y="4387967"/>
            <a:ext cx="1191000" cy="9676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Roboto"/>
                <a:ea typeface="+mn-ea"/>
                <a:cs typeface="+mn-cs"/>
              </a:rPr>
              <a:t>Feb 2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Roboto"/>
                <a:ea typeface="+mn-ea"/>
                <a:cs typeface="+mn-cs"/>
              </a:rPr>
              <a:t>Ongoing injection of new crane vehicles</a:t>
            </a:r>
          </a:p>
        </p:txBody>
      </p:sp>
      <p:grpSp>
        <p:nvGrpSpPr>
          <p:cNvPr id="232" name="Group 231">
            <a:extLst>
              <a:ext uri="{FF2B5EF4-FFF2-40B4-BE49-F238E27FC236}">
                <a16:creationId xmlns:a16="http://schemas.microsoft.com/office/drawing/2014/main" id="{57589C67-B7A0-FE9B-FC6D-C569ACCB0764}"/>
              </a:ext>
            </a:extLst>
          </p:cNvPr>
          <p:cNvGrpSpPr/>
          <p:nvPr/>
        </p:nvGrpSpPr>
        <p:grpSpPr>
          <a:xfrm>
            <a:off x="3323119" y="1729799"/>
            <a:ext cx="462728" cy="534342"/>
            <a:chOff x="5477604" y="5521004"/>
            <a:chExt cx="296702" cy="342621"/>
          </a:xfrm>
        </p:grpSpPr>
        <p:sp>
          <p:nvSpPr>
            <p:cNvPr id="233" name="Graphic 18">
              <a:extLst>
                <a:ext uri="{FF2B5EF4-FFF2-40B4-BE49-F238E27FC236}">
                  <a16:creationId xmlns:a16="http://schemas.microsoft.com/office/drawing/2014/main" id="{8923EBF8-5609-B6D0-F61A-69D69E430CE9}"/>
                </a:ext>
              </a:extLst>
            </p:cNvPr>
            <p:cNvSpPr/>
            <p:nvPr/>
          </p:nvSpPr>
          <p:spPr>
            <a:xfrm>
              <a:off x="5477604" y="5521004"/>
              <a:ext cx="296702" cy="342621"/>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grpSp>
          <p:nvGrpSpPr>
            <p:cNvPr id="234" name="Graphic 6">
              <a:extLst>
                <a:ext uri="{FF2B5EF4-FFF2-40B4-BE49-F238E27FC236}">
                  <a16:creationId xmlns:a16="http://schemas.microsoft.com/office/drawing/2014/main" id="{76929FDA-EAAE-FC0B-4BCB-B4FC35DD6B4B}"/>
                </a:ext>
              </a:extLst>
            </p:cNvPr>
            <p:cNvGrpSpPr/>
            <p:nvPr/>
          </p:nvGrpSpPr>
          <p:grpSpPr>
            <a:xfrm>
              <a:off x="5509597" y="5605550"/>
              <a:ext cx="232717" cy="190662"/>
              <a:chOff x="2666882" y="619725"/>
              <a:chExt cx="6858117" cy="5618768"/>
            </a:xfrm>
            <a:solidFill>
              <a:schemeClr val="bg1"/>
            </a:solidFill>
          </p:grpSpPr>
          <p:sp>
            <p:nvSpPr>
              <p:cNvPr id="235" name="Freeform: Shape 234">
                <a:extLst>
                  <a:ext uri="{FF2B5EF4-FFF2-40B4-BE49-F238E27FC236}">
                    <a16:creationId xmlns:a16="http://schemas.microsoft.com/office/drawing/2014/main" id="{177F31AA-9F42-59F2-9DFC-2F6B0C47D11D}"/>
                  </a:ext>
                </a:extLst>
              </p:cNvPr>
              <p:cNvSpPr/>
              <p:nvPr/>
            </p:nvSpPr>
            <p:spPr>
              <a:xfrm>
                <a:off x="3906277" y="619725"/>
                <a:ext cx="5618722" cy="5618768"/>
              </a:xfrm>
              <a:custGeom>
                <a:avLst/>
                <a:gdLst>
                  <a:gd name="connsiteX0" fmla="*/ 2991252 w 5618722"/>
                  <a:gd name="connsiteY0" fmla="*/ 5618769 h 5618768"/>
                  <a:gd name="connsiteX1" fmla="*/ 2657998 w 5618722"/>
                  <a:gd name="connsiteY1" fmla="*/ 5480534 h 5618768"/>
                  <a:gd name="connsiteX2" fmla="*/ 30527 w 5618722"/>
                  <a:gd name="connsiteY2" fmla="*/ 2851977 h 5618768"/>
                  <a:gd name="connsiteX3" fmla="*/ 523 w 5618722"/>
                  <a:gd name="connsiteY3" fmla="*/ 2768395 h 5618768"/>
                  <a:gd name="connsiteX4" fmla="*/ 229838 w 5618722"/>
                  <a:gd name="connsiteY4" fmla="*/ 323061 h 5618768"/>
                  <a:gd name="connsiteX5" fmla="*/ 323061 w 5618722"/>
                  <a:gd name="connsiteY5" fmla="*/ 229838 h 5618768"/>
                  <a:gd name="connsiteX6" fmla="*/ 2769424 w 5618722"/>
                  <a:gd name="connsiteY6" fmla="*/ 523 h 5618768"/>
                  <a:gd name="connsiteX7" fmla="*/ 2853006 w 5618722"/>
                  <a:gd name="connsiteY7" fmla="*/ 30527 h 5618768"/>
                  <a:gd name="connsiteX8" fmla="*/ 5481563 w 5618722"/>
                  <a:gd name="connsiteY8" fmla="*/ 2659084 h 5618768"/>
                  <a:gd name="connsiteX9" fmla="*/ 5618723 w 5618722"/>
                  <a:gd name="connsiteY9" fmla="*/ 2991269 h 5618768"/>
                  <a:gd name="connsiteX10" fmla="*/ 5480489 w 5618722"/>
                  <a:gd name="connsiteY10" fmla="*/ 3324522 h 5618768"/>
                  <a:gd name="connsiteX11" fmla="*/ 3324505 w 5618722"/>
                  <a:gd name="connsiteY11" fmla="*/ 5480506 h 5618768"/>
                  <a:gd name="connsiteX12" fmla="*/ 2991252 w 5618722"/>
                  <a:gd name="connsiteY12" fmla="*/ 5618740 h 5618768"/>
                  <a:gd name="connsiteX13" fmla="*/ 211590 w 5618722"/>
                  <a:gd name="connsiteY13" fmla="*/ 2739494 h 5618768"/>
                  <a:gd name="connsiteX14" fmla="*/ 2804771 w 5618722"/>
                  <a:gd name="connsiteY14" fmla="*/ 5333762 h 5618768"/>
                  <a:gd name="connsiteX15" fmla="*/ 3176601 w 5618722"/>
                  <a:gd name="connsiteY15" fmla="*/ 5333762 h 5618768"/>
                  <a:gd name="connsiteX16" fmla="*/ 5332584 w 5618722"/>
                  <a:gd name="connsiteY16" fmla="*/ 3177778 h 5618768"/>
                  <a:gd name="connsiteX17" fmla="*/ 5409737 w 5618722"/>
                  <a:gd name="connsiteY17" fmla="*/ 2991326 h 5618768"/>
                  <a:gd name="connsiteX18" fmla="*/ 5332584 w 5618722"/>
                  <a:gd name="connsiteY18" fmla="*/ 2804874 h 5618768"/>
                  <a:gd name="connsiteX19" fmla="*/ 2739403 w 5618722"/>
                  <a:gd name="connsiteY19" fmla="*/ 211693 h 5618768"/>
                  <a:gd name="connsiteX20" fmla="*/ 428028 w 5618722"/>
                  <a:gd name="connsiteY20" fmla="*/ 428148 h 5618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18722" h="5618768">
                    <a:moveTo>
                      <a:pt x="2991252" y="5618769"/>
                    </a:moveTo>
                    <a:cubicBezTo>
                      <a:pt x="2865876" y="5618769"/>
                      <a:pt x="2746935" y="5569477"/>
                      <a:pt x="2657998" y="5480534"/>
                    </a:cubicBezTo>
                    <a:lnTo>
                      <a:pt x="30527" y="2851977"/>
                    </a:lnTo>
                    <a:cubicBezTo>
                      <a:pt x="9096" y="2830546"/>
                      <a:pt x="-2691" y="2799470"/>
                      <a:pt x="523" y="2768395"/>
                    </a:cubicBezTo>
                    <a:lnTo>
                      <a:pt x="229838" y="323061"/>
                    </a:lnTo>
                    <a:cubicBezTo>
                      <a:pt x="234124" y="273769"/>
                      <a:pt x="273772" y="234124"/>
                      <a:pt x="323061" y="229838"/>
                    </a:cubicBezTo>
                    <a:lnTo>
                      <a:pt x="2769424" y="523"/>
                    </a:lnTo>
                    <a:cubicBezTo>
                      <a:pt x="2800499" y="-2691"/>
                      <a:pt x="2830506" y="9096"/>
                      <a:pt x="2853006" y="30527"/>
                    </a:cubicBezTo>
                    <a:lnTo>
                      <a:pt x="5481563" y="2659084"/>
                    </a:lnTo>
                    <a:cubicBezTo>
                      <a:pt x="5569431" y="2746952"/>
                      <a:pt x="5618723" y="2865899"/>
                      <a:pt x="5618723" y="2991269"/>
                    </a:cubicBezTo>
                    <a:cubicBezTo>
                      <a:pt x="5618723" y="3116639"/>
                      <a:pt x="5569431" y="3235585"/>
                      <a:pt x="5480489" y="3324522"/>
                    </a:cubicBezTo>
                    <a:lnTo>
                      <a:pt x="3324505" y="5480506"/>
                    </a:lnTo>
                    <a:cubicBezTo>
                      <a:pt x="3235568" y="5569443"/>
                      <a:pt x="3117690" y="5618740"/>
                      <a:pt x="2991252" y="5618740"/>
                    </a:cubicBezTo>
                    <a:close/>
                    <a:moveTo>
                      <a:pt x="211590" y="2739494"/>
                    </a:moveTo>
                    <a:lnTo>
                      <a:pt x="2804771" y="5333762"/>
                    </a:lnTo>
                    <a:cubicBezTo>
                      <a:pt x="2907641" y="5436632"/>
                      <a:pt x="3074805" y="5436632"/>
                      <a:pt x="3176601" y="5333762"/>
                    </a:cubicBezTo>
                    <a:lnTo>
                      <a:pt x="5332584" y="3177778"/>
                    </a:lnTo>
                    <a:cubicBezTo>
                      <a:pt x="5381876" y="3128486"/>
                      <a:pt x="5409737" y="3062049"/>
                      <a:pt x="5409737" y="2991326"/>
                    </a:cubicBezTo>
                    <a:cubicBezTo>
                      <a:pt x="5409737" y="2920603"/>
                      <a:pt x="5381876" y="2855241"/>
                      <a:pt x="5332584" y="2804874"/>
                    </a:cubicBezTo>
                    <a:lnTo>
                      <a:pt x="2739403" y="211693"/>
                    </a:lnTo>
                    <a:lnTo>
                      <a:pt x="428028" y="428148"/>
                    </a:ln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236" name="Freeform: Shape 235">
                <a:extLst>
                  <a:ext uri="{FF2B5EF4-FFF2-40B4-BE49-F238E27FC236}">
                    <a16:creationId xmlns:a16="http://schemas.microsoft.com/office/drawing/2014/main" id="{E70553AD-A907-8774-E482-7CE8485C2AA6}"/>
                  </a:ext>
                </a:extLst>
              </p:cNvPr>
              <p:cNvSpPr/>
              <p:nvPr/>
            </p:nvSpPr>
            <p:spPr>
              <a:xfrm>
                <a:off x="4685806" y="1398403"/>
                <a:ext cx="1277285" cy="1276233"/>
              </a:xfrm>
              <a:custGeom>
                <a:avLst/>
                <a:gdLst>
                  <a:gd name="connsiteX0" fmla="*/ 637583 w 1277285"/>
                  <a:gd name="connsiteY0" fmla="*/ 1276217 h 1276233"/>
                  <a:gd name="connsiteX1" fmla="*/ 186452 w 1277285"/>
                  <a:gd name="connsiteY1" fmla="*/ 1089765 h 1276233"/>
                  <a:gd name="connsiteX2" fmla="*/ 186452 w 1277285"/>
                  <a:gd name="connsiteY2" fmla="*/ 186452 h 1276233"/>
                  <a:gd name="connsiteX3" fmla="*/ 1089765 w 1277285"/>
                  <a:gd name="connsiteY3" fmla="*/ 186452 h 1276233"/>
                  <a:gd name="connsiteX4" fmla="*/ 1277285 w 1277285"/>
                  <a:gd name="connsiteY4" fmla="*/ 637583 h 1276233"/>
                  <a:gd name="connsiteX5" fmla="*/ 1089765 w 1277285"/>
                  <a:gd name="connsiteY5" fmla="*/ 1088713 h 1276233"/>
                  <a:gd name="connsiteX6" fmla="*/ 637565 w 1277285"/>
                  <a:gd name="connsiteY6" fmla="*/ 1276234 h 1276233"/>
                  <a:gd name="connsiteX7" fmla="*/ 637583 w 1277285"/>
                  <a:gd name="connsiteY7" fmla="*/ 207855 h 1276233"/>
                  <a:gd name="connsiteX8" fmla="*/ 333259 w 1277285"/>
                  <a:gd name="connsiteY8" fmla="*/ 334299 h 1276233"/>
                  <a:gd name="connsiteX9" fmla="*/ 333259 w 1277285"/>
                  <a:gd name="connsiteY9" fmla="*/ 944032 h 1276233"/>
                  <a:gd name="connsiteX10" fmla="*/ 942992 w 1277285"/>
                  <a:gd name="connsiteY10" fmla="*/ 944032 h 1276233"/>
                  <a:gd name="connsiteX11" fmla="*/ 1069437 w 1277285"/>
                  <a:gd name="connsiteY11" fmla="*/ 639709 h 1276233"/>
                  <a:gd name="connsiteX12" fmla="*/ 942992 w 1277285"/>
                  <a:gd name="connsiteY12" fmla="*/ 335385 h 1276233"/>
                  <a:gd name="connsiteX13" fmla="*/ 637594 w 1277285"/>
                  <a:gd name="connsiteY13" fmla="*/ 207872 h 1276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77285" h="1276233">
                    <a:moveTo>
                      <a:pt x="637583" y="1276217"/>
                    </a:moveTo>
                    <a:cubicBezTo>
                      <a:pt x="473631" y="1276217"/>
                      <a:pt x="310753" y="1214066"/>
                      <a:pt x="186452" y="1089765"/>
                    </a:cubicBezTo>
                    <a:cubicBezTo>
                      <a:pt x="-62151" y="841162"/>
                      <a:pt x="-62151" y="435054"/>
                      <a:pt x="186452" y="186452"/>
                    </a:cubicBezTo>
                    <a:cubicBezTo>
                      <a:pt x="435054" y="-62151"/>
                      <a:pt x="841162" y="-62151"/>
                      <a:pt x="1089765" y="186452"/>
                    </a:cubicBezTo>
                    <a:cubicBezTo>
                      <a:pt x="1210854" y="307541"/>
                      <a:pt x="1277285" y="467201"/>
                      <a:pt x="1277285" y="637583"/>
                    </a:cubicBezTo>
                    <a:cubicBezTo>
                      <a:pt x="1277285" y="807964"/>
                      <a:pt x="1210849" y="968698"/>
                      <a:pt x="1089765" y="1088713"/>
                    </a:cubicBezTo>
                    <a:cubicBezTo>
                      <a:pt x="964389" y="1214089"/>
                      <a:pt x="800443" y="1276234"/>
                      <a:pt x="637565" y="1276234"/>
                    </a:cubicBezTo>
                    <a:close/>
                    <a:moveTo>
                      <a:pt x="637583" y="207855"/>
                    </a:moveTo>
                    <a:cubicBezTo>
                      <a:pt x="527214" y="207855"/>
                      <a:pt x="416841" y="249645"/>
                      <a:pt x="333259" y="334299"/>
                    </a:cubicBezTo>
                    <a:cubicBezTo>
                      <a:pt x="165021" y="502537"/>
                      <a:pt x="165021" y="775783"/>
                      <a:pt x="333259" y="944032"/>
                    </a:cubicBezTo>
                    <a:cubicBezTo>
                      <a:pt x="501497" y="1112282"/>
                      <a:pt x="774743" y="1112270"/>
                      <a:pt x="942992" y="944032"/>
                    </a:cubicBezTo>
                    <a:cubicBezTo>
                      <a:pt x="1024431" y="862594"/>
                      <a:pt x="1069437" y="754363"/>
                      <a:pt x="1069437" y="639709"/>
                    </a:cubicBezTo>
                    <a:cubicBezTo>
                      <a:pt x="1069437" y="525054"/>
                      <a:pt x="1024431" y="416824"/>
                      <a:pt x="942992" y="335385"/>
                    </a:cubicBezTo>
                    <a:cubicBezTo>
                      <a:pt x="858341" y="249660"/>
                      <a:pt x="746899" y="207872"/>
                      <a:pt x="637594" y="207872"/>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237" name="Freeform: Shape 236">
                <a:extLst>
                  <a:ext uri="{FF2B5EF4-FFF2-40B4-BE49-F238E27FC236}">
                    <a16:creationId xmlns:a16="http://schemas.microsoft.com/office/drawing/2014/main" id="{58FD279A-96E1-B539-BAE1-E3EC8F4F0060}"/>
                  </a:ext>
                </a:extLst>
              </p:cNvPr>
              <p:cNvSpPr/>
              <p:nvPr/>
            </p:nvSpPr>
            <p:spPr>
              <a:xfrm>
                <a:off x="2666882" y="1491508"/>
                <a:ext cx="2760144" cy="987044"/>
              </a:xfrm>
              <a:custGeom>
                <a:avLst/>
                <a:gdLst>
                  <a:gd name="connsiteX0" fmla="*/ 1622492 w 2760144"/>
                  <a:gd name="connsiteY0" fmla="*/ 987030 h 987044"/>
                  <a:gd name="connsiteX1" fmla="*/ 26921 w 2760144"/>
                  <a:gd name="connsiteY1" fmla="*/ 173728 h 987044"/>
                  <a:gd name="connsiteX2" fmla="*/ 34422 w 2760144"/>
                  <a:gd name="connsiteY2" fmla="*/ 26921 h 987044"/>
                  <a:gd name="connsiteX3" fmla="*/ 181229 w 2760144"/>
                  <a:gd name="connsiteY3" fmla="*/ 34422 h 987044"/>
                  <a:gd name="connsiteX4" fmla="*/ 2591187 w 2760144"/>
                  <a:gd name="connsiteY4" fmla="*/ 465190 h 987044"/>
                  <a:gd name="connsiteX5" fmla="*/ 2736920 w 2760144"/>
                  <a:gd name="connsiteY5" fmla="*/ 480192 h 987044"/>
                  <a:gd name="connsiteX6" fmla="*/ 2721918 w 2760144"/>
                  <a:gd name="connsiteY6" fmla="*/ 625925 h 987044"/>
                  <a:gd name="connsiteX7" fmla="*/ 1622466 w 2760144"/>
                  <a:gd name="connsiteY7" fmla="*/ 987044 h 987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0144" h="987044">
                    <a:moveTo>
                      <a:pt x="1622492" y="987030"/>
                    </a:moveTo>
                    <a:cubicBezTo>
                      <a:pt x="1160651" y="987030"/>
                      <a:pt x="598078" y="803795"/>
                      <a:pt x="26921" y="173728"/>
                    </a:cubicBezTo>
                    <a:cubicBezTo>
                      <a:pt x="-11655" y="130866"/>
                      <a:pt x="-8440" y="65497"/>
                      <a:pt x="34422" y="26921"/>
                    </a:cubicBezTo>
                    <a:cubicBezTo>
                      <a:pt x="77285" y="-11655"/>
                      <a:pt x="142653" y="-8440"/>
                      <a:pt x="181229" y="34422"/>
                    </a:cubicBezTo>
                    <a:cubicBezTo>
                      <a:pt x="1411383" y="1391049"/>
                      <a:pt x="2542953" y="502698"/>
                      <a:pt x="2591187" y="465190"/>
                    </a:cubicBezTo>
                    <a:cubicBezTo>
                      <a:pt x="2636193" y="428757"/>
                      <a:pt x="2701556" y="436258"/>
                      <a:pt x="2736920" y="480192"/>
                    </a:cubicBezTo>
                    <a:cubicBezTo>
                      <a:pt x="2773353" y="524126"/>
                      <a:pt x="2765852" y="589492"/>
                      <a:pt x="2721918" y="625925"/>
                    </a:cubicBezTo>
                    <a:cubicBezTo>
                      <a:pt x="2714417" y="632354"/>
                      <a:pt x="2265432" y="987044"/>
                      <a:pt x="1622466" y="987044"/>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grpSp>
      <p:grpSp>
        <p:nvGrpSpPr>
          <p:cNvPr id="238" name="Group 237">
            <a:extLst>
              <a:ext uri="{FF2B5EF4-FFF2-40B4-BE49-F238E27FC236}">
                <a16:creationId xmlns:a16="http://schemas.microsoft.com/office/drawing/2014/main" id="{25478F03-823F-7E2D-7F5A-C67658122A98}"/>
              </a:ext>
            </a:extLst>
          </p:cNvPr>
          <p:cNvGrpSpPr/>
          <p:nvPr/>
        </p:nvGrpSpPr>
        <p:grpSpPr>
          <a:xfrm>
            <a:off x="1207685" y="1729799"/>
            <a:ext cx="462728" cy="534342"/>
            <a:chOff x="2253666" y="5521004"/>
            <a:chExt cx="296702" cy="342621"/>
          </a:xfrm>
        </p:grpSpPr>
        <p:sp>
          <p:nvSpPr>
            <p:cNvPr id="239" name="Graphic 18">
              <a:extLst>
                <a:ext uri="{FF2B5EF4-FFF2-40B4-BE49-F238E27FC236}">
                  <a16:creationId xmlns:a16="http://schemas.microsoft.com/office/drawing/2014/main" id="{F2E21F71-DF1B-3142-6CC5-E8876F3DD104}"/>
                </a:ext>
              </a:extLst>
            </p:cNvPr>
            <p:cNvSpPr/>
            <p:nvPr/>
          </p:nvSpPr>
          <p:spPr>
            <a:xfrm>
              <a:off x="2253666" y="5521004"/>
              <a:ext cx="296702" cy="342621"/>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sp>
          <p:nvSpPr>
            <p:cNvPr id="240" name="Graphic 40">
              <a:extLst>
                <a:ext uri="{FF2B5EF4-FFF2-40B4-BE49-F238E27FC236}">
                  <a16:creationId xmlns:a16="http://schemas.microsoft.com/office/drawing/2014/main" id="{95AF713F-7510-A810-6B13-75E3BE8645E1}"/>
                </a:ext>
              </a:extLst>
            </p:cNvPr>
            <p:cNvSpPr/>
            <p:nvPr/>
          </p:nvSpPr>
          <p:spPr>
            <a:xfrm>
              <a:off x="2276703" y="5622167"/>
              <a:ext cx="250628" cy="140294"/>
            </a:xfrm>
            <a:custGeom>
              <a:avLst/>
              <a:gdLst>
                <a:gd name="connsiteX0" fmla="*/ 5057775 w 5657850"/>
                <a:gd name="connsiteY0" fmla="*/ 1114425 h 3167088"/>
                <a:gd name="connsiteX1" fmla="*/ 4426839 w 5657850"/>
                <a:gd name="connsiteY1" fmla="*/ 0 h 3167088"/>
                <a:gd name="connsiteX2" fmla="*/ 257175 w 5657850"/>
                <a:gd name="connsiteY2" fmla="*/ 0 h 3167088"/>
                <a:gd name="connsiteX3" fmla="*/ 75324 w 5657850"/>
                <a:gd name="connsiteY3" fmla="*/ 75324 h 3167088"/>
                <a:gd name="connsiteX4" fmla="*/ 0 w 5657850"/>
                <a:gd name="connsiteY4" fmla="*/ 257175 h 3167088"/>
                <a:gd name="connsiteX5" fmla="*/ 0 w 5657850"/>
                <a:gd name="connsiteY5" fmla="*/ 2657475 h 3167088"/>
                <a:gd name="connsiteX6" fmla="*/ 692658 w 5657850"/>
                <a:gd name="connsiteY6" fmla="*/ 2657475 h 3167088"/>
                <a:gd name="connsiteX7" fmla="*/ 1012430 w 5657850"/>
                <a:gd name="connsiteY7" fmla="*/ 3101171 h 3167088"/>
                <a:gd name="connsiteX8" fmla="*/ 1559326 w 5657850"/>
                <a:gd name="connsiteY8" fmla="*/ 3101171 h 3167088"/>
                <a:gd name="connsiteX9" fmla="*/ 1879098 w 5657850"/>
                <a:gd name="connsiteY9" fmla="*/ 2657475 h 3167088"/>
                <a:gd name="connsiteX10" fmla="*/ 3950214 w 5657850"/>
                <a:gd name="connsiteY10" fmla="*/ 2657475 h 3167088"/>
                <a:gd name="connsiteX11" fmla="*/ 4269985 w 5657850"/>
                <a:gd name="connsiteY11" fmla="*/ 3101171 h 3167088"/>
                <a:gd name="connsiteX12" fmla="*/ 4816882 w 5657850"/>
                <a:gd name="connsiteY12" fmla="*/ 3101171 h 3167088"/>
                <a:gd name="connsiteX13" fmla="*/ 5136642 w 5657850"/>
                <a:gd name="connsiteY13" fmla="*/ 2657475 h 3167088"/>
                <a:gd name="connsiteX14" fmla="*/ 5657850 w 5657850"/>
                <a:gd name="connsiteY14" fmla="*/ 2657475 h 3167088"/>
                <a:gd name="connsiteX15" fmla="*/ 5657850 w 5657850"/>
                <a:gd name="connsiteY15" fmla="*/ 1714500 h 3167088"/>
                <a:gd name="connsiteX16" fmla="*/ 5482114 w 5657850"/>
                <a:gd name="connsiteY16" fmla="*/ 1290184 h 3167088"/>
                <a:gd name="connsiteX17" fmla="*/ 5057781 w 5657850"/>
                <a:gd name="connsiteY17" fmla="*/ 1114425 h 3167088"/>
                <a:gd name="connsiteX18" fmla="*/ 3771900 w 5657850"/>
                <a:gd name="connsiteY18" fmla="*/ 171450 h 3167088"/>
                <a:gd name="connsiteX19" fmla="*/ 4327392 w 5657850"/>
                <a:gd name="connsiteY19" fmla="*/ 171450 h 3167088"/>
                <a:gd name="connsiteX20" fmla="*/ 4860608 w 5657850"/>
                <a:gd name="connsiteY20" fmla="*/ 1114425 h 3167088"/>
                <a:gd name="connsiteX21" fmla="*/ 3771900 w 5657850"/>
                <a:gd name="connsiteY21" fmla="*/ 1114425 h 3167088"/>
                <a:gd name="connsiteX22" fmla="*/ 1285875 w 5657850"/>
                <a:gd name="connsiteY22" fmla="*/ 3000375 h 3167088"/>
                <a:gd name="connsiteX23" fmla="*/ 982803 w 5657850"/>
                <a:gd name="connsiteY23" fmla="*/ 2874822 h 3167088"/>
                <a:gd name="connsiteX24" fmla="*/ 857250 w 5657850"/>
                <a:gd name="connsiteY24" fmla="*/ 2571750 h 3167088"/>
                <a:gd name="connsiteX25" fmla="*/ 982803 w 5657850"/>
                <a:gd name="connsiteY25" fmla="*/ 2268678 h 3167088"/>
                <a:gd name="connsiteX26" fmla="*/ 1285875 w 5657850"/>
                <a:gd name="connsiteY26" fmla="*/ 2143125 h 3167088"/>
                <a:gd name="connsiteX27" fmla="*/ 1588947 w 5657850"/>
                <a:gd name="connsiteY27" fmla="*/ 2268678 h 3167088"/>
                <a:gd name="connsiteX28" fmla="*/ 1714500 w 5657850"/>
                <a:gd name="connsiteY28" fmla="*/ 2571750 h 3167088"/>
                <a:gd name="connsiteX29" fmla="*/ 1588947 w 5657850"/>
                <a:gd name="connsiteY29" fmla="*/ 2874822 h 3167088"/>
                <a:gd name="connsiteX30" fmla="*/ 1285875 w 5657850"/>
                <a:gd name="connsiteY30" fmla="*/ 3000375 h 3167088"/>
                <a:gd name="connsiteX31" fmla="*/ 4543425 w 5657850"/>
                <a:gd name="connsiteY31" fmla="*/ 3000375 h 3167088"/>
                <a:gd name="connsiteX32" fmla="*/ 4240353 w 5657850"/>
                <a:gd name="connsiteY32" fmla="*/ 2874822 h 3167088"/>
                <a:gd name="connsiteX33" fmla="*/ 4114800 w 5657850"/>
                <a:gd name="connsiteY33" fmla="*/ 2571750 h 3167088"/>
                <a:gd name="connsiteX34" fmla="*/ 4240353 w 5657850"/>
                <a:gd name="connsiteY34" fmla="*/ 2268678 h 3167088"/>
                <a:gd name="connsiteX35" fmla="*/ 4543425 w 5657850"/>
                <a:gd name="connsiteY35" fmla="*/ 2143125 h 3167088"/>
                <a:gd name="connsiteX36" fmla="*/ 4846497 w 5657850"/>
                <a:gd name="connsiteY36" fmla="*/ 2268678 h 3167088"/>
                <a:gd name="connsiteX37" fmla="*/ 4972050 w 5657850"/>
                <a:gd name="connsiteY37" fmla="*/ 2571750 h 3167088"/>
                <a:gd name="connsiteX38" fmla="*/ 4846497 w 5657850"/>
                <a:gd name="connsiteY38" fmla="*/ 2874822 h 3167088"/>
                <a:gd name="connsiteX39" fmla="*/ 4543425 w 5657850"/>
                <a:gd name="connsiteY39" fmla="*/ 3000375 h 3167088"/>
                <a:gd name="connsiteX40" fmla="*/ 5486400 w 5657850"/>
                <a:gd name="connsiteY40" fmla="*/ 2486025 h 3167088"/>
                <a:gd name="connsiteX41" fmla="*/ 5136642 w 5657850"/>
                <a:gd name="connsiteY41" fmla="*/ 2486025 h 3167088"/>
                <a:gd name="connsiteX42" fmla="*/ 4816877 w 5657850"/>
                <a:gd name="connsiteY42" fmla="*/ 2042329 h 3167088"/>
                <a:gd name="connsiteX43" fmla="*/ 4269980 w 5657850"/>
                <a:gd name="connsiteY43" fmla="*/ 2042329 h 3167088"/>
                <a:gd name="connsiteX44" fmla="*/ 3950208 w 5657850"/>
                <a:gd name="connsiteY44" fmla="*/ 2486025 h 3167088"/>
                <a:gd name="connsiteX45" fmla="*/ 1879092 w 5657850"/>
                <a:gd name="connsiteY45" fmla="*/ 2486025 h 3167088"/>
                <a:gd name="connsiteX46" fmla="*/ 1559321 w 5657850"/>
                <a:gd name="connsiteY46" fmla="*/ 2042329 h 3167088"/>
                <a:gd name="connsiteX47" fmla="*/ 1012424 w 5657850"/>
                <a:gd name="connsiteY47" fmla="*/ 2042329 h 3167088"/>
                <a:gd name="connsiteX48" fmla="*/ 692652 w 5657850"/>
                <a:gd name="connsiteY48" fmla="*/ 2486025 h 3167088"/>
                <a:gd name="connsiteX49" fmla="*/ 171450 w 5657850"/>
                <a:gd name="connsiteY49" fmla="*/ 2486025 h 3167088"/>
                <a:gd name="connsiteX50" fmla="*/ 171450 w 5657850"/>
                <a:gd name="connsiteY50" fmla="*/ 257175 h 3167088"/>
                <a:gd name="connsiteX51" fmla="*/ 196567 w 5657850"/>
                <a:gd name="connsiteY51" fmla="*/ 196567 h 3167088"/>
                <a:gd name="connsiteX52" fmla="*/ 257169 w 5657850"/>
                <a:gd name="connsiteY52" fmla="*/ 171450 h 3167088"/>
                <a:gd name="connsiteX53" fmla="*/ 3600450 w 5657850"/>
                <a:gd name="connsiteY53" fmla="*/ 171450 h 3167088"/>
                <a:gd name="connsiteX54" fmla="*/ 3600450 w 5657850"/>
                <a:gd name="connsiteY54" fmla="*/ 1285875 h 3167088"/>
                <a:gd name="connsiteX55" fmla="*/ 5057775 w 5657850"/>
                <a:gd name="connsiteY55" fmla="*/ 1285875 h 3167088"/>
                <a:gd name="connsiteX56" fmla="*/ 5360842 w 5657850"/>
                <a:gd name="connsiteY56" fmla="*/ 1411428 h 3167088"/>
                <a:gd name="connsiteX57" fmla="*/ 5486400 w 5657850"/>
                <a:gd name="connsiteY57" fmla="*/ 1714500 h 3167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657850" h="3167088">
                  <a:moveTo>
                    <a:pt x="5057775" y="1114425"/>
                  </a:moveTo>
                  <a:lnTo>
                    <a:pt x="4426839" y="0"/>
                  </a:lnTo>
                  <a:lnTo>
                    <a:pt x="257175" y="0"/>
                  </a:lnTo>
                  <a:cubicBezTo>
                    <a:pt x="188972" y="0"/>
                    <a:pt x="123564" y="27101"/>
                    <a:pt x="75324" y="75324"/>
                  </a:cubicBezTo>
                  <a:cubicBezTo>
                    <a:pt x="27106" y="123564"/>
                    <a:pt x="0" y="188978"/>
                    <a:pt x="0" y="257175"/>
                  </a:cubicBezTo>
                  <a:lnTo>
                    <a:pt x="0" y="2657475"/>
                  </a:lnTo>
                  <a:lnTo>
                    <a:pt x="692658" y="2657475"/>
                  </a:lnTo>
                  <a:cubicBezTo>
                    <a:pt x="721747" y="2848168"/>
                    <a:pt x="840711" y="3013257"/>
                    <a:pt x="1012430" y="3101171"/>
                  </a:cubicBezTo>
                  <a:cubicBezTo>
                    <a:pt x="1184125" y="3189062"/>
                    <a:pt x="1387631" y="3189062"/>
                    <a:pt x="1559326" y="3101171"/>
                  </a:cubicBezTo>
                  <a:cubicBezTo>
                    <a:pt x="1731045" y="3013257"/>
                    <a:pt x="1850008" y="2848168"/>
                    <a:pt x="1879098" y="2657475"/>
                  </a:cubicBezTo>
                  <a:lnTo>
                    <a:pt x="3950214" y="2657475"/>
                  </a:lnTo>
                  <a:cubicBezTo>
                    <a:pt x="3979303" y="2848168"/>
                    <a:pt x="4098267" y="3013257"/>
                    <a:pt x="4269985" y="3101171"/>
                  </a:cubicBezTo>
                  <a:cubicBezTo>
                    <a:pt x="4441681" y="3189062"/>
                    <a:pt x="4645187" y="3189062"/>
                    <a:pt x="4816882" y="3101171"/>
                  </a:cubicBezTo>
                  <a:cubicBezTo>
                    <a:pt x="4988601" y="3013257"/>
                    <a:pt x="5107564" y="2848168"/>
                    <a:pt x="5136642" y="2657475"/>
                  </a:cubicBezTo>
                  <a:lnTo>
                    <a:pt x="5657850" y="2657475"/>
                  </a:lnTo>
                  <a:lnTo>
                    <a:pt x="5657850" y="1714500"/>
                  </a:lnTo>
                  <a:cubicBezTo>
                    <a:pt x="5657850" y="1555349"/>
                    <a:pt x="5594642" y="1402718"/>
                    <a:pt x="5482114" y="1290184"/>
                  </a:cubicBezTo>
                  <a:cubicBezTo>
                    <a:pt x="5369586" y="1177650"/>
                    <a:pt x="5216938" y="1114425"/>
                    <a:pt x="5057781" y="1114425"/>
                  </a:cubicBezTo>
                  <a:close/>
                  <a:moveTo>
                    <a:pt x="3771900" y="171450"/>
                  </a:moveTo>
                  <a:lnTo>
                    <a:pt x="4327392" y="171450"/>
                  </a:lnTo>
                  <a:lnTo>
                    <a:pt x="4860608" y="1114425"/>
                  </a:lnTo>
                  <a:lnTo>
                    <a:pt x="3771900" y="1114425"/>
                  </a:lnTo>
                  <a:close/>
                  <a:moveTo>
                    <a:pt x="1285875" y="3000375"/>
                  </a:moveTo>
                  <a:cubicBezTo>
                    <a:pt x="1172198" y="3000375"/>
                    <a:pt x="1063167" y="2955215"/>
                    <a:pt x="982803" y="2874822"/>
                  </a:cubicBezTo>
                  <a:cubicBezTo>
                    <a:pt x="902416" y="2794458"/>
                    <a:pt x="857250" y="2685422"/>
                    <a:pt x="857250" y="2571750"/>
                  </a:cubicBezTo>
                  <a:cubicBezTo>
                    <a:pt x="857250" y="2458079"/>
                    <a:pt x="902410" y="2349042"/>
                    <a:pt x="982803" y="2268678"/>
                  </a:cubicBezTo>
                  <a:cubicBezTo>
                    <a:pt x="1063167" y="2188291"/>
                    <a:pt x="1172204" y="2143125"/>
                    <a:pt x="1285875" y="2143125"/>
                  </a:cubicBezTo>
                  <a:cubicBezTo>
                    <a:pt x="1399546" y="2143125"/>
                    <a:pt x="1508583" y="2188285"/>
                    <a:pt x="1588947" y="2268678"/>
                  </a:cubicBezTo>
                  <a:cubicBezTo>
                    <a:pt x="1669334" y="2349042"/>
                    <a:pt x="1714500" y="2458079"/>
                    <a:pt x="1714500" y="2571750"/>
                  </a:cubicBezTo>
                  <a:cubicBezTo>
                    <a:pt x="1714500" y="2685422"/>
                    <a:pt x="1669340" y="2794458"/>
                    <a:pt x="1588947" y="2874822"/>
                  </a:cubicBezTo>
                  <a:cubicBezTo>
                    <a:pt x="1508583" y="2955209"/>
                    <a:pt x="1399546" y="3000375"/>
                    <a:pt x="1285875" y="3000375"/>
                  </a:cubicBezTo>
                  <a:close/>
                  <a:moveTo>
                    <a:pt x="4543425" y="3000375"/>
                  </a:moveTo>
                  <a:cubicBezTo>
                    <a:pt x="4429748" y="3000375"/>
                    <a:pt x="4320717" y="2955215"/>
                    <a:pt x="4240353" y="2874822"/>
                  </a:cubicBezTo>
                  <a:cubicBezTo>
                    <a:pt x="4159966" y="2794458"/>
                    <a:pt x="4114800" y="2685422"/>
                    <a:pt x="4114800" y="2571750"/>
                  </a:cubicBezTo>
                  <a:cubicBezTo>
                    <a:pt x="4114800" y="2458079"/>
                    <a:pt x="4159960" y="2349042"/>
                    <a:pt x="4240353" y="2268678"/>
                  </a:cubicBezTo>
                  <a:cubicBezTo>
                    <a:pt x="4320717" y="2188291"/>
                    <a:pt x="4429754" y="2143125"/>
                    <a:pt x="4543425" y="2143125"/>
                  </a:cubicBezTo>
                  <a:cubicBezTo>
                    <a:pt x="4657097" y="2143125"/>
                    <a:pt x="4766133" y="2188285"/>
                    <a:pt x="4846497" y="2268678"/>
                  </a:cubicBezTo>
                  <a:cubicBezTo>
                    <a:pt x="4926885" y="2349042"/>
                    <a:pt x="4972050" y="2458079"/>
                    <a:pt x="4972050" y="2571750"/>
                  </a:cubicBezTo>
                  <a:cubicBezTo>
                    <a:pt x="4972050" y="2685422"/>
                    <a:pt x="4926890" y="2794458"/>
                    <a:pt x="4846497" y="2874822"/>
                  </a:cubicBezTo>
                  <a:cubicBezTo>
                    <a:pt x="4766133" y="2955209"/>
                    <a:pt x="4657097" y="3000375"/>
                    <a:pt x="4543425" y="3000375"/>
                  </a:cubicBezTo>
                  <a:close/>
                  <a:moveTo>
                    <a:pt x="5486400" y="2486025"/>
                  </a:moveTo>
                  <a:lnTo>
                    <a:pt x="5136642" y="2486025"/>
                  </a:lnTo>
                  <a:cubicBezTo>
                    <a:pt x="5107559" y="2295333"/>
                    <a:pt x="4988595" y="2130243"/>
                    <a:pt x="4816877" y="2042329"/>
                  </a:cubicBezTo>
                  <a:cubicBezTo>
                    <a:pt x="4645181" y="1954439"/>
                    <a:pt x="4441675" y="1954439"/>
                    <a:pt x="4269980" y="2042329"/>
                  </a:cubicBezTo>
                  <a:cubicBezTo>
                    <a:pt x="4098261" y="2130243"/>
                    <a:pt x="3979297" y="2295333"/>
                    <a:pt x="3950208" y="2486025"/>
                  </a:cubicBezTo>
                  <a:lnTo>
                    <a:pt x="1879092" y="2486025"/>
                  </a:lnTo>
                  <a:cubicBezTo>
                    <a:pt x="1850003" y="2295333"/>
                    <a:pt x="1731039" y="2130243"/>
                    <a:pt x="1559321" y="2042329"/>
                  </a:cubicBezTo>
                  <a:cubicBezTo>
                    <a:pt x="1387625" y="1954439"/>
                    <a:pt x="1184120" y="1954439"/>
                    <a:pt x="1012424" y="2042329"/>
                  </a:cubicBezTo>
                  <a:cubicBezTo>
                    <a:pt x="840705" y="2130243"/>
                    <a:pt x="721742" y="2295333"/>
                    <a:pt x="692652" y="2486025"/>
                  </a:cubicBezTo>
                  <a:lnTo>
                    <a:pt x="171450" y="2486025"/>
                  </a:lnTo>
                  <a:lnTo>
                    <a:pt x="171450" y="257175"/>
                  </a:lnTo>
                  <a:cubicBezTo>
                    <a:pt x="171450" y="234447"/>
                    <a:pt x="180491" y="212638"/>
                    <a:pt x="196567" y="196567"/>
                  </a:cubicBezTo>
                  <a:cubicBezTo>
                    <a:pt x="212638" y="180497"/>
                    <a:pt x="234446" y="171450"/>
                    <a:pt x="257169" y="171450"/>
                  </a:cubicBezTo>
                  <a:lnTo>
                    <a:pt x="3600450" y="171450"/>
                  </a:lnTo>
                  <a:lnTo>
                    <a:pt x="3600450" y="1285875"/>
                  </a:lnTo>
                  <a:lnTo>
                    <a:pt x="5057775" y="1285875"/>
                  </a:lnTo>
                  <a:cubicBezTo>
                    <a:pt x="5171447" y="1285875"/>
                    <a:pt x="5280489" y="1331041"/>
                    <a:pt x="5360842" y="1411428"/>
                  </a:cubicBezTo>
                  <a:cubicBezTo>
                    <a:pt x="5441252" y="1491792"/>
                    <a:pt x="5486400" y="1600829"/>
                    <a:pt x="5486400" y="1714500"/>
                  </a:cubicBezTo>
                  <a:close/>
                </a:path>
              </a:pathLst>
            </a:custGeom>
            <a:solidFill>
              <a:schemeClr val="bg1"/>
            </a:solidFill>
            <a:ln w="57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sp>
        <p:nvSpPr>
          <p:cNvPr id="260" name="Graphic 18">
            <a:extLst>
              <a:ext uri="{FF2B5EF4-FFF2-40B4-BE49-F238E27FC236}">
                <a16:creationId xmlns:a16="http://schemas.microsoft.com/office/drawing/2014/main" id="{0DC44654-D8AD-4B59-1E4C-59FF340A2780}"/>
              </a:ext>
            </a:extLst>
          </p:cNvPr>
          <p:cNvSpPr/>
          <p:nvPr/>
        </p:nvSpPr>
        <p:spPr>
          <a:xfrm>
            <a:off x="2044061" y="3810990"/>
            <a:ext cx="462728" cy="534342"/>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grpSp>
        <p:nvGrpSpPr>
          <p:cNvPr id="275" name="Group 274">
            <a:extLst>
              <a:ext uri="{FF2B5EF4-FFF2-40B4-BE49-F238E27FC236}">
                <a16:creationId xmlns:a16="http://schemas.microsoft.com/office/drawing/2014/main" id="{D63AA686-5C3F-BC95-982D-07B04B7F9B9D}"/>
              </a:ext>
            </a:extLst>
          </p:cNvPr>
          <p:cNvGrpSpPr/>
          <p:nvPr/>
        </p:nvGrpSpPr>
        <p:grpSpPr>
          <a:xfrm>
            <a:off x="6377260" y="3810990"/>
            <a:ext cx="462728" cy="534342"/>
            <a:chOff x="2253666" y="5521004"/>
            <a:chExt cx="296702" cy="342621"/>
          </a:xfrm>
        </p:grpSpPr>
        <p:sp>
          <p:nvSpPr>
            <p:cNvPr id="276" name="Graphic 18">
              <a:extLst>
                <a:ext uri="{FF2B5EF4-FFF2-40B4-BE49-F238E27FC236}">
                  <a16:creationId xmlns:a16="http://schemas.microsoft.com/office/drawing/2014/main" id="{91682BF2-A25A-65BE-0ED8-F97D5F9AD55A}"/>
                </a:ext>
              </a:extLst>
            </p:cNvPr>
            <p:cNvSpPr/>
            <p:nvPr/>
          </p:nvSpPr>
          <p:spPr>
            <a:xfrm>
              <a:off x="2253666" y="5521004"/>
              <a:ext cx="296702" cy="342621"/>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sp>
          <p:nvSpPr>
            <p:cNvPr id="277" name="Graphic 40">
              <a:extLst>
                <a:ext uri="{FF2B5EF4-FFF2-40B4-BE49-F238E27FC236}">
                  <a16:creationId xmlns:a16="http://schemas.microsoft.com/office/drawing/2014/main" id="{BCE5E7D2-5EB5-3689-3405-C8E4358BD6CB}"/>
                </a:ext>
              </a:extLst>
            </p:cNvPr>
            <p:cNvSpPr/>
            <p:nvPr/>
          </p:nvSpPr>
          <p:spPr>
            <a:xfrm>
              <a:off x="2276703" y="5622167"/>
              <a:ext cx="250628" cy="140294"/>
            </a:xfrm>
            <a:custGeom>
              <a:avLst/>
              <a:gdLst>
                <a:gd name="connsiteX0" fmla="*/ 5057775 w 5657850"/>
                <a:gd name="connsiteY0" fmla="*/ 1114425 h 3167088"/>
                <a:gd name="connsiteX1" fmla="*/ 4426839 w 5657850"/>
                <a:gd name="connsiteY1" fmla="*/ 0 h 3167088"/>
                <a:gd name="connsiteX2" fmla="*/ 257175 w 5657850"/>
                <a:gd name="connsiteY2" fmla="*/ 0 h 3167088"/>
                <a:gd name="connsiteX3" fmla="*/ 75324 w 5657850"/>
                <a:gd name="connsiteY3" fmla="*/ 75324 h 3167088"/>
                <a:gd name="connsiteX4" fmla="*/ 0 w 5657850"/>
                <a:gd name="connsiteY4" fmla="*/ 257175 h 3167088"/>
                <a:gd name="connsiteX5" fmla="*/ 0 w 5657850"/>
                <a:gd name="connsiteY5" fmla="*/ 2657475 h 3167088"/>
                <a:gd name="connsiteX6" fmla="*/ 692658 w 5657850"/>
                <a:gd name="connsiteY6" fmla="*/ 2657475 h 3167088"/>
                <a:gd name="connsiteX7" fmla="*/ 1012430 w 5657850"/>
                <a:gd name="connsiteY7" fmla="*/ 3101171 h 3167088"/>
                <a:gd name="connsiteX8" fmla="*/ 1559326 w 5657850"/>
                <a:gd name="connsiteY8" fmla="*/ 3101171 h 3167088"/>
                <a:gd name="connsiteX9" fmla="*/ 1879098 w 5657850"/>
                <a:gd name="connsiteY9" fmla="*/ 2657475 h 3167088"/>
                <a:gd name="connsiteX10" fmla="*/ 3950214 w 5657850"/>
                <a:gd name="connsiteY10" fmla="*/ 2657475 h 3167088"/>
                <a:gd name="connsiteX11" fmla="*/ 4269985 w 5657850"/>
                <a:gd name="connsiteY11" fmla="*/ 3101171 h 3167088"/>
                <a:gd name="connsiteX12" fmla="*/ 4816882 w 5657850"/>
                <a:gd name="connsiteY12" fmla="*/ 3101171 h 3167088"/>
                <a:gd name="connsiteX13" fmla="*/ 5136642 w 5657850"/>
                <a:gd name="connsiteY13" fmla="*/ 2657475 h 3167088"/>
                <a:gd name="connsiteX14" fmla="*/ 5657850 w 5657850"/>
                <a:gd name="connsiteY14" fmla="*/ 2657475 h 3167088"/>
                <a:gd name="connsiteX15" fmla="*/ 5657850 w 5657850"/>
                <a:gd name="connsiteY15" fmla="*/ 1714500 h 3167088"/>
                <a:gd name="connsiteX16" fmla="*/ 5482114 w 5657850"/>
                <a:gd name="connsiteY16" fmla="*/ 1290184 h 3167088"/>
                <a:gd name="connsiteX17" fmla="*/ 5057781 w 5657850"/>
                <a:gd name="connsiteY17" fmla="*/ 1114425 h 3167088"/>
                <a:gd name="connsiteX18" fmla="*/ 3771900 w 5657850"/>
                <a:gd name="connsiteY18" fmla="*/ 171450 h 3167088"/>
                <a:gd name="connsiteX19" fmla="*/ 4327392 w 5657850"/>
                <a:gd name="connsiteY19" fmla="*/ 171450 h 3167088"/>
                <a:gd name="connsiteX20" fmla="*/ 4860608 w 5657850"/>
                <a:gd name="connsiteY20" fmla="*/ 1114425 h 3167088"/>
                <a:gd name="connsiteX21" fmla="*/ 3771900 w 5657850"/>
                <a:gd name="connsiteY21" fmla="*/ 1114425 h 3167088"/>
                <a:gd name="connsiteX22" fmla="*/ 1285875 w 5657850"/>
                <a:gd name="connsiteY22" fmla="*/ 3000375 h 3167088"/>
                <a:gd name="connsiteX23" fmla="*/ 982803 w 5657850"/>
                <a:gd name="connsiteY23" fmla="*/ 2874822 h 3167088"/>
                <a:gd name="connsiteX24" fmla="*/ 857250 w 5657850"/>
                <a:gd name="connsiteY24" fmla="*/ 2571750 h 3167088"/>
                <a:gd name="connsiteX25" fmla="*/ 982803 w 5657850"/>
                <a:gd name="connsiteY25" fmla="*/ 2268678 h 3167088"/>
                <a:gd name="connsiteX26" fmla="*/ 1285875 w 5657850"/>
                <a:gd name="connsiteY26" fmla="*/ 2143125 h 3167088"/>
                <a:gd name="connsiteX27" fmla="*/ 1588947 w 5657850"/>
                <a:gd name="connsiteY27" fmla="*/ 2268678 h 3167088"/>
                <a:gd name="connsiteX28" fmla="*/ 1714500 w 5657850"/>
                <a:gd name="connsiteY28" fmla="*/ 2571750 h 3167088"/>
                <a:gd name="connsiteX29" fmla="*/ 1588947 w 5657850"/>
                <a:gd name="connsiteY29" fmla="*/ 2874822 h 3167088"/>
                <a:gd name="connsiteX30" fmla="*/ 1285875 w 5657850"/>
                <a:gd name="connsiteY30" fmla="*/ 3000375 h 3167088"/>
                <a:gd name="connsiteX31" fmla="*/ 4543425 w 5657850"/>
                <a:gd name="connsiteY31" fmla="*/ 3000375 h 3167088"/>
                <a:gd name="connsiteX32" fmla="*/ 4240353 w 5657850"/>
                <a:gd name="connsiteY32" fmla="*/ 2874822 h 3167088"/>
                <a:gd name="connsiteX33" fmla="*/ 4114800 w 5657850"/>
                <a:gd name="connsiteY33" fmla="*/ 2571750 h 3167088"/>
                <a:gd name="connsiteX34" fmla="*/ 4240353 w 5657850"/>
                <a:gd name="connsiteY34" fmla="*/ 2268678 h 3167088"/>
                <a:gd name="connsiteX35" fmla="*/ 4543425 w 5657850"/>
                <a:gd name="connsiteY35" fmla="*/ 2143125 h 3167088"/>
                <a:gd name="connsiteX36" fmla="*/ 4846497 w 5657850"/>
                <a:gd name="connsiteY36" fmla="*/ 2268678 h 3167088"/>
                <a:gd name="connsiteX37" fmla="*/ 4972050 w 5657850"/>
                <a:gd name="connsiteY37" fmla="*/ 2571750 h 3167088"/>
                <a:gd name="connsiteX38" fmla="*/ 4846497 w 5657850"/>
                <a:gd name="connsiteY38" fmla="*/ 2874822 h 3167088"/>
                <a:gd name="connsiteX39" fmla="*/ 4543425 w 5657850"/>
                <a:gd name="connsiteY39" fmla="*/ 3000375 h 3167088"/>
                <a:gd name="connsiteX40" fmla="*/ 5486400 w 5657850"/>
                <a:gd name="connsiteY40" fmla="*/ 2486025 h 3167088"/>
                <a:gd name="connsiteX41" fmla="*/ 5136642 w 5657850"/>
                <a:gd name="connsiteY41" fmla="*/ 2486025 h 3167088"/>
                <a:gd name="connsiteX42" fmla="*/ 4816877 w 5657850"/>
                <a:gd name="connsiteY42" fmla="*/ 2042329 h 3167088"/>
                <a:gd name="connsiteX43" fmla="*/ 4269980 w 5657850"/>
                <a:gd name="connsiteY43" fmla="*/ 2042329 h 3167088"/>
                <a:gd name="connsiteX44" fmla="*/ 3950208 w 5657850"/>
                <a:gd name="connsiteY44" fmla="*/ 2486025 h 3167088"/>
                <a:gd name="connsiteX45" fmla="*/ 1879092 w 5657850"/>
                <a:gd name="connsiteY45" fmla="*/ 2486025 h 3167088"/>
                <a:gd name="connsiteX46" fmla="*/ 1559321 w 5657850"/>
                <a:gd name="connsiteY46" fmla="*/ 2042329 h 3167088"/>
                <a:gd name="connsiteX47" fmla="*/ 1012424 w 5657850"/>
                <a:gd name="connsiteY47" fmla="*/ 2042329 h 3167088"/>
                <a:gd name="connsiteX48" fmla="*/ 692652 w 5657850"/>
                <a:gd name="connsiteY48" fmla="*/ 2486025 h 3167088"/>
                <a:gd name="connsiteX49" fmla="*/ 171450 w 5657850"/>
                <a:gd name="connsiteY49" fmla="*/ 2486025 h 3167088"/>
                <a:gd name="connsiteX50" fmla="*/ 171450 w 5657850"/>
                <a:gd name="connsiteY50" fmla="*/ 257175 h 3167088"/>
                <a:gd name="connsiteX51" fmla="*/ 196567 w 5657850"/>
                <a:gd name="connsiteY51" fmla="*/ 196567 h 3167088"/>
                <a:gd name="connsiteX52" fmla="*/ 257169 w 5657850"/>
                <a:gd name="connsiteY52" fmla="*/ 171450 h 3167088"/>
                <a:gd name="connsiteX53" fmla="*/ 3600450 w 5657850"/>
                <a:gd name="connsiteY53" fmla="*/ 171450 h 3167088"/>
                <a:gd name="connsiteX54" fmla="*/ 3600450 w 5657850"/>
                <a:gd name="connsiteY54" fmla="*/ 1285875 h 3167088"/>
                <a:gd name="connsiteX55" fmla="*/ 5057775 w 5657850"/>
                <a:gd name="connsiteY55" fmla="*/ 1285875 h 3167088"/>
                <a:gd name="connsiteX56" fmla="*/ 5360842 w 5657850"/>
                <a:gd name="connsiteY56" fmla="*/ 1411428 h 3167088"/>
                <a:gd name="connsiteX57" fmla="*/ 5486400 w 5657850"/>
                <a:gd name="connsiteY57" fmla="*/ 1714500 h 3167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657850" h="3167088">
                  <a:moveTo>
                    <a:pt x="5057775" y="1114425"/>
                  </a:moveTo>
                  <a:lnTo>
                    <a:pt x="4426839" y="0"/>
                  </a:lnTo>
                  <a:lnTo>
                    <a:pt x="257175" y="0"/>
                  </a:lnTo>
                  <a:cubicBezTo>
                    <a:pt x="188972" y="0"/>
                    <a:pt x="123564" y="27101"/>
                    <a:pt x="75324" y="75324"/>
                  </a:cubicBezTo>
                  <a:cubicBezTo>
                    <a:pt x="27106" y="123564"/>
                    <a:pt x="0" y="188978"/>
                    <a:pt x="0" y="257175"/>
                  </a:cubicBezTo>
                  <a:lnTo>
                    <a:pt x="0" y="2657475"/>
                  </a:lnTo>
                  <a:lnTo>
                    <a:pt x="692658" y="2657475"/>
                  </a:lnTo>
                  <a:cubicBezTo>
                    <a:pt x="721747" y="2848168"/>
                    <a:pt x="840711" y="3013257"/>
                    <a:pt x="1012430" y="3101171"/>
                  </a:cubicBezTo>
                  <a:cubicBezTo>
                    <a:pt x="1184125" y="3189062"/>
                    <a:pt x="1387631" y="3189062"/>
                    <a:pt x="1559326" y="3101171"/>
                  </a:cubicBezTo>
                  <a:cubicBezTo>
                    <a:pt x="1731045" y="3013257"/>
                    <a:pt x="1850008" y="2848168"/>
                    <a:pt x="1879098" y="2657475"/>
                  </a:cubicBezTo>
                  <a:lnTo>
                    <a:pt x="3950214" y="2657475"/>
                  </a:lnTo>
                  <a:cubicBezTo>
                    <a:pt x="3979303" y="2848168"/>
                    <a:pt x="4098267" y="3013257"/>
                    <a:pt x="4269985" y="3101171"/>
                  </a:cubicBezTo>
                  <a:cubicBezTo>
                    <a:pt x="4441681" y="3189062"/>
                    <a:pt x="4645187" y="3189062"/>
                    <a:pt x="4816882" y="3101171"/>
                  </a:cubicBezTo>
                  <a:cubicBezTo>
                    <a:pt x="4988601" y="3013257"/>
                    <a:pt x="5107564" y="2848168"/>
                    <a:pt x="5136642" y="2657475"/>
                  </a:cubicBezTo>
                  <a:lnTo>
                    <a:pt x="5657850" y="2657475"/>
                  </a:lnTo>
                  <a:lnTo>
                    <a:pt x="5657850" y="1714500"/>
                  </a:lnTo>
                  <a:cubicBezTo>
                    <a:pt x="5657850" y="1555349"/>
                    <a:pt x="5594642" y="1402718"/>
                    <a:pt x="5482114" y="1290184"/>
                  </a:cubicBezTo>
                  <a:cubicBezTo>
                    <a:pt x="5369586" y="1177650"/>
                    <a:pt x="5216938" y="1114425"/>
                    <a:pt x="5057781" y="1114425"/>
                  </a:cubicBezTo>
                  <a:close/>
                  <a:moveTo>
                    <a:pt x="3771900" y="171450"/>
                  </a:moveTo>
                  <a:lnTo>
                    <a:pt x="4327392" y="171450"/>
                  </a:lnTo>
                  <a:lnTo>
                    <a:pt x="4860608" y="1114425"/>
                  </a:lnTo>
                  <a:lnTo>
                    <a:pt x="3771900" y="1114425"/>
                  </a:lnTo>
                  <a:close/>
                  <a:moveTo>
                    <a:pt x="1285875" y="3000375"/>
                  </a:moveTo>
                  <a:cubicBezTo>
                    <a:pt x="1172198" y="3000375"/>
                    <a:pt x="1063167" y="2955215"/>
                    <a:pt x="982803" y="2874822"/>
                  </a:cubicBezTo>
                  <a:cubicBezTo>
                    <a:pt x="902416" y="2794458"/>
                    <a:pt x="857250" y="2685422"/>
                    <a:pt x="857250" y="2571750"/>
                  </a:cubicBezTo>
                  <a:cubicBezTo>
                    <a:pt x="857250" y="2458079"/>
                    <a:pt x="902410" y="2349042"/>
                    <a:pt x="982803" y="2268678"/>
                  </a:cubicBezTo>
                  <a:cubicBezTo>
                    <a:pt x="1063167" y="2188291"/>
                    <a:pt x="1172204" y="2143125"/>
                    <a:pt x="1285875" y="2143125"/>
                  </a:cubicBezTo>
                  <a:cubicBezTo>
                    <a:pt x="1399546" y="2143125"/>
                    <a:pt x="1508583" y="2188285"/>
                    <a:pt x="1588947" y="2268678"/>
                  </a:cubicBezTo>
                  <a:cubicBezTo>
                    <a:pt x="1669334" y="2349042"/>
                    <a:pt x="1714500" y="2458079"/>
                    <a:pt x="1714500" y="2571750"/>
                  </a:cubicBezTo>
                  <a:cubicBezTo>
                    <a:pt x="1714500" y="2685422"/>
                    <a:pt x="1669340" y="2794458"/>
                    <a:pt x="1588947" y="2874822"/>
                  </a:cubicBezTo>
                  <a:cubicBezTo>
                    <a:pt x="1508583" y="2955209"/>
                    <a:pt x="1399546" y="3000375"/>
                    <a:pt x="1285875" y="3000375"/>
                  </a:cubicBezTo>
                  <a:close/>
                  <a:moveTo>
                    <a:pt x="4543425" y="3000375"/>
                  </a:moveTo>
                  <a:cubicBezTo>
                    <a:pt x="4429748" y="3000375"/>
                    <a:pt x="4320717" y="2955215"/>
                    <a:pt x="4240353" y="2874822"/>
                  </a:cubicBezTo>
                  <a:cubicBezTo>
                    <a:pt x="4159966" y="2794458"/>
                    <a:pt x="4114800" y="2685422"/>
                    <a:pt x="4114800" y="2571750"/>
                  </a:cubicBezTo>
                  <a:cubicBezTo>
                    <a:pt x="4114800" y="2458079"/>
                    <a:pt x="4159960" y="2349042"/>
                    <a:pt x="4240353" y="2268678"/>
                  </a:cubicBezTo>
                  <a:cubicBezTo>
                    <a:pt x="4320717" y="2188291"/>
                    <a:pt x="4429754" y="2143125"/>
                    <a:pt x="4543425" y="2143125"/>
                  </a:cubicBezTo>
                  <a:cubicBezTo>
                    <a:pt x="4657097" y="2143125"/>
                    <a:pt x="4766133" y="2188285"/>
                    <a:pt x="4846497" y="2268678"/>
                  </a:cubicBezTo>
                  <a:cubicBezTo>
                    <a:pt x="4926885" y="2349042"/>
                    <a:pt x="4972050" y="2458079"/>
                    <a:pt x="4972050" y="2571750"/>
                  </a:cubicBezTo>
                  <a:cubicBezTo>
                    <a:pt x="4972050" y="2685422"/>
                    <a:pt x="4926890" y="2794458"/>
                    <a:pt x="4846497" y="2874822"/>
                  </a:cubicBezTo>
                  <a:cubicBezTo>
                    <a:pt x="4766133" y="2955209"/>
                    <a:pt x="4657097" y="3000375"/>
                    <a:pt x="4543425" y="3000375"/>
                  </a:cubicBezTo>
                  <a:close/>
                  <a:moveTo>
                    <a:pt x="5486400" y="2486025"/>
                  </a:moveTo>
                  <a:lnTo>
                    <a:pt x="5136642" y="2486025"/>
                  </a:lnTo>
                  <a:cubicBezTo>
                    <a:pt x="5107559" y="2295333"/>
                    <a:pt x="4988595" y="2130243"/>
                    <a:pt x="4816877" y="2042329"/>
                  </a:cubicBezTo>
                  <a:cubicBezTo>
                    <a:pt x="4645181" y="1954439"/>
                    <a:pt x="4441675" y="1954439"/>
                    <a:pt x="4269980" y="2042329"/>
                  </a:cubicBezTo>
                  <a:cubicBezTo>
                    <a:pt x="4098261" y="2130243"/>
                    <a:pt x="3979297" y="2295333"/>
                    <a:pt x="3950208" y="2486025"/>
                  </a:cubicBezTo>
                  <a:lnTo>
                    <a:pt x="1879092" y="2486025"/>
                  </a:lnTo>
                  <a:cubicBezTo>
                    <a:pt x="1850003" y="2295333"/>
                    <a:pt x="1731039" y="2130243"/>
                    <a:pt x="1559321" y="2042329"/>
                  </a:cubicBezTo>
                  <a:cubicBezTo>
                    <a:pt x="1387625" y="1954439"/>
                    <a:pt x="1184120" y="1954439"/>
                    <a:pt x="1012424" y="2042329"/>
                  </a:cubicBezTo>
                  <a:cubicBezTo>
                    <a:pt x="840705" y="2130243"/>
                    <a:pt x="721742" y="2295333"/>
                    <a:pt x="692652" y="2486025"/>
                  </a:cubicBezTo>
                  <a:lnTo>
                    <a:pt x="171450" y="2486025"/>
                  </a:lnTo>
                  <a:lnTo>
                    <a:pt x="171450" y="257175"/>
                  </a:lnTo>
                  <a:cubicBezTo>
                    <a:pt x="171450" y="234447"/>
                    <a:pt x="180491" y="212638"/>
                    <a:pt x="196567" y="196567"/>
                  </a:cubicBezTo>
                  <a:cubicBezTo>
                    <a:pt x="212638" y="180497"/>
                    <a:pt x="234446" y="171450"/>
                    <a:pt x="257169" y="171450"/>
                  </a:cubicBezTo>
                  <a:lnTo>
                    <a:pt x="3600450" y="171450"/>
                  </a:lnTo>
                  <a:lnTo>
                    <a:pt x="3600450" y="1285875"/>
                  </a:lnTo>
                  <a:lnTo>
                    <a:pt x="5057775" y="1285875"/>
                  </a:lnTo>
                  <a:cubicBezTo>
                    <a:pt x="5171447" y="1285875"/>
                    <a:pt x="5280489" y="1331041"/>
                    <a:pt x="5360842" y="1411428"/>
                  </a:cubicBezTo>
                  <a:cubicBezTo>
                    <a:pt x="5441252" y="1491792"/>
                    <a:pt x="5486400" y="1600829"/>
                    <a:pt x="5486400" y="1714500"/>
                  </a:cubicBezTo>
                  <a:close/>
                </a:path>
              </a:pathLst>
            </a:custGeom>
            <a:solidFill>
              <a:schemeClr val="bg1"/>
            </a:solidFill>
            <a:ln w="57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sp>
        <p:nvSpPr>
          <p:cNvPr id="279" name="Graphic 18">
            <a:extLst>
              <a:ext uri="{FF2B5EF4-FFF2-40B4-BE49-F238E27FC236}">
                <a16:creationId xmlns:a16="http://schemas.microsoft.com/office/drawing/2014/main" id="{2A367188-584A-5BF1-73CB-45877D366AF5}"/>
              </a:ext>
            </a:extLst>
          </p:cNvPr>
          <p:cNvSpPr/>
          <p:nvPr/>
        </p:nvSpPr>
        <p:spPr>
          <a:xfrm>
            <a:off x="9456489" y="3810990"/>
            <a:ext cx="462728" cy="534342"/>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grpSp>
        <p:nvGrpSpPr>
          <p:cNvPr id="300" name="Group 299">
            <a:extLst>
              <a:ext uri="{FF2B5EF4-FFF2-40B4-BE49-F238E27FC236}">
                <a16:creationId xmlns:a16="http://schemas.microsoft.com/office/drawing/2014/main" id="{119E3E1B-E78B-20E5-DD52-C1631C3E49B7}"/>
              </a:ext>
            </a:extLst>
          </p:cNvPr>
          <p:cNvGrpSpPr/>
          <p:nvPr/>
        </p:nvGrpSpPr>
        <p:grpSpPr>
          <a:xfrm rot="10800000">
            <a:off x="8033986" y="2400085"/>
            <a:ext cx="176289" cy="674187"/>
            <a:chOff x="982713" y="2785138"/>
            <a:chExt cx="139179" cy="532267"/>
          </a:xfrm>
        </p:grpSpPr>
        <p:cxnSp>
          <p:nvCxnSpPr>
            <p:cNvPr id="301" name="Straight Connector 300">
              <a:extLst>
                <a:ext uri="{FF2B5EF4-FFF2-40B4-BE49-F238E27FC236}">
                  <a16:creationId xmlns:a16="http://schemas.microsoft.com/office/drawing/2014/main" id="{288F88C8-3E93-25C9-A126-2AC3E8D7E6C9}"/>
                </a:ext>
              </a:extLst>
            </p:cNvPr>
            <p:cNvCxnSpPr>
              <a:cxnSpLocks/>
            </p:cNvCxnSpPr>
            <p:nvPr/>
          </p:nvCxnSpPr>
          <p:spPr>
            <a:xfrm rot="10800000" flipH="1">
              <a:off x="1053793" y="2785138"/>
              <a:ext cx="4295" cy="478964"/>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02" name="Oval 301">
              <a:extLst>
                <a:ext uri="{FF2B5EF4-FFF2-40B4-BE49-F238E27FC236}">
                  <a16:creationId xmlns:a16="http://schemas.microsoft.com/office/drawing/2014/main" id="{B0BF9401-C01A-4626-C956-CA57BF00322A}"/>
                </a:ext>
              </a:extLst>
            </p:cNvPr>
            <p:cNvSpPr/>
            <p:nvPr/>
          </p:nvSpPr>
          <p:spPr>
            <a:xfrm>
              <a:off x="982713" y="3178228"/>
              <a:ext cx="139179" cy="139177"/>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a:ea typeface="+mn-ea"/>
                <a:cs typeface="+mn-cs"/>
              </a:endParaRPr>
            </a:p>
          </p:txBody>
        </p:sp>
      </p:grpSp>
      <p:grpSp>
        <p:nvGrpSpPr>
          <p:cNvPr id="312" name="Group 311">
            <a:extLst>
              <a:ext uri="{FF2B5EF4-FFF2-40B4-BE49-F238E27FC236}">
                <a16:creationId xmlns:a16="http://schemas.microsoft.com/office/drawing/2014/main" id="{171955A9-5357-5009-3EE4-49CEC824422D}"/>
              </a:ext>
            </a:extLst>
          </p:cNvPr>
          <p:cNvGrpSpPr/>
          <p:nvPr/>
        </p:nvGrpSpPr>
        <p:grpSpPr>
          <a:xfrm>
            <a:off x="2525375" y="3488564"/>
            <a:ext cx="176289" cy="388791"/>
            <a:chOff x="982713" y="3010457"/>
            <a:chExt cx="139179" cy="306948"/>
          </a:xfrm>
        </p:grpSpPr>
        <p:cxnSp>
          <p:nvCxnSpPr>
            <p:cNvPr id="313" name="Straight Connector 312">
              <a:extLst>
                <a:ext uri="{FF2B5EF4-FFF2-40B4-BE49-F238E27FC236}">
                  <a16:creationId xmlns:a16="http://schemas.microsoft.com/office/drawing/2014/main" id="{345196DF-A20D-0D96-C829-10940E5EC6C3}"/>
                </a:ext>
              </a:extLst>
            </p:cNvPr>
            <p:cNvCxnSpPr>
              <a:cxnSpLocks/>
            </p:cNvCxnSpPr>
            <p:nvPr/>
          </p:nvCxnSpPr>
          <p:spPr>
            <a:xfrm flipH="1" flipV="1">
              <a:off x="1052303" y="3010457"/>
              <a:ext cx="1489" cy="242074"/>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14" name="Oval 313">
              <a:extLst>
                <a:ext uri="{FF2B5EF4-FFF2-40B4-BE49-F238E27FC236}">
                  <a16:creationId xmlns:a16="http://schemas.microsoft.com/office/drawing/2014/main" id="{7A4ECFBF-3444-9A60-F86E-E03346EF9E41}"/>
                </a:ext>
              </a:extLst>
            </p:cNvPr>
            <p:cNvSpPr/>
            <p:nvPr/>
          </p:nvSpPr>
          <p:spPr>
            <a:xfrm>
              <a:off x="982713" y="3178228"/>
              <a:ext cx="139179" cy="139177"/>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a:ea typeface="+mn-ea"/>
                <a:cs typeface="+mn-cs"/>
              </a:endParaRPr>
            </a:p>
          </p:txBody>
        </p:sp>
      </p:grpSp>
      <p:grpSp>
        <p:nvGrpSpPr>
          <p:cNvPr id="315" name="Group 314">
            <a:extLst>
              <a:ext uri="{FF2B5EF4-FFF2-40B4-BE49-F238E27FC236}">
                <a16:creationId xmlns:a16="http://schemas.microsoft.com/office/drawing/2014/main" id="{B355404E-1730-097E-809E-2FD07CD6D81A}"/>
              </a:ext>
            </a:extLst>
          </p:cNvPr>
          <p:cNvGrpSpPr/>
          <p:nvPr/>
        </p:nvGrpSpPr>
        <p:grpSpPr>
          <a:xfrm>
            <a:off x="6846509" y="3488564"/>
            <a:ext cx="176289" cy="388791"/>
            <a:chOff x="982713" y="3010457"/>
            <a:chExt cx="139179" cy="306948"/>
          </a:xfrm>
        </p:grpSpPr>
        <p:cxnSp>
          <p:nvCxnSpPr>
            <p:cNvPr id="316" name="Straight Connector 315">
              <a:extLst>
                <a:ext uri="{FF2B5EF4-FFF2-40B4-BE49-F238E27FC236}">
                  <a16:creationId xmlns:a16="http://schemas.microsoft.com/office/drawing/2014/main" id="{FEF6FEDC-5D5A-2986-62F1-CB1087015178}"/>
                </a:ext>
              </a:extLst>
            </p:cNvPr>
            <p:cNvCxnSpPr>
              <a:cxnSpLocks/>
            </p:cNvCxnSpPr>
            <p:nvPr/>
          </p:nvCxnSpPr>
          <p:spPr>
            <a:xfrm flipH="1" flipV="1">
              <a:off x="1052303" y="3010457"/>
              <a:ext cx="1489" cy="242074"/>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17" name="Oval 316">
              <a:extLst>
                <a:ext uri="{FF2B5EF4-FFF2-40B4-BE49-F238E27FC236}">
                  <a16:creationId xmlns:a16="http://schemas.microsoft.com/office/drawing/2014/main" id="{048BE94C-E2A5-1541-5AC3-D64E52684215}"/>
                </a:ext>
              </a:extLst>
            </p:cNvPr>
            <p:cNvSpPr/>
            <p:nvPr/>
          </p:nvSpPr>
          <p:spPr>
            <a:xfrm>
              <a:off x="982713" y="3178228"/>
              <a:ext cx="139179" cy="139177"/>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a:ea typeface="+mn-ea"/>
                <a:cs typeface="+mn-cs"/>
              </a:endParaRPr>
            </a:p>
          </p:txBody>
        </p:sp>
      </p:grpSp>
      <p:grpSp>
        <p:nvGrpSpPr>
          <p:cNvPr id="318" name="Group 317">
            <a:extLst>
              <a:ext uri="{FF2B5EF4-FFF2-40B4-BE49-F238E27FC236}">
                <a16:creationId xmlns:a16="http://schemas.microsoft.com/office/drawing/2014/main" id="{147BD6DA-4E20-F6ED-74A9-939AF3EC1404}"/>
              </a:ext>
            </a:extLst>
          </p:cNvPr>
          <p:cNvGrpSpPr/>
          <p:nvPr/>
        </p:nvGrpSpPr>
        <p:grpSpPr>
          <a:xfrm>
            <a:off x="9915162" y="3488564"/>
            <a:ext cx="176289" cy="388791"/>
            <a:chOff x="982713" y="3010457"/>
            <a:chExt cx="139179" cy="306948"/>
          </a:xfrm>
        </p:grpSpPr>
        <p:cxnSp>
          <p:nvCxnSpPr>
            <p:cNvPr id="319" name="Straight Connector 318">
              <a:extLst>
                <a:ext uri="{FF2B5EF4-FFF2-40B4-BE49-F238E27FC236}">
                  <a16:creationId xmlns:a16="http://schemas.microsoft.com/office/drawing/2014/main" id="{6448799D-3D1F-EFD9-FFF6-6D3D159412B6}"/>
                </a:ext>
              </a:extLst>
            </p:cNvPr>
            <p:cNvCxnSpPr>
              <a:cxnSpLocks/>
            </p:cNvCxnSpPr>
            <p:nvPr/>
          </p:nvCxnSpPr>
          <p:spPr>
            <a:xfrm flipH="1" flipV="1">
              <a:off x="1052303" y="3010457"/>
              <a:ext cx="1489" cy="242074"/>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20" name="Oval 319">
              <a:extLst>
                <a:ext uri="{FF2B5EF4-FFF2-40B4-BE49-F238E27FC236}">
                  <a16:creationId xmlns:a16="http://schemas.microsoft.com/office/drawing/2014/main" id="{6296C653-EAF1-3205-FB97-2559B2FCE81D}"/>
                </a:ext>
              </a:extLst>
            </p:cNvPr>
            <p:cNvSpPr/>
            <p:nvPr/>
          </p:nvSpPr>
          <p:spPr>
            <a:xfrm>
              <a:off x="982713" y="3178228"/>
              <a:ext cx="139179" cy="139177"/>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a:ea typeface="+mn-ea"/>
                <a:cs typeface="+mn-cs"/>
              </a:endParaRPr>
            </a:p>
          </p:txBody>
        </p:sp>
      </p:grpSp>
      <p:sp>
        <p:nvSpPr>
          <p:cNvPr id="197" name="Rectangle 196">
            <a:extLst>
              <a:ext uri="{FF2B5EF4-FFF2-40B4-BE49-F238E27FC236}">
                <a16:creationId xmlns:a16="http://schemas.microsoft.com/office/drawing/2014/main" id="{122518BA-66B9-1917-F7D2-E840FEF169F4}"/>
              </a:ext>
            </a:extLst>
          </p:cNvPr>
          <p:cNvSpPr/>
          <p:nvPr/>
        </p:nvSpPr>
        <p:spPr>
          <a:xfrm>
            <a:off x="515937" y="5455816"/>
            <a:ext cx="8246031" cy="8797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Roboto"/>
              <a:ea typeface="+mn-ea"/>
              <a:cs typeface="+mn-cs"/>
            </a:endParaRPr>
          </a:p>
        </p:txBody>
      </p:sp>
      <p:grpSp>
        <p:nvGrpSpPr>
          <p:cNvPr id="10" name="Group 9">
            <a:extLst>
              <a:ext uri="{FF2B5EF4-FFF2-40B4-BE49-F238E27FC236}">
                <a16:creationId xmlns:a16="http://schemas.microsoft.com/office/drawing/2014/main" id="{2D194C49-2064-DEFD-0E4B-34AD233341D7}"/>
              </a:ext>
            </a:extLst>
          </p:cNvPr>
          <p:cNvGrpSpPr/>
          <p:nvPr/>
        </p:nvGrpSpPr>
        <p:grpSpPr>
          <a:xfrm>
            <a:off x="8082431" y="1729799"/>
            <a:ext cx="462728" cy="534342"/>
            <a:chOff x="7738482" y="1535374"/>
            <a:chExt cx="462728" cy="534342"/>
          </a:xfrm>
        </p:grpSpPr>
        <p:sp>
          <p:nvSpPr>
            <p:cNvPr id="242" name="Graphic 18">
              <a:extLst>
                <a:ext uri="{FF2B5EF4-FFF2-40B4-BE49-F238E27FC236}">
                  <a16:creationId xmlns:a16="http://schemas.microsoft.com/office/drawing/2014/main" id="{7EDD8376-FE5F-AE64-52ED-CACDC3B5D62C}"/>
                </a:ext>
              </a:extLst>
            </p:cNvPr>
            <p:cNvSpPr/>
            <p:nvPr/>
          </p:nvSpPr>
          <p:spPr>
            <a:xfrm>
              <a:off x="7738482" y="1535374"/>
              <a:ext cx="462728" cy="534342"/>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pic>
          <p:nvPicPr>
            <p:cNvPr id="408" name="Graphic 407">
              <a:extLst>
                <a:ext uri="{FF2B5EF4-FFF2-40B4-BE49-F238E27FC236}">
                  <a16:creationId xmlns:a16="http://schemas.microsoft.com/office/drawing/2014/main" id="{7E7777E9-4674-9B1A-4C18-D5B69207B900}"/>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824634" y="1629754"/>
              <a:ext cx="340731" cy="340731"/>
            </a:xfrm>
            <a:prstGeom prst="rect">
              <a:avLst/>
            </a:prstGeom>
          </p:spPr>
        </p:pic>
      </p:grpSp>
      <p:grpSp>
        <p:nvGrpSpPr>
          <p:cNvPr id="410" name="Group 409">
            <a:extLst>
              <a:ext uri="{FF2B5EF4-FFF2-40B4-BE49-F238E27FC236}">
                <a16:creationId xmlns:a16="http://schemas.microsoft.com/office/drawing/2014/main" id="{4B39CD7C-C553-8739-970E-4E3DC3FB4CDC}"/>
              </a:ext>
            </a:extLst>
          </p:cNvPr>
          <p:cNvGrpSpPr/>
          <p:nvPr/>
        </p:nvGrpSpPr>
        <p:grpSpPr>
          <a:xfrm>
            <a:off x="2068055" y="3941910"/>
            <a:ext cx="414740" cy="222106"/>
            <a:chOff x="1733550" y="1090612"/>
            <a:chExt cx="8729441" cy="4674869"/>
          </a:xfrm>
          <a:solidFill>
            <a:schemeClr val="bg1"/>
          </a:solidFill>
        </p:grpSpPr>
        <p:sp>
          <p:nvSpPr>
            <p:cNvPr id="411" name="Freeform: Shape 410">
              <a:extLst>
                <a:ext uri="{FF2B5EF4-FFF2-40B4-BE49-F238E27FC236}">
                  <a16:creationId xmlns:a16="http://schemas.microsoft.com/office/drawing/2014/main" id="{8973B218-A70B-6955-912E-D514AA8EED31}"/>
                </a:ext>
              </a:extLst>
            </p:cNvPr>
            <p:cNvSpPr/>
            <p:nvPr/>
          </p:nvSpPr>
          <p:spPr>
            <a:xfrm>
              <a:off x="5644540" y="1090612"/>
              <a:ext cx="833221" cy="833056"/>
            </a:xfrm>
            <a:custGeom>
              <a:avLst/>
              <a:gdLst>
                <a:gd name="connsiteX0" fmla="*/ 413455 w 833221"/>
                <a:gd name="connsiteY0" fmla="*/ 833057 h 833056"/>
                <a:gd name="connsiteX1" fmla="*/ 833222 w 833221"/>
                <a:gd name="connsiteY1" fmla="*/ 419767 h 833056"/>
                <a:gd name="connsiteX2" fmla="*/ 419932 w 833221"/>
                <a:gd name="connsiteY2" fmla="*/ 0 h 833056"/>
                <a:gd name="connsiteX3" fmla="*/ 165 w 833221"/>
                <a:gd name="connsiteY3" fmla="*/ 413290 h 833056"/>
                <a:gd name="connsiteX4" fmla="*/ 413455 w 833221"/>
                <a:gd name="connsiteY4" fmla="*/ 833057 h 833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221" h="833056">
                  <a:moveTo>
                    <a:pt x="413455" y="833057"/>
                  </a:moveTo>
                  <a:cubicBezTo>
                    <a:pt x="643008" y="833057"/>
                    <a:pt x="826745" y="649415"/>
                    <a:pt x="833222" y="419767"/>
                  </a:cubicBezTo>
                  <a:cubicBezTo>
                    <a:pt x="833222" y="190214"/>
                    <a:pt x="649580" y="0"/>
                    <a:pt x="419932" y="0"/>
                  </a:cubicBezTo>
                  <a:cubicBezTo>
                    <a:pt x="190284" y="0"/>
                    <a:pt x="165" y="183642"/>
                    <a:pt x="165" y="413290"/>
                  </a:cubicBezTo>
                  <a:cubicBezTo>
                    <a:pt x="-6407" y="642842"/>
                    <a:pt x="183807" y="826580"/>
                    <a:pt x="413455" y="833057"/>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12" name="Freeform: Shape 411">
              <a:extLst>
                <a:ext uri="{FF2B5EF4-FFF2-40B4-BE49-F238E27FC236}">
                  <a16:creationId xmlns:a16="http://schemas.microsoft.com/office/drawing/2014/main" id="{2AD13896-4F8F-78B9-06F4-B12225F4C731}"/>
                </a:ext>
              </a:extLst>
            </p:cNvPr>
            <p:cNvSpPr/>
            <p:nvPr/>
          </p:nvSpPr>
          <p:spPr>
            <a:xfrm>
              <a:off x="5047868" y="2617088"/>
              <a:ext cx="9525" cy="34670"/>
            </a:xfrm>
            <a:custGeom>
              <a:avLst/>
              <a:gdLst>
                <a:gd name="connsiteX0" fmla="*/ 0 w 9525"/>
                <a:gd name="connsiteY0" fmla="*/ 34671 h 34670"/>
                <a:gd name="connsiteX1" fmla="*/ 0 w 9525"/>
                <a:gd name="connsiteY1" fmla="*/ 13907 h 34670"/>
                <a:gd name="connsiteX2" fmla="*/ 0 w 9525"/>
                <a:gd name="connsiteY2" fmla="*/ 0 h 34670"/>
                <a:gd name="connsiteX3" fmla="*/ 0 w 9525"/>
                <a:gd name="connsiteY3" fmla="*/ 34671 h 34670"/>
              </a:gdLst>
              <a:ahLst/>
              <a:cxnLst>
                <a:cxn ang="0">
                  <a:pos x="connsiteX0" y="connsiteY0"/>
                </a:cxn>
                <a:cxn ang="0">
                  <a:pos x="connsiteX1" y="connsiteY1"/>
                </a:cxn>
                <a:cxn ang="0">
                  <a:pos x="connsiteX2" y="connsiteY2"/>
                </a:cxn>
                <a:cxn ang="0">
                  <a:pos x="connsiteX3" y="connsiteY3"/>
                </a:cxn>
              </a:cxnLst>
              <a:rect l="l" t="t" r="r" b="b"/>
              <a:pathLst>
                <a:path w="9525" h="34670">
                  <a:moveTo>
                    <a:pt x="0" y="34671"/>
                  </a:moveTo>
                  <a:cubicBezTo>
                    <a:pt x="0" y="27813"/>
                    <a:pt x="0" y="20860"/>
                    <a:pt x="0" y="13907"/>
                  </a:cubicBezTo>
                  <a:cubicBezTo>
                    <a:pt x="0" y="9239"/>
                    <a:pt x="0" y="4572"/>
                    <a:pt x="0" y="0"/>
                  </a:cubicBezTo>
                  <a:lnTo>
                    <a:pt x="0" y="34671"/>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13" name="Freeform: Shape 412">
              <a:extLst>
                <a:ext uri="{FF2B5EF4-FFF2-40B4-BE49-F238E27FC236}">
                  <a16:creationId xmlns:a16="http://schemas.microsoft.com/office/drawing/2014/main" id="{22D452ED-586E-7784-AEEC-C36AAB9A55C1}"/>
                </a:ext>
              </a:extLst>
            </p:cNvPr>
            <p:cNvSpPr/>
            <p:nvPr/>
          </p:nvSpPr>
          <p:spPr>
            <a:xfrm>
              <a:off x="5047868" y="2022873"/>
              <a:ext cx="2036795" cy="825006"/>
            </a:xfrm>
            <a:custGeom>
              <a:avLst/>
              <a:gdLst>
                <a:gd name="connsiteX0" fmla="*/ 2036636 w 2036795"/>
                <a:gd name="connsiteY0" fmla="*/ 434862 h 825006"/>
                <a:gd name="connsiteX1" fmla="*/ 1547908 w 2036795"/>
                <a:gd name="connsiteY1" fmla="*/ 32050 h 825006"/>
                <a:gd name="connsiteX2" fmla="*/ 1547908 w 2036795"/>
                <a:gd name="connsiteY2" fmla="*/ 32050 h 825006"/>
                <a:gd name="connsiteX3" fmla="*/ 478727 w 2036795"/>
                <a:gd name="connsiteY3" fmla="*/ 32050 h 825006"/>
                <a:gd name="connsiteX4" fmla="*/ 13049 w 2036795"/>
                <a:gd name="connsiteY4" fmla="*/ 445340 h 825006"/>
                <a:gd name="connsiteX5" fmla="*/ 0 w 2036795"/>
                <a:gd name="connsiteY5" fmla="*/ 608217 h 825006"/>
                <a:gd name="connsiteX6" fmla="*/ 13049 w 2036795"/>
                <a:gd name="connsiteY6" fmla="*/ 718898 h 825006"/>
                <a:gd name="connsiteX7" fmla="*/ 92012 w 2036795"/>
                <a:gd name="connsiteY7" fmla="*/ 825006 h 825006"/>
                <a:gd name="connsiteX8" fmla="*/ 1875949 w 2036795"/>
                <a:gd name="connsiteY8" fmla="*/ 825006 h 825006"/>
                <a:gd name="connsiteX9" fmla="*/ 1875949 w 2036795"/>
                <a:gd name="connsiteY9" fmla="*/ 823959 h 825006"/>
                <a:gd name="connsiteX10" fmla="*/ 1878235 w 2036795"/>
                <a:gd name="connsiteY10" fmla="*/ 825006 h 825006"/>
                <a:gd name="connsiteX11" fmla="*/ 2020253 w 2036795"/>
                <a:gd name="connsiteY11" fmla="*/ 633649 h 825006"/>
                <a:gd name="connsiteX12" fmla="*/ 2036636 w 2036795"/>
                <a:gd name="connsiteY12" fmla="*/ 434862 h 82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6795" h="825006">
                  <a:moveTo>
                    <a:pt x="2036636" y="434862"/>
                  </a:moveTo>
                  <a:cubicBezTo>
                    <a:pt x="1970913" y="137873"/>
                    <a:pt x="1849660" y="71388"/>
                    <a:pt x="1547908" y="32050"/>
                  </a:cubicBezTo>
                  <a:lnTo>
                    <a:pt x="1547908" y="32050"/>
                  </a:lnTo>
                  <a:cubicBezTo>
                    <a:pt x="1193673" y="-13861"/>
                    <a:pt x="832961" y="-7384"/>
                    <a:pt x="478727" y="32050"/>
                  </a:cubicBezTo>
                  <a:cubicBezTo>
                    <a:pt x="216313" y="64816"/>
                    <a:pt x="65437" y="202547"/>
                    <a:pt x="13049" y="445340"/>
                  </a:cubicBezTo>
                  <a:cubicBezTo>
                    <a:pt x="1429" y="497537"/>
                    <a:pt x="95" y="554877"/>
                    <a:pt x="0" y="608217"/>
                  </a:cubicBezTo>
                  <a:cubicBezTo>
                    <a:pt x="191" y="644222"/>
                    <a:pt x="1524" y="684131"/>
                    <a:pt x="13049" y="718898"/>
                  </a:cubicBezTo>
                  <a:cubicBezTo>
                    <a:pt x="26194" y="758236"/>
                    <a:pt x="59246" y="805289"/>
                    <a:pt x="92012" y="825006"/>
                  </a:cubicBezTo>
                  <a:lnTo>
                    <a:pt x="1875949" y="825006"/>
                  </a:lnTo>
                  <a:lnTo>
                    <a:pt x="1875949" y="823959"/>
                  </a:lnTo>
                  <a:cubicBezTo>
                    <a:pt x="1876711" y="824339"/>
                    <a:pt x="1877473" y="824625"/>
                    <a:pt x="1878235" y="825006"/>
                  </a:cubicBezTo>
                  <a:cubicBezTo>
                    <a:pt x="1961960" y="785192"/>
                    <a:pt x="2017586" y="646508"/>
                    <a:pt x="2020253" y="633649"/>
                  </a:cubicBezTo>
                  <a:cubicBezTo>
                    <a:pt x="2029682" y="587072"/>
                    <a:pt x="2038064" y="550401"/>
                    <a:pt x="2036636" y="434862"/>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14" name="Freeform: Shape 413">
              <a:extLst>
                <a:ext uri="{FF2B5EF4-FFF2-40B4-BE49-F238E27FC236}">
                  <a16:creationId xmlns:a16="http://schemas.microsoft.com/office/drawing/2014/main" id="{8F4BA4E1-6A0D-7318-5D55-6F481301B412}"/>
                </a:ext>
              </a:extLst>
            </p:cNvPr>
            <p:cNvSpPr/>
            <p:nvPr/>
          </p:nvSpPr>
          <p:spPr>
            <a:xfrm>
              <a:off x="2330221" y="4008214"/>
              <a:ext cx="833221" cy="833056"/>
            </a:xfrm>
            <a:custGeom>
              <a:avLst/>
              <a:gdLst>
                <a:gd name="connsiteX0" fmla="*/ 413455 w 833221"/>
                <a:gd name="connsiteY0" fmla="*/ 833056 h 833056"/>
                <a:gd name="connsiteX1" fmla="*/ 833222 w 833221"/>
                <a:gd name="connsiteY1" fmla="*/ 419767 h 833056"/>
                <a:gd name="connsiteX2" fmla="*/ 419932 w 833221"/>
                <a:gd name="connsiteY2" fmla="*/ 0 h 833056"/>
                <a:gd name="connsiteX3" fmla="*/ 165 w 833221"/>
                <a:gd name="connsiteY3" fmla="*/ 413290 h 833056"/>
                <a:gd name="connsiteX4" fmla="*/ 413455 w 833221"/>
                <a:gd name="connsiteY4" fmla="*/ 833056 h 833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221" h="833056">
                  <a:moveTo>
                    <a:pt x="413455" y="833056"/>
                  </a:moveTo>
                  <a:cubicBezTo>
                    <a:pt x="643008" y="833056"/>
                    <a:pt x="826745" y="649414"/>
                    <a:pt x="833222" y="419767"/>
                  </a:cubicBezTo>
                  <a:cubicBezTo>
                    <a:pt x="833222" y="190214"/>
                    <a:pt x="649580" y="0"/>
                    <a:pt x="419932" y="0"/>
                  </a:cubicBezTo>
                  <a:cubicBezTo>
                    <a:pt x="190284" y="0"/>
                    <a:pt x="165" y="183642"/>
                    <a:pt x="165" y="413290"/>
                  </a:cubicBezTo>
                  <a:cubicBezTo>
                    <a:pt x="-6407" y="642842"/>
                    <a:pt x="183807" y="826580"/>
                    <a:pt x="413455" y="833056"/>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15" name="Freeform: Shape 414">
              <a:extLst>
                <a:ext uri="{FF2B5EF4-FFF2-40B4-BE49-F238E27FC236}">
                  <a16:creationId xmlns:a16="http://schemas.microsoft.com/office/drawing/2014/main" id="{C150A116-3957-6303-8DC1-D998895C284F}"/>
                </a:ext>
              </a:extLst>
            </p:cNvPr>
            <p:cNvSpPr/>
            <p:nvPr/>
          </p:nvSpPr>
          <p:spPr>
            <a:xfrm>
              <a:off x="1733550" y="5534691"/>
              <a:ext cx="9525" cy="34670"/>
            </a:xfrm>
            <a:custGeom>
              <a:avLst/>
              <a:gdLst>
                <a:gd name="connsiteX0" fmla="*/ 0 w 9525"/>
                <a:gd name="connsiteY0" fmla="*/ 34671 h 34670"/>
                <a:gd name="connsiteX1" fmla="*/ 0 w 9525"/>
                <a:gd name="connsiteY1" fmla="*/ 13906 h 34670"/>
                <a:gd name="connsiteX2" fmla="*/ 0 w 9525"/>
                <a:gd name="connsiteY2" fmla="*/ 0 h 34670"/>
                <a:gd name="connsiteX3" fmla="*/ 0 w 9525"/>
                <a:gd name="connsiteY3" fmla="*/ 34671 h 34670"/>
              </a:gdLst>
              <a:ahLst/>
              <a:cxnLst>
                <a:cxn ang="0">
                  <a:pos x="connsiteX0" y="connsiteY0"/>
                </a:cxn>
                <a:cxn ang="0">
                  <a:pos x="connsiteX1" y="connsiteY1"/>
                </a:cxn>
                <a:cxn ang="0">
                  <a:pos x="connsiteX2" y="connsiteY2"/>
                </a:cxn>
                <a:cxn ang="0">
                  <a:pos x="connsiteX3" y="connsiteY3"/>
                </a:cxn>
              </a:cxnLst>
              <a:rect l="l" t="t" r="r" b="b"/>
              <a:pathLst>
                <a:path w="9525" h="34670">
                  <a:moveTo>
                    <a:pt x="0" y="34671"/>
                  </a:moveTo>
                  <a:cubicBezTo>
                    <a:pt x="0" y="27813"/>
                    <a:pt x="0" y="20860"/>
                    <a:pt x="0" y="13906"/>
                  </a:cubicBezTo>
                  <a:cubicBezTo>
                    <a:pt x="0" y="9239"/>
                    <a:pt x="0" y="4572"/>
                    <a:pt x="0" y="0"/>
                  </a:cubicBezTo>
                  <a:lnTo>
                    <a:pt x="0" y="34671"/>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16" name="Freeform: Shape 415">
              <a:extLst>
                <a:ext uri="{FF2B5EF4-FFF2-40B4-BE49-F238E27FC236}">
                  <a16:creationId xmlns:a16="http://schemas.microsoft.com/office/drawing/2014/main" id="{2DD6E602-933E-9C3C-1DBF-3CB79097816B}"/>
                </a:ext>
              </a:extLst>
            </p:cNvPr>
            <p:cNvSpPr/>
            <p:nvPr/>
          </p:nvSpPr>
          <p:spPr>
            <a:xfrm>
              <a:off x="1733550" y="4940475"/>
              <a:ext cx="2036795" cy="824911"/>
            </a:xfrm>
            <a:custGeom>
              <a:avLst/>
              <a:gdLst>
                <a:gd name="connsiteX0" fmla="*/ 2036636 w 2036795"/>
                <a:gd name="connsiteY0" fmla="*/ 434862 h 824911"/>
                <a:gd name="connsiteX1" fmla="*/ 1547908 w 2036795"/>
                <a:gd name="connsiteY1" fmla="*/ 32050 h 824911"/>
                <a:gd name="connsiteX2" fmla="*/ 1547908 w 2036795"/>
                <a:gd name="connsiteY2" fmla="*/ 32050 h 824911"/>
                <a:gd name="connsiteX3" fmla="*/ 478726 w 2036795"/>
                <a:gd name="connsiteY3" fmla="*/ 32050 h 824911"/>
                <a:gd name="connsiteX4" fmla="*/ 13049 w 2036795"/>
                <a:gd name="connsiteY4" fmla="*/ 445340 h 824911"/>
                <a:gd name="connsiteX5" fmla="*/ 0 w 2036795"/>
                <a:gd name="connsiteY5" fmla="*/ 608122 h 824911"/>
                <a:gd name="connsiteX6" fmla="*/ 13049 w 2036795"/>
                <a:gd name="connsiteY6" fmla="*/ 718802 h 824911"/>
                <a:gd name="connsiteX7" fmla="*/ 92012 w 2036795"/>
                <a:gd name="connsiteY7" fmla="*/ 824911 h 824911"/>
                <a:gd name="connsiteX8" fmla="*/ 1875949 w 2036795"/>
                <a:gd name="connsiteY8" fmla="*/ 824911 h 824911"/>
                <a:gd name="connsiteX9" fmla="*/ 1875949 w 2036795"/>
                <a:gd name="connsiteY9" fmla="*/ 823863 h 824911"/>
                <a:gd name="connsiteX10" fmla="*/ 1878235 w 2036795"/>
                <a:gd name="connsiteY10" fmla="*/ 824911 h 824911"/>
                <a:gd name="connsiteX11" fmla="*/ 2020253 w 2036795"/>
                <a:gd name="connsiteY11" fmla="*/ 633554 h 824911"/>
                <a:gd name="connsiteX12" fmla="*/ 2036636 w 2036795"/>
                <a:gd name="connsiteY12" fmla="*/ 434767 h 824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6795" h="824911">
                  <a:moveTo>
                    <a:pt x="2036636" y="434862"/>
                  </a:moveTo>
                  <a:cubicBezTo>
                    <a:pt x="1970913" y="137873"/>
                    <a:pt x="1849660" y="71388"/>
                    <a:pt x="1547908" y="32050"/>
                  </a:cubicBezTo>
                  <a:lnTo>
                    <a:pt x="1547908" y="32050"/>
                  </a:lnTo>
                  <a:cubicBezTo>
                    <a:pt x="1193673" y="-13860"/>
                    <a:pt x="832961" y="-7384"/>
                    <a:pt x="478726" y="32050"/>
                  </a:cubicBezTo>
                  <a:cubicBezTo>
                    <a:pt x="216313" y="64816"/>
                    <a:pt x="65437" y="202548"/>
                    <a:pt x="13049" y="445340"/>
                  </a:cubicBezTo>
                  <a:cubicBezTo>
                    <a:pt x="1524" y="497441"/>
                    <a:pt x="191" y="554782"/>
                    <a:pt x="0" y="608122"/>
                  </a:cubicBezTo>
                  <a:cubicBezTo>
                    <a:pt x="191" y="644126"/>
                    <a:pt x="1524" y="684036"/>
                    <a:pt x="13049" y="718802"/>
                  </a:cubicBezTo>
                  <a:cubicBezTo>
                    <a:pt x="26194" y="758141"/>
                    <a:pt x="59245" y="805194"/>
                    <a:pt x="92012" y="824911"/>
                  </a:cubicBezTo>
                  <a:lnTo>
                    <a:pt x="1875949" y="824911"/>
                  </a:lnTo>
                  <a:lnTo>
                    <a:pt x="1875949" y="823863"/>
                  </a:lnTo>
                  <a:cubicBezTo>
                    <a:pt x="1876711" y="824244"/>
                    <a:pt x="1877473" y="824530"/>
                    <a:pt x="1878235" y="824911"/>
                  </a:cubicBezTo>
                  <a:cubicBezTo>
                    <a:pt x="1961960" y="785096"/>
                    <a:pt x="2017586" y="646412"/>
                    <a:pt x="2020253" y="633554"/>
                  </a:cubicBezTo>
                  <a:cubicBezTo>
                    <a:pt x="2029682" y="586976"/>
                    <a:pt x="2038064" y="550305"/>
                    <a:pt x="2036636" y="434767"/>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17" name="Freeform: Shape 416">
              <a:extLst>
                <a:ext uri="{FF2B5EF4-FFF2-40B4-BE49-F238E27FC236}">
                  <a16:creationId xmlns:a16="http://schemas.microsoft.com/office/drawing/2014/main" id="{8603E191-2F90-DA4D-77BD-3A89DD25B5E0}"/>
                </a:ext>
              </a:extLst>
            </p:cNvPr>
            <p:cNvSpPr/>
            <p:nvPr/>
          </p:nvSpPr>
          <p:spPr>
            <a:xfrm>
              <a:off x="5676544" y="4008214"/>
              <a:ext cx="833221" cy="833056"/>
            </a:xfrm>
            <a:custGeom>
              <a:avLst/>
              <a:gdLst>
                <a:gd name="connsiteX0" fmla="*/ 413455 w 833221"/>
                <a:gd name="connsiteY0" fmla="*/ 833056 h 833056"/>
                <a:gd name="connsiteX1" fmla="*/ 833222 w 833221"/>
                <a:gd name="connsiteY1" fmla="*/ 419767 h 833056"/>
                <a:gd name="connsiteX2" fmla="*/ 419932 w 833221"/>
                <a:gd name="connsiteY2" fmla="*/ 0 h 833056"/>
                <a:gd name="connsiteX3" fmla="*/ 165 w 833221"/>
                <a:gd name="connsiteY3" fmla="*/ 413290 h 833056"/>
                <a:gd name="connsiteX4" fmla="*/ 413455 w 833221"/>
                <a:gd name="connsiteY4" fmla="*/ 833056 h 833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221" h="833056">
                  <a:moveTo>
                    <a:pt x="413455" y="833056"/>
                  </a:moveTo>
                  <a:cubicBezTo>
                    <a:pt x="643008" y="833056"/>
                    <a:pt x="826745" y="649414"/>
                    <a:pt x="833222" y="419767"/>
                  </a:cubicBezTo>
                  <a:cubicBezTo>
                    <a:pt x="833222" y="190214"/>
                    <a:pt x="649580" y="0"/>
                    <a:pt x="419932" y="0"/>
                  </a:cubicBezTo>
                  <a:cubicBezTo>
                    <a:pt x="190284" y="0"/>
                    <a:pt x="165" y="183642"/>
                    <a:pt x="165" y="413290"/>
                  </a:cubicBezTo>
                  <a:cubicBezTo>
                    <a:pt x="-6407" y="642842"/>
                    <a:pt x="183807" y="826580"/>
                    <a:pt x="413455" y="833056"/>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18" name="Freeform: Shape 417">
              <a:extLst>
                <a:ext uri="{FF2B5EF4-FFF2-40B4-BE49-F238E27FC236}">
                  <a16:creationId xmlns:a16="http://schemas.microsoft.com/office/drawing/2014/main" id="{DA4B866B-E7D5-E0FC-00C2-D2B733DBF0A6}"/>
                </a:ext>
              </a:extLst>
            </p:cNvPr>
            <p:cNvSpPr/>
            <p:nvPr/>
          </p:nvSpPr>
          <p:spPr>
            <a:xfrm>
              <a:off x="5079873" y="5534691"/>
              <a:ext cx="9525" cy="34670"/>
            </a:xfrm>
            <a:custGeom>
              <a:avLst/>
              <a:gdLst>
                <a:gd name="connsiteX0" fmla="*/ 0 w 9525"/>
                <a:gd name="connsiteY0" fmla="*/ 34671 h 34670"/>
                <a:gd name="connsiteX1" fmla="*/ 0 w 9525"/>
                <a:gd name="connsiteY1" fmla="*/ 13906 h 34670"/>
                <a:gd name="connsiteX2" fmla="*/ 0 w 9525"/>
                <a:gd name="connsiteY2" fmla="*/ 0 h 34670"/>
                <a:gd name="connsiteX3" fmla="*/ 0 w 9525"/>
                <a:gd name="connsiteY3" fmla="*/ 34671 h 34670"/>
              </a:gdLst>
              <a:ahLst/>
              <a:cxnLst>
                <a:cxn ang="0">
                  <a:pos x="connsiteX0" y="connsiteY0"/>
                </a:cxn>
                <a:cxn ang="0">
                  <a:pos x="connsiteX1" y="connsiteY1"/>
                </a:cxn>
                <a:cxn ang="0">
                  <a:pos x="connsiteX2" y="connsiteY2"/>
                </a:cxn>
                <a:cxn ang="0">
                  <a:pos x="connsiteX3" y="connsiteY3"/>
                </a:cxn>
              </a:cxnLst>
              <a:rect l="l" t="t" r="r" b="b"/>
              <a:pathLst>
                <a:path w="9525" h="34670">
                  <a:moveTo>
                    <a:pt x="0" y="34671"/>
                  </a:moveTo>
                  <a:cubicBezTo>
                    <a:pt x="0" y="27813"/>
                    <a:pt x="0" y="20860"/>
                    <a:pt x="0" y="13906"/>
                  </a:cubicBezTo>
                  <a:cubicBezTo>
                    <a:pt x="0" y="9239"/>
                    <a:pt x="0" y="4572"/>
                    <a:pt x="0" y="0"/>
                  </a:cubicBezTo>
                  <a:lnTo>
                    <a:pt x="0" y="34671"/>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19" name="Freeform: Shape 418">
              <a:extLst>
                <a:ext uri="{FF2B5EF4-FFF2-40B4-BE49-F238E27FC236}">
                  <a16:creationId xmlns:a16="http://schemas.microsoft.com/office/drawing/2014/main" id="{FA43898C-0BEC-83C2-E4B3-7B51070B0E58}"/>
                </a:ext>
              </a:extLst>
            </p:cNvPr>
            <p:cNvSpPr/>
            <p:nvPr/>
          </p:nvSpPr>
          <p:spPr>
            <a:xfrm>
              <a:off x="5079873" y="4940475"/>
              <a:ext cx="2036795" cy="825006"/>
            </a:xfrm>
            <a:custGeom>
              <a:avLst/>
              <a:gdLst>
                <a:gd name="connsiteX0" fmla="*/ 2036636 w 2036795"/>
                <a:gd name="connsiteY0" fmla="*/ 434862 h 825006"/>
                <a:gd name="connsiteX1" fmla="*/ 1547908 w 2036795"/>
                <a:gd name="connsiteY1" fmla="*/ 32050 h 825006"/>
                <a:gd name="connsiteX2" fmla="*/ 1547908 w 2036795"/>
                <a:gd name="connsiteY2" fmla="*/ 32050 h 825006"/>
                <a:gd name="connsiteX3" fmla="*/ 478726 w 2036795"/>
                <a:gd name="connsiteY3" fmla="*/ 32050 h 825006"/>
                <a:gd name="connsiteX4" fmla="*/ 13049 w 2036795"/>
                <a:gd name="connsiteY4" fmla="*/ 445340 h 825006"/>
                <a:gd name="connsiteX5" fmla="*/ 0 w 2036795"/>
                <a:gd name="connsiteY5" fmla="*/ 608217 h 825006"/>
                <a:gd name="connsiteX6" fmla="*/ 13049 w 2036795"/>
                <a:gd name="connsiteY6" fmla="*/ 718898 h 825006"/>
                <a:gd name="connsiteX7" fmla="*/ 92012 w 2036795"/>
                <a:gd name="connsiteY7" fmla="*/ 825006 h 825006"/>
                <a:gd name="connsiteX8" fmla="*/ 1875949 w 2036795"/>
                <a:gd name="connsiteY8" fmla="*/ 825006 h 825006"/>
                <a:gd name="connsiteX9" fmla="*/ 1875949 w 2036795"/>
                <a:gd name="connsiteY9" fmla="*/ 823958 h 825006"/>
                <a:gd name="connsiteX10" fmla="*/ 1878235 w 2036795"/>
                <a:gd name="connsiteY10" fmla="*/ 825006 h 825006"/>
                <a:gd name="connsiteX11" fmla="*/ 2020252 w 2036795"/>
                <a:gd name="connsiteY11" fmla="*/ 633649 h 825006"/>
                <a:gd name="connsiteX12" fmla="*/ 2036636 w 2036795"/>
                <a:gd name="connsiteY12" fmla="*/ 434862 h 82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6795" h="825006">
                  <a:moveTo>
                    <a:pt x="2036636" y="434862"/>
                  </a:moveTo>
                  <a:cubicBezTo>
                    <a:pt x="1970913" y="137873"/>
                    <a:pt x="1849660" y="71388"/>
                    <a:pt x="1547908" y="32050"/>
                  </a:cubicBezTo>
                  <a:lnTo>
                    <a:pt x="1547908" y="32050"/>
                  </a:lnTo>
                  <a:cubicBezTo>
                    <a:pt x="1193673" y="-13860"/>
                    <a:pt x="832961" y="-7384"/>
                    <a:pt x="478726" y="32050"/>
                  </a:cubicBezTo>
                  <a:cubicBezTo>
                    <a:pt x="216313" y="64816"/>
                    <a:pt x="65437" y="202548"/>
                    <a:pt x="13049" y="445340"/>
                  </a:cubicBezTo>
                  <a:cubicBezTo>
                    <a:pt x="1429" y="497537"/>
                    <a:pt x="95" y="554877"/>
                    <a:pt x="0" y="608217"/>
                  </a:cubicBezTo>
                  <a:cubicBezTo>
                    <a:pt x="190" y="644222"/>
                    <a:pt x="1524" y="684132"/>
                    <a:pt x="13049" y="718898"/>
                  </a:cubicBezTo>
                  <a:cubicBezTo>
                    <a:pt x="26194" y="758236"/>
                    <a:pt x="59246" y="805290"/>
                    <a:pt x="92012" y="825006"/>
                  </a:cubicBezTo>
                  <a:lnTo>
                    <a:pt x="1875949" y="825006"/>
                  </a:lnTo>
                  <a:lnTo>
                    <a:pt x="1875949" y="823958"/>
                  </a:lnTo>
                  <a:cubicBezTo>
                    <a:pt x="1876711" y="824340"/>
                    <a:pt x="1877473" y="824625"/>
                    <a:pt x="1878235" y="825006"/>
                  </a:cubicBezTo>
                  <a:cubicBezTo>
                    <a:pt x="1961959" y="785192"/>
                    <a:pt x="2017586" y="646508"/>
                    <a:pt x="2020252" y="633649"/>
                  </a:cubicBezTo>
                  <a:cubicBezTo>
                    <a:pt x="2029682" y="587072"/>
                    <a:pt x="2038064" y="550400"/>
                    <a:pt x="2036636" y="434862"/>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20" name="Freeform: Shape 419">
              <a:extLst>
                <a:ext uri="{FF2B5EF4-FFF2-40B4-BE49-F238E27FC236}">
                  <a16:creationId xmlns:a16="http://schemas.microsoft.com/office/drawing/2014/main" id="{79C8CF14-6197-10A6-AE1D-AB22F546CC1C}"/>
                </a:ext>
              </a:extLst>
            </p:cNvPr>
            <p:cNvSpPr/>
            <p:nvPr/>
          </p:nvSpPr>
          <p:spPr>
            <a:xfrm>
              <a:off x="9022867" y="4008214"/>
              <a:ext cx="833222" cy="833056"/>
            </a:xfrm>
            <a:custGeom>
              <a:avLst/>
              <a:gdLst>
                <a:gd name="connsiteX0" fmla="*/ 413455 w 833222"/>
                <a:gd name="connsiteY0" fmla="*/ 833056 h 833056"/>
                <a:gd name="connsiteX1" fmla="*/ 833222 w 833222"/>
                <a:gd name="connsiteY1" fmla="*/ 419767 h 833056"/>
                <a:gd name="connsiteX2" fmla="*/ 419932 w 833222"/>
                <a:gd name="connsiteY2" fmla="*/ 0 h 833056"/>
                <a:gd name="connsiteX3" fmla="*/ 165 w 833222"/>
                <a:gd name="connsiteY3" fmla="*/ 413290 h 833056"/>
                <a:gd name="connsiteX4" fmla="*/ 413455 w 833222"/>
                <a:gd name="connsiteY4" fmla="*/ 833056 h 833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222" h="833056">
                  <a:moveTo>
                    <a:pt x="413455" y="833056"/>
                  </a:moveTo>
                  <a:cubicBezTo>
                    <a:pt x="643008" y="833056"/>
                    <a:pt x="826745" y="649414"/>
                    <a:pt x="833222" y="419767"/>
                  </a:cubicBezTo>
                  <a:cubicBezTo>
                    <a:pt x="833222" y="190214"/>
                    <a:pt x="649580" y="0"/>
                    <a:pt x="419932" y="0"/>
                  </a:cubicBezTo>
                  <a:cubicBezTo>
                    <a:pt x="190285" y="0"/>
                    <a:pt x="165" y="183642"/>
                    <a:pt x="165" y="413290"/>
                  </a:cubicBezTo>
                  <a:cubicBezTo>
                    <a:pt x="-6407" y="642842"/>
                    <a:pt x="183808" y="826580"/>
                    <a:pt x="413455" y="833056"/>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21" name="Freeform: Shape 420">
              <a:extLst>
                <a:ext uri="{FF2B5EF4-FFF2-40B4-BE49-F238E27FC236}">
                  <a16:creationId xmlns:a16="http://schemas.microsoft.com/office/drawing/2014/main" id="{55B82738-5BD9-AC72-F7BC-444C914628E8}"/>
                </a:ext>
              </a:extLst>
            </p:cNvPr>
            <p:cNvSpPr/>
            <p:nvPr/>
          </p:nvSpPr>
          <p:spPr>
            <a:xfrm>
              <a:off x="8426196" y="5534691"/>
              <a:ext cx="9525" cy="34670"/>
            </a:xfrm>
            <a:custGeom>
              <a:avLst/>
              <a:gdLst>
                <a:gd name="connsiteX0" fmla="*/ 0 w 9525"/>
                <a:gd name="connsiteY0" fmla="*/ 34671 h 34670"/>
                <a:gd name="connsiteX1" fmla="*/ 0 w 9525"/>
                <a:gd name="connsiteY1" fmla="*/ 13906 h 34670"/>
                <a:gd name="connsiteX2" fmla="*/ 0 w 9525"/>
                <a:gd name="connsiteY2" fmla="*/ 0 h 34670"/>
                <a:gd name="connsiteX3" fmla="*/ 0 w 9525"/>
                <a:gd name="connsiteY3" fmla="*/ 34671 h 34670"/>
              </a:gdLst>
              <a:ahLst/>
              <a:cxnLst>
                <a:cxn ang="0">
                  <a:pos x="connsiteX0" y="connsiteY0"/>
                </a:cxn>
                <a:cxn ang="0">
                  <a:pos x="connsiteX1" y="connsiteY1"/>
                </a:cxn>
                <a:cxn ang="0">
                  <a:pos x="connsiteX2" y="connsiteY2"/>
                </a:cxn>
                <a:cxn ang="0">
                  <a:pos x="connsiteX3" y="connsiteY3"/>
                </a:cxn>
              </a:cxnLst>
              <a:rect l="l" t="t" r="r" b="b"/>
              <a:pathLst>
                <a:path w="9525" h="34670">
                  <a:moveTo>
                    <a:pt x="0" y="34671"/>
                  </a:moveTo>
                  <a:cubicBezTo>
                    <a:pt x="0" y="27813"/>
                    <a:pt x="0" y="20860"/>
                    <a:pt x="0" y="13906"/>
                  </a:cubicBezTo>
                  <a:cubicBezTo>
                    <a:pt x="0" y="9239"/>
                    <a:pt x="0" y="4572"/>
                    <a:pt x="0" y="0"/>
                  </a:cubicBezTo>
                  <a:lnTo>
                    <a:pt x="0" y="34671"/>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22" name="Freeform: Shape 421">
              <a:extLst>
                <a:ext uri="{FF2B5EF4-FFF2-40B4-BE49-F238E27FC236}">
                  <a16:creationId xmlns:a16="http://schemas.microsoft.com/office/drawing/2014/main" id="{23184065-4E35-8A7E-6BF0-324A81C9A555}"/>
                </a:ext>
              </a:extLst>
            </p:cNvPr>
            <p:cNvSpPr/>
            <p:nvPr/>
          </p:nvSpPr>
          <p:spPr>
            <a:xfrm>
              <a:off x="8426196" y="4940475"/>
              <a:ext cx="2036795" cy="825006"/>
            </a:xfrm>
            <a:custGeom>
              <a:avLst/>
              <a:gdLst>
                <a:gd name="connsiteX0" fmla="*/ 2036636 w 2036795"/>
                <a:gd name="connsiteY0" fmla="*/ 434862 h 825006"/>
                <a:gd name="connsiteX1" fmla="*/ 1547908 w 2036795"/>
                <a:gd name="connsiteY1" fmla="*/ 32050 h 825006"/>
                <a:gd name="connsiteX2" fmla="*/ 1547908 w 2036795"/>
                <a:gd name="connsiteY2" fmla="*/ 32050 h 825006"/>
                <a:gd name="connsiteX3" fmla="*/ 478727 w 2036795"/>
                <a:gd name="connsiteY3" fmla="*/ 32050 h 825006"/>
                <a:gd name="connsiteX4" fmla="*/ 13049 w 2036795"/>
                <a:gd name="connsiteY4" fmla="*/ 445340 h 825006"/>
                <a:gd name="connsiteX5" fmla="*/ 0 w 2036795"/>
                <a:gd name="connsiteY5" fmla="*/ 608217 h 825006"/>
                <a:gd name="connsiteX6" fmla="*/ 13049 w 2036795"/>
                <a:gd name="connsiteY6" fmla="*/ 718898 h 825006"/>
                <a:gd name="connsiteX7" fmla="*/ 92011 w 2036795"/>
                <a:gd name="connsiteY7" fmla="*/ 825006 h 825006"/>
                <a:gd name="connsiteX8" fmla="*/ 1875949 w 2036795"/>
                <a:gd name="connsiteY8" fmla="*/ 825006 h 825006"/>
                <a:gd name="connsiteX9" fmla="*/ 1875949 w 2036795"/>
                <a:gd name="connsiteY9" fmla="*/ 823958 h 825006"/>
                <a:gd name="connsiteX10" fmla="*/ 1878235 w 2036795"/>
                <a:gd name="connsiteY10" fmla="*/ 825006 h 825006"/>
                <a:gd name="connsiteX11" fmla="*/ 2020252 w 2036795"/>
                <a:gd name="connsiteY11" fmla="*/ 633649 h 825006"/>
                <a:gd name="connsiteX12" fmla="*/ 2036636 w 2036795"/>
                <a:gd name="connsiteY12" fmla="*/ 434862 h 82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6795" h="825006">
                  <a:moveTo>
                    <a:pt x="2036636" y="434862"/>
                  </a:moveTo>
                  <a:cubicBezTo>
                    <a:pt x="1970913" y="137873"/>
                    <a:pt x="1849660" y="71388"/>
                    <a:pt x="1547908" y="32050"/>
                  </a:cubicBezTo>
                  <a:lnTo>
                    <a:pt x="1547908" y="32050"/>
                  </a:lnTo>
                  <a:cubicBezTo>
                    <a:pt x="1193673" y="-13860"/>
                    <a:pt x="832961" y="-7384"/>
                    <a:pt x="478727" y="32050"/>
                  </a:cubicBezTo>
                  <a:cubicBezTo>
                    <a:pt x="216312" y="64816"/>
                    <a:pt x="65437" y="202548"/>
                    <a:pt x="13049" y="445340"/>
                  </a:cubicBezTo>
                  <a:cubicBezTo>
                    <a:pt x="1428" y="497537"/>
                    <a:pt x="95" y="554877"/>
                    <a:pt x="0" y="608217"/>
                  </a:cubicBezTo>
                  <a:cubicBezTo>
                    <a:pt x="190" y="644222"/>
                    <a:pt x="1524" y="684132"/>
                    <a:pt x="13049" y="718898"/>
                  </a:cubicBezTo>
                  <a:cubicBezTo>
                    <a:pt x="26194" y="758236"/>
                    <a:pt x="59245" y="805290"/>
                    <a:pt x="92011" y="825006"/>
                  </a:cubicBezTo>
                  <a:lnTo>
                    <a:pt x="1875949" y="825006"/>
                  </a:lnTo>
                  <a:lnTo>
                    <a:pt x="1875949" y="823958"/>
                  </a:lnTo>
                  <a:cubicBezTo>
                    <a:pt x="1876711" y="824340"/>
                    <a:pt x="1877473" y="824625"/>
                    <a:pt x="1878235" y="825006"/>
                  </a:cubicBezTo>
                  <a:cubicBezTo>
                    <a:pt x="1961959" y="785192"/>
                    <a:pt x="2017586" y="646508"/>
                    <a:pt x="2020252" y="633649"/>
                  </a:cubicBezTo>
                  <a:cubicBezTo>
                    <a:pt x="2029682" y="587072"/>
                    <a:pt x="2038064" y="550400"/>
                    <a:pt x="2036636" y="434862"/>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23" name="Freeform: Shape 422">
              <a:extLst>
                <a:ext uri="{FF2B5EF4-FFF2-40B4-BE49-F238E27FC236}">
                  <a16:creationId xmlns:a16="http://schemas.microsoft.com/office/drawing/2014/main" id="{DBA7782E-1167-BB6B-7A7C-15B97C0BAFB2}"/>
                </a:ext>
              </a:extLst>
            </p:cNvPr>
            <p:cNvSpPr/>
            <p:nvPr/>
          </p:nvSpPr>
          <p:spPr>
            <a:xfrm>
              <a:off x="3993667" y="2624422"/>
              <a:ext cx="833221" cy="833056"/>
            </a:xfrm>
            <a:custGeom>
              <a:avLst/>
              <a:gdLst>
                <a:gd name="connsiteX0" fmla="*/ 413455 w 833221"/>
                <a:gd name="connsiteY0" fmla="*/ 833057 h 833056"/>
                <a:gd name="connsiteX1" fmla="*/ 833222 w 833221"/>
                <a:gd name="connsiteY1" fmla="*/ 419767 h 833056"/>
                <a:gd name="connsiteX2" fmla="*/ 419932 w 833221"/>
                <a:gd name="connsiteY2" fmla="*/ 0 h 833056"/>
                <a:gd name="connsiteX3" fmla="*/ 165 w 833221"/>
                <a:gd name="connsiteY3" fmla="*/ 413290 h 833056"/>
                <a:gd name="connsiteX4" fmla="*/ 413455 w 833221"/>
                <a:gd name="connsiteY4" fmla="*/ 833057 h 833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221" h="833056">
                  <a:moveTo>
                    <a:pt x="413455" y="833057"/>
                  </a:moveTo>
                  <a:cubicBezTo>
                    <a:pt x="643008" y="833057"/>
                    <a:pt x="826745" y="649415"/>
                    <a:pt x="833222" y="419767"/>
                  </a:cubicBezTo>
                  <a:cubicBezTo>
                    <a:pt x="833222" y="190214"/>
                    <a:pt x="649580" y="0"/>
                    <a:pt x="419932" y="0"/>
                  </a:cubicBezTo>
                  <a:cubicBezTo>
                    <a:pt x="190284" y="0"/>
                    <a:pt x="165" y="183642"/>
                    <a:pt x="165" y="413290"/>
                  </a:cubicBezTo>
                  <a:cubicBezTo>
                    <a:pt x="-6407" y="642842"/>
                    <a:pt x="183807" y="826580"/>
                    <a:pt x="413455" y="833057"/>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24" name="Freeform: Shape 423">
              <a:extLst>
                <a:ext uri="{FF2B5EF4-FFF2-40B4-BE49-F238E27FC236}">
                  <a16:creationId xmlns:a16="http://schemas.microsoft.com/office/drawing/2014/main" id="{D24B9339-D047-32D9-9120-98B04B4561B4}"/>
                </a:ext>
              </a:extLst>
            </p:cNvPr>
            <p:cNvSpPr/>
            <p:nvPr/>
          </p:nvSpPr>
          <p:spPr>
            <a:xfrm>
              <a:off x="3396995" y="4150899"/>
              <a:ext cx="9525" cy="34670"/>
            </a:xfrm>
            <a:custGeom>
              <a:avLst/>
              <a:gdLst>
                <a:gd name="connsiteX0" fmla="*/ 0 w 9525"/>
                <a:gd name="connsiteY0" fmla="*/ 34671 h 34670"/>
                <a:gd name="connsiteX1" fmla="*/ 0 w 9525"/>
                <a:gd name="connsiteY1" fmla="*/ 13906 h 34670"/>
                <a:gd name="connsiteX2" fmla="*/ 0 w 9525"/>
                <a:gd name="connsiteY2" fmla="*/ 0 h 34670"/>
                <a:gd name="connsiteX3" fmla="*/ 0 w 9525"/>
                <a:gd name="connsiteY3" fmla="*/ 34671 h 34670"/>
              </a:gdLst>
              <a:ahLst/>
              <a:cxnLst>
                <a:cxn ang="0">
                  <a:pos x="connsiteX0" y="connsiteY0"/>
                </a:cxn>
                <a:cxn ang="0">
                  <a:pos x="connsiteX1" y="connsiteY1"/>
                </a:cxn>
                <a:cxn ang="0">
                  <a:pos x="connsiteX2" y="connsiteY2"/>
                </a:cxn>
                <a:cxn ang="0">
                  <a:pos x="connsiteX3" y="connsiteY3"/>
                </a:cxn>
              </a:cxnLst>
              <a:rect l="l" t="t" r="r" b="b"/>
              <a:pathLst>
                <a:path w="9525" h="34670">
                  <a:moveTo>
                    <a:pt x="0" y="34671"/>
                  </a:moveTo>
                  <a:cubicBezTo>
                    <a:pt x="0" y="27813"/>
                    <a:pt x="0" y="20860"/>
                    <a:pt x="0" y="13906"/>
                  </a:cubicBezTo>
                  <a:cubicBezTo>
                    <a:pt x="0" y="9239"/>
                    <a:pt x="0" y="4572"/>
                    <a:pt x="0" y="0"/>
                  </a:cubicBezTo>
                  <a:lnTo>
                    <a:pt x="0" y="34671"/>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25" name="Freeform: Shape 424">
              <a:extLst>
                <a:ext uri="{FF2B5EF4-FFF2-40B4-BE49-F238E27FC236}">
                  <a16:creationId xmlns:a16="http://schemas.microsoft.com/office/drawing/2014/main" id="{7F9AD74B-580A-ACC3-434B-5D3857D115D9}"/>
                </a:ext>
              </a:extLst>
            </p:cNvPr>
            <p:cNvSpPr/>
            <p:nvPr/>
          </p:nvSpPr>
          <p:spPr>
            <a:xfrm>
              <a:off x="3396995" y="3556683"/>
              <a:ext cx="2036795" cy="825006"/>
            </a:xfrm>
            <a:custGeom>
              <a:avLst/>
              <a:gdLst>
                <a:gd name="connsiteX0" fmla="*/ 2036635 w 2036795"/>
                <a:gd name="connsiteY0" fmla="*/ 434862 h 825006"/>
                <a:gd name="connsiteX1" fmla="*/ 1547908 w 2036795"/>
                <a:gd name="connsiteY1" fmla="*/ 32050 h 825006"/>
                <a:gd name="connsiteX2" fmla="*/ 1547908 w 2036795"/>
                <a:gd name="connsiteY2" fmla="*/ 32050 h 825006"/>
                <a:gd name="connsiteX3" fmla="*/ 478726 w 2036795"/>
                <a:gd name="connsiteY3" fmla="*/ 32050 h 825006"/>
                <a:gd name="connsiteX4" fmla="*/ 13049 w 2036795"/>
                <a:gd name="connsiteY4" fmla="*/ 445340 h 825006"/>
                <a:gd name="connsiteX5" fmla="*/ 0 w 2036795"/>
                <a:gd name="connsiteY5" fmla="*/ 608217 h 825006"/>
                <a:gd name="connsiteX6" fmla="*/ 13049 w 2036795"/>
                <a:gd name="connsiteY6" fmla="*/ 718898 h 825006"/>
                <a:gd name="connsiteX7" fmla="*/ 92012 w 2036795"/>
                <a:gd name="connsiteY7" fmla="*/ 825006 h 825006"/>
                <a:gd name="connsiteX8" fmla="*/ 1875949 w 2036795"/>
                <a:gd name="connsiteY8" fmla="*/ 825006 h 825006"/>
                <a:gd name="connsiteX9" fmla="*/ 1875949 w 2036795"/>
                <a:gd name="connsiteY9" fmla="*/ 823958 h 825006"/>
                <a:gd name="connsiteX10" fmla="*/ 1878235 w 2036795"/>
                <a:gd name="connsiteY10" fmla="*/ 825006 h 825006"/>
                <a:gd name="connsiteX11" fmla="*/ 2020252 w 2036795"/>
                <a:gd name="connsiteY11" fmla="*/ 633649 h 825006"/>
                <a:gd name="connsiteX12" fmla="*/ 2036635 w 2036795"/>
                <a:gd name="connsiteY12" fmla="*/ 434862 h 82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6795" h="825006">
                  <a:moveTo>
                    <a:pt x="2036635" y="434862"/>
                  </a:moveTo>
                  <a:cubicBezTo>
                    <a:pt x="1970913" y="137873"/>
                    <a:pt x="1849660" y="71388"/>
                    <a:pt x="1547908" y="32050"/>
                  </a:cubicBezTo>
                  <a:lnTo>
                    <a:pt x="1547908" y="32050"/>
                  </a:lnTo>
                  <a:cubicBezTo>
                    <a:pt x="1193673" y="-13860"/>
                    <a:pt x="832961" y="-7384"/>
                    <a:pt x="478726" y="32050"/>
                  </a:cubicBezTo>
                  <a:cubicBezTo>
                    <a:pt x="216313" y="64816"/>
                    <a:pt x="65437" y="202548"/>
                    <a:pt x="13049" y="445340"/>
                  </a:cubicBezTo>
                  <a:cubicBezTo>
                    <a:pt x="1429" y="497537"/>
                    <a:pt x="95" y="554877"/>
                    <a:pt x="0" y="608217"/>
                  </a:cubicBezTo>
                  <a:cubicBezTo>
                    <a:pt x="191" y="644222"/>
                    <a:pt x="1524" y="684132"/>
                    <a:pt x="13049" y="718898"/>
                  </a:cubicBezTo>
                  <a:cubicBezTo>
                    <a:pt x="26194" y="758236"/>
                    <a:pt x="59246" y="805290"/>
                    <a:pt x="92012" y="825006"/>
                  </a:cubicBezTo>
                  <a:lnTo>
                    <a:pt x="1875949" y="825006"/>
                  </a:lnTo>
                  <a:lnTo>
                    <a:pt x="1875949" y="823958"/>
                  </a:lnTo>
                  <a:cubicBezTo>
                    <a:pt x="1876711" y="824340"/>
                    <a:pt x="1877473" y="824625"/>
                    <a:pt x="1878235" y="825006"/>
                  </a:cubicBezTo>
                  <a:cubicBezTo>
                    <a:pt x="1961960" y="785192"/>
                    <a:pt x="2017585" y="646508"/>
                    <a:pt x="2020252" y="633649"/>
                  </a:cubicBezTo>
                  <a:cubicBezTo>
                    <a:pt x="2029682" y="587072"/>
                    <a:pt x="2038064" y="550400"/>
                    <a:pt x="2036635" y="434862"/>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26" name="Freeform: Shape 425">
              <a:extLst>
                <a:ext uri="{FF2B5EF4-FFF2-40B4-BE49-F238E27FC236}">
                  <a16:creationId xmlns:a16="http://schemas.microsoft.com/office/drawing/2014/main" id="{752D8C71-7089-B190-111D-309483C67D25}"/>
                </a:ext>
              </a:extLst>
            </p:cNvPr>
            <p:cNvSpPr/>
            <p:nvPr/>
          </p:nvSpPr>
          <p:spPr>
            <a:xfrm>
              <a:off x="7339990" y="2624422"/>
              <a:ext cx="833222" cy="833056"/>
            </a:xfrm>
            <a:custGeom>
              <a:avLst/>
              <a:gdLst>
                <a:gd name="connsiteX0" fmla="*/ 413455 w 833222"/>
                <a:gd name="connsiteY0" fmla="*/ 833057 h 833056"/>
                <a:gd name="connsiteX1" fmla="*/ 833222 w 833222"/>
                <a:gd name="connsiteY1" fmla="*/ 419767 h 833056"/>
                <a:gd name="connsiteX2" fmla="*/ 419932 w 833222"/>
                <a:gd name="connsiteY2" fmla="*/ 0 h 833056"/>
                <a:gd name="connsiteX3" fmla="*/ 165 w 833222"/>
                <a:gd name="connsiteY3" fmla="*/ 413290 h 833056"/>
                <a:gd name="connsiteX4" fmla="*/ 413455 w 833222"/>
                <a:gd name="connsiteY4" fmla="*/ 833057 h 833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222" h="833056">
                  <a:moveTo>
                    <a:pt x="413455" y="833057"/>
                  </a:moveTo>
                  <a:cubicBezTo>
                    <a:pt x="643008" y="833057"/>
                    <a:pt x="826745" y="649415"/>
                    <a:pt x="833222" y="419767"/>
                  </a:cubicBezTo>
                  <a:cubicBezTo>
                    <a:pt x="833222" y="190214"/>
                    <a:pt x="649580" y="0"/>
                    <a:pt x="419932" y="0"/>
                  </a:cubicBezTo>
                  <a:cubicBezTo>
                    <a:pt x="190285" y="0"/>
                    <a:pt x="165" y="183642"/>
                    <a:pt x="165" y="413290"/>
                  </a:cubicBezTo>
                  <a:cubicBezTo>
                    <a:pt x="-6407" y="642842"/>
                    <a:pt x="183808" y="826580"/>
                    <a:pt x="413455" y="833057"/>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27" name="Freeform: Shape 426">
              <a:extLst>
                <a:ext uri="{FF2B5EF4-FFF2-40B4-BE49-F238E27FC236}">
                  <a16:creationId xmlns:a16="http://schemas.microsoft.com/office/drawing/2014/main" id="{071F1D47-B50C-6BCE-B6AD-9DE7EDC27ADA}"/>
                </a:ext>
              </a:extLst>
            </p:cNvPr>
            <p:cNvSpPr/>
            <p:nvPr/>
          </p:nvSpPr>
          <p:spPr>
            <a:xfrm>
              <a:off x="6743319" y="4150899"/>
              <a:ext cx="9525" cy="34670"/>
            </a:xfrm>
            <a:custGeom>
              <a:avLst/>
              <a:gdLst>
                <a:gd name="connsiteX0" fmla="*/ 0 w 9525"/>
                <a:gd name="connsiteY0" fmla="*/ 34671 h 34670"/>
                <a:gd name="connsiteX1" fmla="*/ 0 w 9525"/>
                <a:gd name="connsiteY1" fmla="*/ 13906 h 34670"/>
                <a:gd name="connsiteX2" fmla="*/ 0 w 9525"/>
                <a:gd name="connsiteY2" fmla="*/ 0 h 34670"/>
                <a:gd name="connsiteX3" fmla="*/ 0 w 9525"/>
                <a:gd name="connsiteY3" fmla="*/ 34671 h 34670"/>
              </a:gdLst>
              <a:ahLst/>
              <a:cxnLst>
                <a:cxn ang="0">
                  <a:pos x="connsiteX0" y="connsiteY0"/>
                </a:cxn>
                <a:cxn ang="0">
                  <a:pos x="connsiteX1" y="connsiteY1"/>
                </a:cxn>
                <a:cxn ang="0">
                  <a:pos x="connsiteX2" y="connsiteY2"/>
                </a:cxn>
                <a:cxn ang="0">
                  <a:pos x="connsiteX3" y="connsiteY3"/>
                </a:cxn>
              </a:cxnLst>
              <a:rect l="l" t="t" r="r" b="b"/>
              <a:pathLst>
                <a:path w="9525" h="34670">
                  <a:moveTo>
                    <a:pt x="0" y="34671"/>
                  </a:moveTo>
                  <a:cubicBezTo>
                    <a:pt x="0" y="27813"/>
                    <a:pt x="0" y="20860"/>
                    <a:pt x="0" y="13906"/>
                  </a:cubicBezTo>
                  <a:cubicBezTo>
                    <a:pt x="0" y="9239"/>
                    <a:pt x="0" y="4572"/>
                    <a:pt x="0" y="0"/>
                  </a:cubicBezTo>
                  <a:lnTo>
                    <a:pt x="0" y="34671"/>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28" name="Freeform: Shape 427">
              <a:extLst>
                <a:ext uri="{FF2B5EF4-FFF2-40B4-BE49-F238E27FC236}">
                  <a16:creationId xmlns:a16="http://schemas.microsoft.com/office/drawing/2014/main" id="{5ADDA134-5685-1F8E-9536-C8DE158E854C}"/>
                </a:ext>
              </a:extLst>
            </p:cNvPr>
            <p:cNvSpPr/>
            <p:nvPr/>
          </p:nvSpPr>
          <p:spPr>
            <a:xfrm>
              <a:off x="6743319" y="3556683"/>
              <a:ext cx="2036795" cy="825006"/>
            </a:xfrm>
            <a:custGeom>
              <a:avLst/>
              <a:gdLst>
                <a:gd name="connsiteX0" fmla="*/ 2036636 w 2036795"/>
                <a:gd name="connsiteY0" fmla="*/ 434862 h 825006"/>
                <a:gd name="connsiteX1" fmla="*/ 1547907 w 2036795"/>
                <a:gd name="connsiteY1" fmla="*/ 32050 h 825006"/>
                <a:gd name="connsiteX2" fmla="*/ 1547907 w 2036795"/>
                <a:gd name="connsiteY2" fmla="*/ 32050 h 825006"/>
                <a:gd name="connsiteX3" fmla="*/ 478726 w 2036795"/>
                <a:gd name="connsiteY3" fmla="*/ 32050 h 825006"/>
                <a:gd name="connsiteX4" fmla="*/ 13049 w 2036795"/>
                <a:gd name="connsiteY4" fmla="*/ 445340 h 825006"/>
                <a:gd name="connsiteX5" fmla="*/ 0 w 2036795"/>
                <a:gd name="connsiteY5" fmla="*/ 608217 h 825006"/>
                <a:gd name="connsiteX6" fmla="*/ 13049 w 2036795"/>
                <a:gd name="connsiteY6" fmla="*/ 718898 h 825006"/>
                <a:gd name="connsiteX7" fmla="*/ 92011 w 2036795"/>
                <a:gd name="connsiteY7" fmla="*/ 825006 h 825006"/>
                <a:gd name="connsiteX8" fmla="*/ 1875948 w 2036795"/>
                <a:gd name="connsiteY8" fmla="*/ 825006 h 825006"/>
                <a:gd name="connsiteX9" fmla="*/ 1875948 w 2036795"/>
                <a:gd name="connsiteY9" fmla="*/ 823958 h 825006"/>
                <a:gd name="connsiteX10" fmla="*/ 1878235 w 2036795"/>
                <a:gd name="connsiteY10" fmla="*/ 825006 h 825006"/>
                <a:gd name="connsiteX11" fmla="*/ 2020252 w 2036795"/>
                <a:gd name="connsiteY11" fmla="*/ 633649 h 825006"/>
                <a:gd name="connsiteX12" fmla="*/ 2036636 w 2036795"/>
                <a:gd name="connsiteY12" fmla="*/ 434862 h 82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6795" h="825006">
                  <a:moveTo>
                    <a:pt x="2036636" y="434862"/>
                  </a:moveTo>
                  <a:cubicBezTo>
                    <a:pt x="1970913" y="137873"/>
                    <a:pt x="1849660" y="71388"/>
                    <a:pt x="1547907" y="32050"/>
                  </a:cubicBezTo>
                  <a:lnTo>
                    <a:pt x="1547907" y="32050"/>
                  </a:lnTo>
                  <a:cubicBezTo>
                    <a:pt x="1193673" y="-13860"/>
                    <a:pt x="832961" y="-7384"/>
                    <a:pt x="478726" y="32050"/>
                  </a:cubicBezTo>
                  <a:cubicBezTo>
                    <a:pt x="216312" y="64816"/>
                    <a:pt x="65437" y="202548"/>
                    <a:pt x="13049" y="445340"/>
                  </a:cubicBezTo>
                  <a:cubicBezTo>
                    <a:pt x="1428" y="497537"/>
                    <a:pt x="95" y="554877"/>
                    <a:pt x="0" y="608217"/>
                  </a:cubicBezTo>
                  <a:cubicBezTo>
                    <a:pt x="190" y="644222"/>
                    <a:pt x="1524" y="684132"/>
                    <a:pt x="13049" y="718898"/>
                  </a:cubicBezTo>
                  <a:cubicBezTo>
                    <a:pt x="26194" y="758236"/>
                    <a:pt x="59245" y="805290"/>
                    <a:pt x="92011" y="825006"/>
                  </a:cubicBezTo>
                  <a:lnTo>
                    <a:pt x="1875948" y="825006"/>
                  </a:lnTo>
                  <a:lnTo>
                    <a:pt x="1875948" y="823958"/>
                  </a:lnTo>
                  <a:cubicBezTo>
                    <a:pt x="1876711" y="824340"/>
                    <a:pt x="1877473" y="824625"/>
                    <a:pt x="1878235" y="825006"/>
                  </a:cubicBezTo>
                  <a:cubicBezTo>
                    <a:pt x="1961959" y="785192"/>
                    <a:pt x="2017586" y="646508"/>
                    <a:pt x="2020252" y="633649"/>
                  </a:cubicBezTo>
                  <a:cubicBezTo>
                    <a:pt x="2029682" y="587072"/>
                    <a:pt x="2038064" y="550400"/>
                    <a:pt x="2036636" y="434862"/>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grpSp>
        <p:nvGrpSpPr>
          <p:cNvPr id="429" name="Group 428">
            <a:extLst>
              <a:ext uri="{FF2B5EF4-FFF2-40B4-BE49-F238E27FC236}">
                <a16:creationId xmlns:a16="http://schemas.microsoft.com/office/drawing/2014/main" id="{69DC9028-1108-F39F-3841-DD4D1E4ACECE}"/>
              </a:ext>
            </a:extLst>
          </p:cNvPr>
          <p:cNvGrpSpPr/>
          <p:nvPr/>
        </p:nvGrpSpPr>
        <p:grpSpPr>
          <a:xfrm>
            <a:off x="9480483" y="3935396"/>
            <a:ext cx="414740" cy="222106"/>
            <a:chOff x="1733550" y="1090612"/>
            <a:chExt cx="8729441" cy="4674869"/>
          </a:xfrm>
          <a:solidFill>
            <a:schemeClr val="bg1"/>
          </a:solidFill>
        </p:grpSpPr>
        <p:sp>
          <p:nvSpPr>
            <p:cNvPr id="430" name="Freeform: Shape 429">
              <a:extLst>
                <a:ext uri="{FF2B5EF4-FFF2-40B4-BE49-F238E27FC236}">
                  <a16:creationId xmlns:a16="http://schemas.microsoft.com/office/drawing/2014/main" id="{0A2D8652-673B-64FA-136B-55E5741F601D}"/>
                </a:ext>
              </a:extLst>
            </p:cNvPr>
            <p:cNvSpPr/>
            <p:nvPr/>
          </p:nvSpPr>
          <p:spPr>
            <a:xfrm>
              <a:off x="5644540" y="1090612"/>
              <a:ext cx="833221" cy="833056"/>
            </a:xfrm>
            <a:custGeom>
              <a:avLst/>
              <a:gdLst>
                <a:gd name="connsiteX0" fmla="*/ 413455 w 833221"/>
                <a:gd name="connsiteY0" fmla="*/ 833057 h 833056"/>
                <a:gd name="connsiteX1" fmla="*/ 833222 w 833221"/>
                <a:gd name="connsiteY1" fmla="*/ 419767 h 833056"/>
                <a:gd name="connsiteX2" fmla="*/ 419932 w 833221"/>
                <a:gd name="connsiteY2" fmla="*/ 0 h 833056"/>
                <a:gd name="connsiteX3" fmla="*/ 165 w 833221"/>
                <a:gd name="connsiteY3" fmla="*/ 413290 h 833056"/>
                <a:gd name="connsiteX4" fmla="*/ 413455 w 833221"/>
                <a:gd name="connsiteY4" fmla="*/ 833057 h 833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221" h="833056">
                  <a:moveTo>
                    <a:pt x="413455" y="833057"/>
                  </a:moveTo>
                  <a:cubicBezTo>
                    <a:pt x="643008" y="833057"/>
                    <a:pt x="826745" y="649415"/>
                    <a:pt x="833222" y="419767"/>
                  </a:cubicBezTo>
                  <a:cubicBezTo>
                    <a:pt x="833222" y="190214"/>
                    <a:pt x="649580" y="0"/>
                    <a:pt x="419932" y="0"/>
                  </a:cubicBezTo>
                  <a:cubicBezTo>
                    <a:pt x="190284" y="0"/>
                    <a:pt x="165" y="183642"/>
                    <a:pt x="165" y="413290"/>
                  </a:cubicBezTo>
                  <a:cubicBezTo>
                    <a:pt x="-6407" y="642842"/>
                    <a:pt x="183807" y="826580"/>
                    <a:pt x="413455" y="833057"/>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31" name="Freeform: Shape 430">
              <a:extLst>
                <a:ext uri="{FF2B5EF4-FFF2-40B4-BE49-F238E27FC236}">
                  <a16:creationId xmlns:a16="http://schemas.microsoft.com/office/drawing/2014/main" id="{027D9F61-052C-CD86-C358-FB68E4582762}"/>
                </a:ext>
              </a:extLst>
            </p:cNvPr>
            <p:cNvSpPr/>
            <p:nvPr/>
          </p:nvSpPr>
          <p:spPr>
            <a:xfrm>
              <a:off x="5047868" y="2617088"/>
              <a:ext cx="9525" cy="34670"/>
            </a:xfrm>
            <a:custGeom>
              <a:avLst/>
              <a:gdLst>
                <a:gd name="connsiteX0" fmla="*/ 0 w 9525"/>
                <a:gd name="connsiteY0" fmla="*/ 34671 h 34670"/>
                <a:gd name="connsiteX1" fmla="*/ 0 w 9525"/>
                <a:gd name="connsiteY1" fmla="*/ 13907 h 34670"/>
                <a:gd name="connsiteX2" fmla="*/ 0 w 9525"/>
                <a:gd name="connsiteY2" fmla="*/ 0 h 34670"/>
                <a:gd name="connsiteX3" fmla="*/ 0 w 9525"/>
                <a:gd name="connsiteY3" fmla="*/ 34671 h 34670"/>
              </a:gdLst>
              <a:ahLst/>
              <a:cxnLst>
                <a:cxn ang="0">
                  <a:pos x="connsiteX0" y="connsiteY0"/>
                </a:cxn>
                <a:cxn ang="0">
                  <a:pos x="connsiteX1" y="connsiteY1"/>
                </a:cxn>
                <a:cxn ang="0">
                  <a:pos x="connsiteX2" y="connsiteY2"/>
                </a:cxn>
                <a:cxn ang="0">
                  <a:pos x="connsiteX3" y="connsiteY3"/>
                </a:cxn>
              </a:cxnLst>
              <a:rect l="l" t="t" r="r" b="b"/>
              <a:pathLst>
                <a:path w="9525" h="34670">
                  <a:moveTo>
                    <a:pt x="0" y="34671"/>
                  </a:moveTo>
                  <a:cubicBezTo>
                    <a:pt x="0" y="27813"/>
                    <a:pt x="0" y="20860"/>
                    <a:pt x="0" y="13907"/>
                  </a:cubicBezTo>
                  <a:cubicBezTo>
                    <a:pt x="0" y="9239"/>
                    <a:pt x="0" y="4572"/>
                    <a:pt x="0" y="0"/>
                  </a:cubicBezTo>
                  <a:lnTo>
                    <a:pt x="0" y="34671"/>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32" name="Freeform: Shape 431">
              <a:extLst>
                <a:ext uri="{FF2B5EF4-FFF2-40B4-BE49-F238E27FC236}">
                  <a16:creationId xmlns:a16="http://schemas.microsoft.com/office/drawing/2014/main" id="{31EEAE93-AC0D-6E57-E662-79501B071C79}"/>
                </a:ext>
              </a:extLst>
            </p:cNvPr>
            <p:cNvSpPr/>
            <p:nvPr/>
          </p:nvSpPr>
          <p:spPr>
            <a:xfrm>
              <a:off x="5047868" y="2022873"/>
              <a:ext cx="2036795" cy="825006"/>
            </a:xfrm>
            <a:custGeom>
              <a:avLst/>
              <a:gdLst>
                <a:gd name="connsiteX0" fmla="*/ 2036636 w 2036795"/>
                <a:gd name="connsiteY0" fmla="*/ 434862 h 825006"/>
                <a:gd name="connsiteX1" fmla="*/ 1547908 w 2036795"/>
                <a:gd name="connsiteY1" fmla="*/ 32050 h 825006"/>
                <a:gd name="connsiteX2" fmla="*/ 1547908 w 2036795"/>
                <a:gd name="connsiteY2" fmla="*/ 32050 h 825006"/>
                <a:gd name="connsiteX3" fmla="*/ 478727 w 2036795"/>
                <a:gd name="connsiteY3" fmla="*/ 32050 h 825006"/>
                <a:gd name="connsiteX4" fmla="*/ 13049 w 2036795"/>
                <a:gd name="connsiteY4" fmla="*/ 445340 h 825006"/>
                <a:gd name="connsiteX5" fmla="*/ 0 w 2036795"/>
                <a:gd name="connsiteY5" fmla="*/ 608217 h 825006"/>
                <a:gd name="connsiteX6" fmla="*/ 13049 w 2036795"/>
                <a:gd name="connsiteY6" fmla="*/ 718898 h 825006"/>
                <a:gd name="connsiteX7" fmla="*/ 92012 w 2036795"/>
                <a:gd name="connsiteY7" fmla="*/ 825006 h 825006"/>
                <a:gd name="connsiteX8" fmla="*/ 1875949 w 2036795"/>
                <a:gd name="connsiteY8" fmla="*/ 825006 h 825006"/>
                <a:gd name="connsiteX9" fmla="*/ 1875949 w 2036795"/>
                <a:gd name="connsiteY9" fmla="*/ 823959 h 825006"/>
                <a:gd name="connsiteX10" fmla="*/ 1878235 w 2036795"/>
                <a:gd name="connsiteY10" fmla="*/ 825006 h 825006"/>
                <a:gd name="connsiteX11" fmla="*/ 2020253 w 2036795"/>
                <a:gd name="connsiteY11" fmla="*/ 633649 h 825006"/>
                <a:gd name="connsiteX12" fmla="*/ 2036636 w 2036795"/>
                <a:gd name="connsiteY12" fmla="*/ 434862 h 82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6795" h="825006">
                  <a:moveTo>
                    <a:pt x="2036636" y="434862"/>
                  </a:moveTo>
                  <a:cubicBezTo>
                    <a:pt x="1970913" y="137873"/>
                    <a:pt x="1849660" y="71388"/>
                    <a:pt x="1547908" y="32050"/>
                  </a:cubicBezTo>
                  <a:lnTo>
                    <a:pt x="1547908" y="32050"/>
                  </a:lnTo>
                  <a:cubicBezTo>
                    <a:pt x="1193673" y="-13861"/>
                    <a:pt x="832961" y="-7384"/>
                    <a:pt x="478727" y="32050"/>
                  </a:cubicBezTo>
                  <a:cubicBezTo>
                    <a:pt x="216313" y="64816"/>
                    <a:pt x="65437" y="202547"/>
                    <a:pt x="13049" y="445340"/>
                  </a:cubicBezTo>
                  <a:cubicBezTo>
                    <a:pt x="1429" y="497537"/>
                    <a:pt x="95" y="554877"/>
                    <a:pt x="0" y="608217"/>
                  </a:cubicBezTo>
                  <a:cubicBezTo>
                    <a:pt x="191" y="644222"/>
                    <a:pt x="1524" y="684131"/>
                    <a:pt x="13049" y="718898"/>
                  </a:cubicBezTo>
                  <a:cubicBezTo>
                    <a:pt x="26194" y="758236"/>
                    <a:pt x="59246" y="805289"/>
                    <a:pt x="92012" y="825006"/>
                  </a:cubicBezTo>
                  <a:lnTo>
                    <a:pt x="1875949" y="825006"/>
                  </a:lnTo>
                  <a:lnTo>
                    <a:pt x="1875949" y="823959"/>
                  </a:lnTo>
                  <a:cubicBezTo>
                    <a:pt x="1876711" y="824339"/>
                    <a:pt x="1877473" y="824625"/>
                    <a:pt x="1878235" y="825006"/>
                  </a:cubicBezTo>
                  <a:cubicBezTo>
                    <a:pt x="1961960" y="785192"/>
                    <a:pt x="2017586" y="646508"/>
                    <a:pt x="2020253" y="633649"/>
                  </a:cubicBezTo>
                  <a:cubicBezTo>
                    <a:pt x="2029682" y="587072"/>
                    <a:pt x="2038064" y="550401"/>
                    <a:pt x="2036636" y="434862"/>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33" name="Freeform: Shape 432">
              <a:extLst>
                <a:ext uri="{FF2B5EF4-FFF2-40B4-BE49-F238E27FC236}">
                  <a16:creationId xmlns:a16="http://schemas.microsoft.com/office/drawing/2014/main" id="{5F9CBE16-FB90-4AAA-293E-42DE26C72CAB}"/>
                </a:ext>
              </a:extLst>
            </p:cNvPr>
            <p:cNvSpPr/>
            <p:nvPr/>
          </p:nvSpPr>
          <p:spPr>
            <a:xfrm>
              <a:off x="2330221" y="4008214"/>
              <a:ext cx="833221" cy="833056"/>
            </a:xfrm>
            <a:custGeom>
              <a:avLst/>
              <a:gdLst>
                <a:gd name="connsiteX0" fmla="*/ 413455 w 833221"/>
                <a:gd name="connsiteY0" fmla="*/ 833056 h 833056"/>
                <a:gd name="connsiteX1" fmla="*/ 833222 w 833221"/>
                <a:gd name="connsiteY1" fmla="*/ 419767 h 833056"/>
                <a:gd name="connsiteX2" fmla="*/ 419932 w 833221"/>
                <a:gd name="connsiteY2" fmla="*/ 0 h 833056"/>
                <a:gd name="connsiteX3" fmla="*/ 165 w 833221"/>
                <a:gd name="connsiteY3" fmla="*/ 413290 h 833056"/>
                <a:gd name="connsiteX4" fmla="*/ 413455 w 833221"/>
                <a:gd name="connsiteY4" fmla="*/ 833056 h 833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221" h="833056">
                  <a:moveTo>
                    <a:pt x="413455" y="833056"/>
                  </a:moveTo>
                  <a:cubicBezTo>
                    <a:pt x="643008" y="833056"/>
                    <a:pt x="826745" y="649414"/>
                    <a:pt x="833222" y="419767"/>
                  </a:cubicBezTo>
                  <a:cubicBezTo>
                    <a:pt x="833222" y="190214"/>
                    <a:pt x="649580" y="0"/>
                    <a:pt x="419932" y="0"/>
                  </a:cubicBezTo>
                  <a:cubicBezTo>
                    <a:pt x="190284" y="0"/>
                    <a:pt x="165" y="183642"/>
                    <a:pt x="165" y="413290"/>
                  </a:cubicBezTo>
                  <a:cubicBezTo>
                    <a:pt x="-6407" y="642842"/>
                    <a:pt x="183807" y="826580"/>
                    <a:pt x="413455" y="833056"/>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34" name="Freeform: Shape 433">
              <a:extLst>
                <a:ext uri="{FF2B5EF4-FFF2-40B4-BE49-F238E27FC236}">
                  <a16:creationId xmlns:a16="http://schemas.microsoft.com/office/drawing/2014/main" id="{2D986015-697D-C91A-3F90-B3D9DD678261}"/>
                </a:ext>
              </a:extLst>
            </p:cNvPr>
            <p:cNvSpPr/>
            <p:nvPr/>
          </p:nvSpPr>
          <p:spPr>
            <a:xfrm>
              <a:off x="1733550" y="5534691"/>
              <a:ext cx="9525" cy="34670"/>
            </a:xfrm>
            <a:custGeom>
              <a:avLst/>
              <a:gdLst>
                <a:gd name="connsiteX0" fmla="*/ 0 w 9525"/>
                <a:gd name="connsiteY0" fmla="*/ 34671 h 34670"/>
                <a:gd name="connsiteX1" fmla="*/ 0 w 9525"/>
                <a:gd name="connsiteY1" fmla="*/ 13906 h 34670"/>
                <a:gd name="connsiteX2" fmla="*/ 0 w 9525"/>
                <a:gd name="connsiteY2" fmla="*/ 0 h 34670"/>
                <a:gd name="connsiteX3" fmla="*/ 0 w 9525"/>
                <a:gd name="connsiteY3" fmla="*/ 34671 h 34670"/>
              </a:gdLst>
              <a:ahLst/>
              <a:cxnLst>
                <a:cxn ang="0">
                  <a:pos x="connsiteX0" y="connsiteY0"/>
                </a:cxn>
                <a:cxn ang="0">
                  <a:pos x="connsiteX1" y="connsiteY1"/>
                </a:cxn>
                <a:cxn ang="0">
                  <a:pos x="connsiteX2" y="connsiteY2"/>
                </a:cxn>
                <a:cxn ang="0">
                  <a:pos x="connsiteX3" y="connsiteY3"/>
                </a:cxn>
              </a:cxnLst>
              <a:rect l="l" t="t" r="r" b="b"/>
              <a:pathLst>
                <a:path w="9525" h="34670">
                  <a:moveTo>
                    <a:pt x="0" y="34671"/>
                  </a:moveTo>
                  <a:cubicBezTo>
                    <a:pt x="0" y="27813"/>
                    <a:pt x="0" y="20860"/>
                    <a:pt x="0" y="13906"/>
                  </a:cubicBezTo>
                  <a:cubicBezTo>
                    <a:pt x="0" y="9239"/>
                    <a:pt x="0" y="4572"/>
                    <a:pt x="0" y="0"/>
                  </a:cubicBezTo>
                  <a:lnTo>
                    <a:pt x="0" y="34671"/>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35" name="Freeform: Shape 434">
              <a:extLst>
                <a:ext uri="{FF2B5EF4-FFF2-40B4-BE49-F238E27FC236}">
                  <a16:creationId xmlns:a16="http://schemas.microsoft.com/office/drawing/2014/main" id="{607E5F07-047E-BAE7-51A2-026FD62D7555}"/>
                </a:ext>
              </a:extLst>
            </p:cNvPr>
            <p:cNvSpPr/>
            <p:nvPr/>
          </p:nvSpPr>
          <p:spPr>
            <a:xfrm>
              <a:off x="1733550" y="4940475"/>
              <a:ext cx="2036795" cy="824911"/>
            </a:xfrm>
            <a:custGeom>
              <a:avLst/>
              <a:gdLst>
                <a:gd name="connsiteX0" fmla="*/ 2036636 w 2036795"/>
                <a:gd name="connsiteY0" fmla="*/ 434862 h 824911"/>
                <a:gd name="connsiteX1" fmla="*/ 1547908 w 2036795"/>
                <a:gd name="connsiteY1" fmla="*/ 32050 h 824911"/>
                <a:gd name="connsiteX2" fmla="*/ 1547908 w 2036795"/>
                <a:gd name="connsiteY2" fmla="*/ 32050 h 824911"/>
                <a:gd name="connsiteX3" fmla="*/ 478726 w 2036795"/>
                <a:gd name="connsiteY3" fmla="*/ 32050 h 824911"/>
                <a:gd name="connsiteX4" fmla="*/ 13049 w 2036795"/>
                <a:gd name="connsiteY4" fmla="*/ 445340 h 824911"/>
                <a:gd name="connsiteX5" fmla="*/ 0 w 2036795"/>
                <a:gd name="connsiteY5" fmla="*/ 608122 h 824911"/>
                <a:gd name="connsiteX6" fmla="*/ 13049 w 2036795"/>
                <a:gd name="connsiteY6" fmla="*/ 718802 h 824911"/>
                <a:gd name="connsiteX7" fmla="*/ 92012 w 2036795"/>
                <a:gd name="connsiteY7" fmla="*/ 824911 h 824911"/>
                <a:gd name="connsiteX8" fmla="*/ 1875949 w 2036795"/>
                <a:gd name="connsiteY8" fmla="*/ 824911 h 824911"/>
                <a:gd name="connsiteX9" fmla="*/ 1875949 w 2036795"/>
                <a:gd name="connsiteY9" fmla="*/ 823863 h 824911"/>
                <a:gd name="connsiteX10" fmla="*/ 1878235 w 2036795"/>
                <a:gd name="connsiteY10" fmla="*/ 824911 h 824911"/>
                <a:gd name="connsiteX11" fmla="*/ 2020253 w 2036795"/>
                <a:gd name="connsiteY11" fmla="*/ 633554 h 824911"/>
                <a:gd name="connsiteX12" fmla="*/ 2036636 w 2036795"/>
                <a:gd name="connsiteY12" fmla="*/ 434767 h 824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6795" h="824911">
                  <a:moveTo>
                    <a:pt x="2036636" y="434862"/>
                  </a:moveTo>
                  <a:cubicBezTo>
                    <a:pt x="1970913" y="137873"/>
                    <a:pt x="1849660" y="71388"/>
                    <a:pt x="1547908" y="32050"/>
                  </a:cubicBezTo>
                  <a:lnTo>
                    <a:pt x="1547908" y="32050"/>
                  </a:lnTo>
                  <a:cubicBezTo>
                    <a:pt x="1193673" y="-13860"/>
                    <a:pt x="832961" y="-7384"/>
                    <a:pt x="478726" y="32050"/>
                  </a:cubicBezTo>
                  <a:cubicBezTo>
                    <a:pt x="216313" y="64816"/>
                    <a:pt x="65437" y="202548"/>
                    <a:pt x="13049" y="445340"/>
                  </a:cubicBezTo>
                  <a:cubicBezTo>
                    <a:pt x="1524" y="497441"/>
                    <a:pt x="191" y="554782"/>
                    <a:pt x="0" y="608122"/>
                  </a:cubicBezTo>
                  <a:cubicBezTo>
                    <a:pt x="191" y="644126"/>
                    <a:pt x="1524" y="684036"/>
                    <a:pt x="13049" y="718802"/>
                  </a:cubicBezTo>
                  <a:cubicBezTo>
                    <a:pt x="26194" y="758141"/>
                    <a:pt x="59245" y="805194"/>
                    <a:pt x="92012" y="824911"/>
                  </a:cubicBezTo>
                  <a:lnTo>
                    <a:pt x="1875949" y="824911"/>
                  </a:lnTo>
                  <a:lnTo>
                    <a:pt x="1875949" y="823863"/>
                  </a:lnTo>
                  <a:cubicBezTo>
                    <a:pt x="1876711" y="824244"/>
                    <a:pt x="1877473" y="824530"/>
                    <a:pt x="1878235" y="824911"/>
                  </a:cubicBezTo>
                  <a:cubicBezTo>
                    <a:pt x="1961960" y="785096"/>
                    <a:pt x="2017586" y="646412"/>
                    <a:pt x="2020253" y="633554"/>
                  </a:cubicBezTo>
                  <a:cubicBezTo>
                    <a:pt x="2029682" y="586976"/>
                    <a:pt x="2038064" y="550305"/>
                    <a:pt x="2036636" y="434767"/>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36" name="Freeform: Shape 435">
              <a:extLst>
                <a:ext uri="{FF2B5EF4-FFF2-40B4-BE49-F238E27FC236}">
                  <a16:creationId xmlns:a16="http://schemas.microsoft.com/office/drawing/2014/main" id="{70F13189-BF10-EABA-27B9-DA5FBD7076BD}"/>
                </a:ext>
              </a:extLst>
            </p:cNvPr>
            <p:cNvSpPr/>
            <p:nvPr/>
          </p:nvSpPr>
          <p:spPr>
            <a:xfrm>
              <a:off x="5676544" y="4008214"/>
              <a:ext cx="833221" cy="833056"/>
            </a:xfrm>
            <a:custGeom>
              <a:avLst/>
              <a:gdLst>
                <a:gd name="connsiteX0" fmla="*/ 413455 w 833221"/>
                <a:gd name="connsiteY0" fmla="*/ 833056 h 833056"/>
                <a:gd name="connsiteX1" fmla="*/ 833222 w 833221"/>
                <a:gd name="connsiteY1" fmla="*/ 419767 h 833056"/>
                <a:gd name="connsiteX2" fmla="*/ 419932 w 833221"/>
                <a:gd name="connsiteY2" fmla="*/ 0 h 833056"/>
                <a:gd name="connsiteX3" fmla="*/ 165 w 833221"/>
                <a:gd name="connsiteY3" fmla="*/ 413290 h 833056"/>
                <a:gd name="connsiteX4" fmla="*/ 413455 w 833221"/>
                <a:gd name="connsiteY4" fmla="*/ 833056 h 833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221" h="833056">
                  <a:moveTo>
                    <a:pt x="413455" y="833056"/>
                  </a:moveTo>
                  <a:cubicBezTo>
                    <a:pt x="643008" y="833056"/>
                    <a:pt x="826745" y="649414"/>
                    <a:pt x="833222" y="419767"/>
                  </a:cubicBezTo>
                  <a:cubicBezTo>
                    <a:pt x="833222" y="190214"/>
                    <a:pt x="649580" y="0"/>
                    <a:pt x="419932" y="0"/>
                  </a:cubicBezTo>
                  <a:cubicBezTo>
                    <a:pt x="190284" y="0"/>
                    <a:pt x="165" y="183642"/>
                    <a:pt x="165" y="413290"/>
                  </a:cubicBezTo>
                  <a:cubicBezTo>
                    <a:pt x="-6407" y="642842"/>
                    <a:pt x="183807" y="826580"/>
                    <a:pt x="413455" y="833056"/>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37" name="Freeform: Shape 436">
              <a:extLst>
                <a:ext uri="{FF2B5EF4-FFF2-40B4-BE49-F238E27FC236}">
                  <a16:creationId xmlns:a16="http://schemas.microsoft.com/office/drawing/2014/main" id="{7B795615-40FE-1A2C-2946-25952BDA91D9}"/>
                </a:ext>
              </a:extLst>
            </p:cNvPr>
            <p:cNvSpPr/>
            <p:nvPr/>
          </p:nvSpPr>
          <p:spPr>
            <a:xfrm>
              <a:off x="5079873" y="5534691"/>
              <a:ext cx="9525" cy="34670"/>
            </a:xfrm>
            <a:custGeom>
              <a:avLst/>
              <a:gdLst>
                <a:gd name="connsiteX0" fmla="*/ 0 w 9525"/>
                <a:gd name="connsiteY0" fmla="*/ 34671 h 34670"/>
                <a:gd name="connsiteX1" fmla="*/ 0 w 9525"/>
                <a:gd name="connsiteY1" fmla="*/ 13906 h 34670"/>
                <a:gd name="connsiteX2" fmla="*/ 0 w 9525"/>
                <a:gd name="connsiteY2" fmla="*/ 0 h 34670"/>
                <a:gd name="connsiteX3" fmla="*/ 0 w 9525"/>
                <a:gd name="connsiteY3" fmla="*/ 34671 h 34670"/>
              </a:gdLst>
              <a:ahLst/>
              <a:cxnLst>
                <a:cxn ang="0">
                  <a:pos x="connsiteX0" y="connsiteY0"/>
                </a:cxn>
                <a:cxn ang="0">
                  <a:pos x="connsiteX1" y="connsiteY1"/>
                </a:cxn>
                <a:cxn ang="0">
                  <a:pos x="connsiteX2" y="connsiteY2"/>
                </a:cxn>
                <a:cxn ang="0">
                  <a:pos x="connsiteX3" y="connsiteY3"/>
                </a:cxn>
              </a:cxnLst>
              <a:rect l="l" t="t" r="r" b="b"/>
              <a:pathLst>
                <a:path w="9525" h="34670">
                  <a:moveTo>
                    <a:pt x="0" y="34671"/>
                  </a:moveTo>
                  <a:cubicBezTo>
                    <a:pt x="0" y="27813"/>
                    <a:pt x="0" y="20860"/>
                    <a:pt x="0" y="13906"/>
                  </a:cubicBezTo>
                  <a:cubicBezTo>
                    <a:pt x="0" y="9239"/>
                    <a:pt x="0" y="4572"/>
                    <a:pt x="0" y="0"/>
                  </a:cubicBezTo>
                  <a:lnTo>
                    <a:pt x="0" y="34671"/>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38" name="Freeform: Shape 437">
              <a:extLst>
                <a:ext uri="{FF2B5EF4-FFF2-40B4-BE49-F238E27FC236}">
                  <a16:creationId xmlns:a16="http://schemas.microsoft.com/office/drawing/2014/main" id="{3B1362AC-FE8E-607E-D298-44E9985A73A1}"/>
                </a:ext>
              </a:extLst>
            </p:cNvPr>
            <p:cNvSpPr/>
            <p:nvPr/>
          </p:nvSpPr>
          <p:spPr>
            <a:xfrm>
              <a:off x="5079873" y="4940475"/>
              <a:ext cx="2036795" cy="825006"/>
            </a:xfrm>
            <a:custGeom>
              <a:avLst/>
              <a:gdLst>
                <a:gd name="connsiteX0" fmla="*/ 2036636 w 2036795"/>
                <a:gd name="connsiteY0" fmla="*/ 434862 h 825006"/>
                <a:gd name="connsiteX1" fmla="*/ 1547908 w 2036795"/>
                <a:gd name="connsiteY1" fmla="*/ 32050 h 825006"/>
                <a:gd name="connsiteX2" fmla="*/ 1547908 w 2036795"/>
                <a:gd name="connsiteY2" fmla="*/ 32050 h 825006"/>
                <a:gd name="connsiteX3" fmla="*/ 478726 w 2036795"/>
                <a:gd name="connsiteY3" fmla="*/ 32050 h 825006"/>
                <a:gd name="connsiteX4" fmla="*/ 13049 w 2036795"/>
                <a:gd name="connsiteY4" fmla="*/ 445340 h 825006"/>
                <a:gd name="connsiteX5" fmla="*/ 0 w 2036795"/>
                <a:gd name="connsiteY5" fmla="*/ 608217 h 825006"/>
                <a:gd name="connsiteX6" fmla="*/ 13049 w 2036795"/>
                <a:gd name="connsiteY6" fmla="*/ 718898 h 825006"/>
                <a:gd name="connsiteX7" fmla="*/ 92012 w 2036795"/>
                <a:gd name="connsiteY7" fmla="*/ 825006 h 825006"/>
                <a:gd name="connsiteX8" fmla="*/ 1875949 w 2036795"/>
                <a:gd name="connsiteY8" fmla="*/ 825006 h 825006"/>
                <a:gd name="connsiteX9" fmla="*/ 1875949 w 2036795"/>
                <a:gd name="connsiteY9" fmla="*/ 823958 h 825006"/>
                <a:gd name="connsiteX10" fmla="*/ 1878235 w 2036795"/>
                <a:gd name="connsiteY10" fmla="*/ 825006 h 825006"/>
                <a:gd name="connsiteX11" fmla="*/ 2020252 w 2036795"/>
                <a:gd name="connsiteY11" fmla="*/ 633649 h 825006"/>
                <a:gd name="connsiteX12" fmla="*/ 2036636 w 2036795"/>
                <a:gd name="connsiteY12" fmla="*/ 434862 h 82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6795" h="825006">
                  <a:moveTo>
                    <a:pt x="2036636" y="434862"/>
                  </a:moveTo>
                  <a:cubicBezTo>
                    <a:pt x="1970913" y="137873"/>
                    <a:pt x="1849660" y="71388"/>
                    <a:pt x="1547908" y="32050"/>
                  </a:cubicBezTo>
                  <a:lnTo>
                    <a:pt x="1547908" y="32050"/>
                  </a:lnTo>
                  <a:cubicBezTo>
                    <a:pt x="1193673" y="-13860"/>
                    <a:pt x="832961" y="-7384"/>
                    <a:pt x="478726" y="32050"/>
                  </a:cubicBezTo>
                  <a:cubicBezTo>
                    <a:pt x="216313" y="64816"/>
                    <a:pt x="65437" y="202548"/>
                    <a:pt x="13049" y="445340"/>
                  </a:cubicBezTo>
                  <a:cubicBezTo>
                    <a:pt x="1429" y="497537"/>
                    <a:pt x="95" y="554877"/>
                    <a:pt x="0" y="608217"/>
                  </a:cubicBezTo>
                  <a:cubicBezTo>
                    <a:pt x="190" y="644222"/>
                    <a:pt x="1524" y="684132"/>
                    <a:pt x="13049" y="718898"/>
                  </a:cubicBezTo>
                  <a:cubicBezTo>
                    <a:pt x="26194" y="758236"/>
                    <a:pt x="59246" y="805290"/>
                    <a:pt x="92012" y="825006"/>
                  </a:cubicBezTo>
                  <a:lnTo>
                    <a:pt x="1875949" y="825006"/>
                  </a:lnTo>
                  <a:lnTo>
                    <a:pt x="1875949" y="823958"/>
                  </a:lnTo>
                  <a:cubicBezTo>
                    <a:pt x="1876711" y="824340"/>
                    <a:pt x="1877473" y="824625"/>
                    <a:pt x="1878235" y="825006"/>
                  </a:cubicBezTo>
                  <a:cubicBezTo>
                    <a:pt x="1961959" y="785192"/>
                    <a:pt x="2017586" y="646508"/>
                    <a:pt x="2020252" y="633649"/>
                  </a:cubicBezTo>
                  <a:cubicBezTo>
                    <a:pt x="2029682" y="587072"/>
                    <a:pt x="2038064" y="550400"/>
                    <a:pt x="2036636" y="434862"/>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39" name="Freeform: Shape 438">
              <a:extLst>
                <a:ext uri="{FF2B5EF4-FFF2-40B4-BE49-F238E27FC236}">
                  <a16:creationId xmlns:a16="http://schemas.microsoft.com/office/drawing/2014/main" id="{B62073FE-926B-8B8D-5C44-73E736D9094F}"/>
                </a:ext>
              </a:extLst>
            </p:cNvPr>
            <p:cNvSpPr/>
            <p:nvPr/>
          </p:nvSpPr>
          <p:spPr>
            <a:xfrm>
              <a:off x="9022867" y="4008214"/>
              <a:ext cx="833222" cy="833056"/>
            </a:xfrm>
            <a:custGeom>
              <a:avLst/>
              <a:gdLst>
                <a:gd name="connsiteX0" fmla="*/ 413455 w 833222"/>
                <a:gd name="connsiteY0" fmla="*/ 833056 h 833056"/>
                <a:gd name="connsiteX1" fmla="*/ 833222 w 833222"/>
                <a:gd name="connsiteY1" fmla="*/ 419767 h 833056"/>
                <a:gd name="connsiteX2" fmla="*/ 419932 w 833222"/>
                <a:gd name="connsiteY2" fmla="*/ 0 h 833056"/>
                <a:gd name="connsiteX3" fmla="*/ 165 w 833222"/>
                <a:gd name="connsiteY3" fmla="*/ 413290 h 833056"/>
                <a:gd name="connsiteX4" fmla="*/ 413455 w 833222"/>
                <a:gd name="connsiteY4" fmla="*/ 833056 h 833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222" h="833056">
                  <a:moveTo>
                    <a:pt x="413455" y="833056"/>
                  </a:moveTo>
                  <a:cubicBezTo>
                    <a:pt x="643008" y="833056"/>
                    <a:pt x="826745" y="649414"/>
                    <a:pt x="833222" y="419767"/>
                  </a:cubicBezTo>
                  <a:cubicBezTo>
                    <a:pt x="833222" y="190214"/>
                    <a:pt x="649580" y="0"/>
                    <a:pt x="419932" y="0"/>
                  </a:cubicBezTo>
                  <a:cubicBezTo>
                    <a:pt x="190285" y="0"/>
                    <a:pt x="165" y="183642"/>
                    <a:pt x="165" y="413290"/>
                  </a:cubicBezTo>
                  <a:cubicBezTo>
                    <a:pt x="-6407" y="642842"/>
                    <a:pt x="183808" y="826580"/>
                    <a:pt x="413455" y="833056"/>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40" name="Freeform: Shape 439">
              <a:extLst>
                <a:ext uri="{FF2B5EF4-FFF2-40B4-BE49-F238E27FC236}">
                  <a16:creationId xmlns:a16="http://schemas.microsoft.com/office/drawing/2014/main" id="{28FB8A00-92D9-B84E-174D-58C2BE803D92}"/>
                </a:ext>
              </a:extLst>
            </p:cNvPr>
            <p:cNvSpPr/>
            <p:nvPr/>
          </p:nvSpPr>
          <p:spPr>
            <a:xfrm>
              <a:off x="8426196" y="5534691"/>
              <a:ext cx="9525" cy="34670"/>
            </a:xfrm>
            <a:custGeom>
              <a:avLst/>
              <a:gdLst>
                <a:gd name="connsiteX0" fmla="*/ 0 w 9525"/>
                <a:gd name="connsiteY0" fmla="*/ 34671 h 34670"/>
                <a:gd name="connsiteX1" fmla="*/ 0 w 9525"/>
                <a:gd name="connsiteY1" fmla="*/ 13906 h 34670"/>
                <a:gd name="connsiteX2" fmla="*/ 0 w 9525"/>
                <a:gd name="connsiteY2" fmla="*/ 0 h 34670"/>
                <a:gd name="connsiteX3" fmla="*/ 0 w 9525"/>
                <a:gd name="connsiteY3" fmla="*/ 34671 h 34670"/>
              </a:gdLst>
              <a:ahLst/>
              <a:cxnLst>
                <a:cxn ang="0">
                  <a:pos x="connsiteX0" y="connsiteY0"/>
                </a:cxn>
                <a:cxn ang="0">
                  <a:pos x="connsiteX1" y="connsiteY1"/>
                </a:cxn>
                <a:cxn ang="0">
                  <a:pos x="connsiteX2" y="connsiteY2"/>
                </a:cxn>
                <a:cxn ang="0">
                  <a:pos x="connsiteX3" y="connsiteY3"/>
                </a:cxn>
              </a:cxnLst>
              <a:rect l="l" t="t" r="r" b="b"/>
              <a:pathLst>
                <a:path w="9525" h="34670">
                  <a:moveTo>
                    <a:pt x="0" y="34671"/>
                  </a:moveTo>
                  <a:cubicBezTo>
                    <a:pt x="0" y="27813"/>
                    <a:pt x="0" y="20860"/>
                    <a:pt x="0" y="13906"/>
                  </a:cubicBezTo>
                  <a:cubicBezTo>
                    <a:pt x="0" y="9239"/>
                    <a:pt x="0" y="4572"/>
                    <a:pt x="0" y="0"/>
                  </a:cubicBezTo>
                  <a:lnTo>
                    <a:pt x="0" y="34671"/>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41" name="Freeform: Shape 440">
              <a:extLst>
                <a:ext uri="{FF2B5EF4-FFF2-40B4-BE49-F238E27FC236}">
                  <a16:creationId xmlns:a16="http://schemas.microsoft.com/office/drawing/2014/main" id="{701E53F9-1D45-20E7-1B58-4573D89735D2}"/>
                </a:ext>
              </a:extLst>
            </p:cNvPr>
            <p:cNvSpPr/>
            <p:nvPr/>
          </p:nvSpPr>
          <p:spPr>
            <a:xfrm>
              <a:off x="8426196" y="4940475"/>
              <a:ext cx="2036795" cy="825006"/>
            </a:xfrm>
            <a:custGeom>
              <a:avLst/>
              <a:gdLst>
                <a:gd name="connsiteX0" fmla="*/ 2036636 w 2036795"/>
                <a:gd name="connsiteY0" fmla="*/ 434862 h 825006"/>
                <a:gd name="connsiteX1" fmla="*/ 1547908 w 2036795"/>
                <a:gd name="connsiteY1" fmla="*/ 32050 h 825006"/>
                <a:gd name="connsiteX2" fmla="*/ 1547908 w 2036795"/>
                <a:gd name="connsiteY2" fmla="*/ 32050 h 825006"/>
                <a:gd name="connsiteX3" fmla="*/ 478727 w 2036795"/>
                <a:gd name="connsiteY3" fmla="*/ 32050 h 825006"/>
                <a:gd name="connsiteX4" fmla="*/ 13049 w 2036795"/>
                <a:gd name="connsiteY4" fmla="*/ 445340 h 825006"/>
                <a:gd name="connsiteX5" fmla="*/ 0 w 2036795"/>
                <a:gd name="connsiteY5" fmla="*/ 608217 h 825006"/>
                <a:gd name="connsiteX6" fmla="*/ 13049 w 2036795"/>
                <a:gd name="connsiteY6" fmla="*/ 718898 h 825006"/>
                <a:gd name="connsiteX7" fmla="*/ 92011 w 2036795"/>
                <a:gd name="connsiteY7" fmla="*/ 825006 h 825006"/>
                <a:gd name="connsiteX8" fmla="*/ 1875949 w 2036795"/>
                <a:gd name="connsiteY8" fmla="*/ 825006 h 825006"/>
                <a:gd name="connsiteX9" fmla="*/ 1875949 w 2036795"/>
                <a:gd name="connsiteY9" fmla="*/ 823958 h 825006"/>
                <a:gd name="connsiteX10" fmla="*/ 1878235 w 2036795"/>
                <a:gd name="connsiteY10" fmla="*/ 825006 h 825006"/>
                <a:gd name="connsiteX11" fmla="*/ 2020252 w 2036795"/>
                <a:gd name="connsiteY11" fmla="*/ 633649 h 825006"/>
                <a:gd name="connsiteX12" fmla="*/ 2036636 w 2036795"/>
                <a:gd name="connsiteY12" fmla="*/ 434862 h 82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6795" h="825006">
                  <a:moveTo>
                    <a:pt x="2036636" y="434862"/>
                  </a:moveTo>
                  <a:cubicBezTo>
                    <a:pt x="1970913" y="137873"/>
                    <a:pt x="1849660" y="71388"/>
                    <a:pt x="1547908" y="32050"/>
                  </a:cubicBezTo>
                  <a:lnTo>
                    <a:pt x="1547908" y="32050"/>
                  </a:lnTo>
                  <a:cubicBezTo>
                    <a:pt x="1193673" y="-13860"/>
                    <a:pt x="832961" y="-7384"/>
                    <a:pt x="478727" y="32050"/>
                  </a:cubicBezTo>
                  <a:cubicBezTo>
                    <a:pt x="216312" y="64816"/>
                    <a:pt x="65437" y="202548"/>
                    <a:pt x="13049" y="445340"/>
                  </a:cubicBezTo>
                  <a:cubicBezTo>
                    <a:pt x="1428" y="497537"/>
                    <a:pt x="95" y="554877"/>
                    <a:pt x="0" y="608217"/>
                  </a:cubicBezTo>
                  <a:cubicBezTo>
                    <a:pt x="190" y="644222"/>
                    <a:pt x="1524" y="684132"/>
                    <a:pt x="13049" y="718898"/>
                  </a:cubicBezTo>
                  <a:cubicBezTo>
                    <a:pt x="26194" y="758236"/>
                    <a:pt x="59245" y="805290"/>
                    <a:pt x="92011" y="825006"/>
                  </a:cubicBezTo>
                  <a:lnTo>
                    <a:pt x="1875949" y="825006"/>
                  </a:lnTo>
                  <a:lnTo>
                    <a:pt x="1875949" y="823958"/>
                  </a:lnTo>
                  <a:cubicBezTo>
                    <a:pt x="1876711" y="824340"/>
                    <a:pt x="1877473" y="824625"/>
                    <a:pt x="1878235" y="825006"/>
                  </a:cubicBezTo>
                  <a:cubicBezTo>
                    <a:pt x="1961959" y="785192"/>
                    <a:pt x="2017586" y="646508"/>
                    <a:pt x="2020252" y="633649"/>
                  </a:cubicBezTo>
                  <a:cubicBezTo>
                    <a:pt x="2029682" y="587072"/>
                    <a:pt x="2038064" y="550400"/>
                    <a:pt x="2036636" y="434862"/>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42" name="Freeform: Shape 441">
              <a:extLst>
                <a:ext uri="{FF2B5EF4-FFF2-40B4-BE49-F238E27FC236}">
                  <a16:creationId xmlns:a16="http://schemas.microsoft.com/office/drawing/2014/main" id="{3488ED84-5886-98DF-9CF7-375B5177BCD7}"/>
                </a:ext>
              </a:extLst>
            </p:cNvPr>
            <p:cNvSpPr/>
            <p:nvPr/>
          </p:nvSpPr>
          <p:spPr>
            <a:xfrm>
              <a:off x="3993667" y="2624422"/>
              <a:ext cx="833221" cy="833056"/>
            </a:xfrm>
            <a:custGeom>
              <a:avLst/>
              <a:gdLst>
                <a:gd name="connsiteX0" fmla="*/ 413455 w 833221"/>
                <a:gd name="connsiteY0" fmla="*/ 833057 h 833056"/>
                <a:gd name="connsiteX1" fmla="*/ 833222 w 833221"/>
                <a:gd name="connsiteY1" fmla="*/ 419767 h 833056"/>
                <a:gd name="connsiteX2" fmla="*/ 419932 w 833221"/>
                <a:gd name="connsiteY2" fmla="*/ 0 h 833056"/>
                <a:gd name="connsiteX3" fmla="*/ 165 w 833221"/>
                <a:gd name="connsiteY3" fmla="*/ 413290 h 833056"/>
                <a:gd name="connsiteX4" fmla="*/ 413455 w 833221"/>
                <a:gd name="connsiteY4" fmla="*/ 833057 h 833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221" h="833056">
                  <a:moveTo>
                    <a:pt x="413455" y="833057"/>
                  </a:moveTo>
                  <a:cubicBezTo>
                    <a:pt x="643008" y="833057"/>
                    <a:pt x="826745" y="649415"/>
                    <a:pt x="833222" y="419767"/>
                  </a:cubicBezTo>
                  <a:cubicBezTo>
                    <a:pt x="833222" y="190214"/>
                    <a:pt x="649580" y="0"/>
                    <a:pt x="419932" y="0"/>
                  </a:cubicBezTo>
                  <a:cubicBezTo>
                    <a:pt x="190284" y="0"/>
                    <a:pt x="165" y="183642"/>
                    <a:pt x="165" y="413290"/>
                  </a:cubicBezTo>
                  <a:cubicBezTo>
                    <a:pt x="-6407" y="642842"/>
                    <a:pt x="183807" y="826580"/>
                    <a:pt x="413455" y="833057"/>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43" name="Freeform: Shape 442">
              <a:extLst>
                <a:ext uri="{FF2B5EF4-FFF2-40B4-BE49-F238E27FC236}">
                  <a16:creationId xmlns:a16="http://schemas.microsoft.com/office/drawing/2014/main" id="{A6E78944-1532-B515-992B-B026BFC5FD6D}"/>
                </a:ext>
              </a:extLst>
            </p:cNvPr>
            <p:cNvSpPr/>
            <p:nvPr/>
          </p:nvSpPr>
          <p:spPr>
            <a:xfrm>
              <a:off x="3396995" y="4150899"/>
              <a:ext cx="9525" cy="34670"/>
            </a:xfrm>
            <a:custGeom>
              <a:avLst/>
              <a:gdLst>
                <a:gd name="connsiteX0" fmla="*/ 0 w 9525"/>
                <a:gd name="connsiteY0" fmla="*/ 34671 h 34670"/>
                <a:gd name="connsiteX1" fmla="*/ 0 w 9525"/>
                <a:gd name="connsiteY1" fmla="*/ 13906 h 34670"/>
                <a:gd name="connsiteX2" fmla="*/ 0 w 9525"/>
                <a:gd name="connsiteY2" fmla="*/ 0 h 34670"/>
                <a:gd name="connsiteX3" fmla="*/ 0 w 9525"/>
                <a:gd name="connsiteY3" fmla="*/ 34671 h 34670"/>
              </a:gdLst>
              <a:ahLst/>
              <a:cxnLst>
                <a:cxn ang="0">
                  <a:pos x="connsiteX0" y="connsiteY0"/>
                </a:cxn>
                <a:cxn ang="0">
                  <a:pos x="connsiteX1" y="connsiteY1"/>
                </a:cxn>
                <a:cxn ang="0">
                  <a:pos x="connsiteX2" y="connsiteY2"/>
                </a:cxn>
                <a:cxn ang="0">
                  <a:pos x="connsiteX3" y="connsiteY3"/>
                </a:cxn>
              </a:cxnLst>
              <a:rect l="l" t="t" r="r" b="b"/>
              <a:pathLst>
                <a:path w="9525" h="34670">
                  <a:moveTo>
                    <a:pt x="0" y="34671"/>
                  </a:moveTo>
                  <a:cubicBezTo>
                    <a:pt x="0" y="27813"/>
                    <a:pt x="0" y="20860"/>
                    <a:pt x="0" y="13906"/>
                  </a:cubicBezTo>
                  <a:cubicBezTo>
                    <a:pt x="0" y="9239"/>
                    <a:pt x="0" y="4572"/>
                    <a:pt x="0" y="0"/>
                  </a:cubicBezTo>
                  <a:lnTo>
                    <a:pt x="0" y="34671"/>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44" name="Freeform: Shape 443">
              <a:extLst>
                <a:ext uri="{FF2B5EF4-FFF2-40B4-BE49-F238E27FC236}">
                  <a16:creationId xmlns:a16="http://schemas.microsoft.com/office/drawing/2014/main" id="{DC3BD0C1-6461-0205-E745-5E88334119DC}"/>
                </a:ext>
              </a:extLst>
            </p:cNvPr>
            <p:cNvSpPr/>
            <p:nvPr/>
          </p:nvSpPr>
          <p:spPr>
            <a:xfrm>
              <a:off x="3396995" y="3556683"/>
              <a:ext cx="2036795" cy="825006"/>
            </a:xfrm>
            <a:custGeom>
              <a:avLst/>
              <a:gdLst>
                <a:gd name="connsiteX0" fmla="*/ 2036635 w 2036795"/>
                <a:gd name="connsiteY0" fmla="*/ 434862 h 825006"/>
                <a:gd name="connsiteX1" fmla="*/ 1547908 w 2036795"/>
                <a:gd name="connsiteY1" fmla="*/ 32050 h 825006"/>
                <a:gd name="connsiteX2" fmla="*/ 1547908 w 2036795"/>
                <a:gd name="connsiteY2" fmla="*/ 32050 h 825006"/>
                <a:gd name="connsiteX3" fmla="*/ 478726 w 2036795"/>
                <a:gd name="connsiteY3" fmla="*/ 32050 h 825006"/>
                <a:gd name="connsiteX4" fmla="*/ 13049 w 2036795"/>
                <a:gd name="connsiteY4" fmla="*/ 445340 h 825006"/>
                <a:gd name="connsiteX5" fmla="*/ 0 w 2036795"/>
                <a:gd name="connsiteY5" fmla="*/ 608217 h 825006"/>
                <a:gd name="connsiteX6" fmla="*/ 13049 w 2036795"/>
                <a:gd name="connsiteY6" fmla="*/ 718898 h 825006"/>
                <a:gd name="connsiteX7" fmla="*/ 92012 w 2036795"/>
                <a:gd name="connsiteY7" fmla="*/ 825006 h 825006"/>
                <a:gd name="connsiteX8" fmla="*/ 1875949 w 2036795"/>
                <a:gd name="connsiteY8" fmla="*/ 825006 h 825006"/>
                <a:gd name="connsiteX9" fmla="*/ 1875949 w 2036795"/>
                <a:gd name="connsiteY9" fmla="*/ 823958 h 825006"/>
                <a:gd name="connsiteX10" fmla="*/ 1878235 w 2036795"/>
                <a:gd name="connsiteY10" fmla="*/ 825006 h 825006"/>
                <a:gd name="connsiteX11" fmla="*/ 2020252 w 2036795"/>
                <a:gd name="connsiteY11" fmla="*/ 633649 h 825006"/>
                <a:gd name="connsiteX12" fmla="*/ 2036635 w 2036795"/>
                <a:gd name="connsiteY12" fmla="*/ 434862 h 82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6795" h="825006">
                  <a:moveTo>
                    <a:pt x="2036635" y="434862"/>
                  </a:moveTo>
                  <a:cubicBezTo>
                    <a:pt x="1970913" y="137873"/>
                    <a:pt x="1849660" y="71388"/>
                    <a:pt x="1547908" y="32050"/>
                  </a:cubicBezTo>
                  <a:lnTo>
                    <a:pt x="1547908" y="32050"/>
                  </a:lnTo>
                  <a:cubicBezTo>
                    <a:pt x="1193673" y="-13860"/>
                    <a:pt x="832961" y="-7384"/>
                    <a:pt x="478726" y="32050"/>
                  </a:cubicBezTo>
                  <a:cubicBezTo>
                    <a:pt x="216313" y="64816"/>
                    <a:pt x="65437" y="202548"/>
                    <a:pt x="13049" y="445340"/>
                  </a:cubicBezTo>
                  <a:cubicBezTo>
                    <a:pt x="1429" y="497537"/>
                    <a:pt x="95" y="554877"/>
                    <a:pt x="0" y="608217"/>
                  </a:cubicBezTo>
                  <a:cubicBezTo>
                    <a:pt x="191" y="644222"/>
                    <a:pt x="1524" y="684132"/>
                    <a:pt x="13049" y="718898"/>
                  </a:cubicBezTo>
                  <a:cubicBezTo>
                    <a:pt x="26194" y="758236"/>
                    <a:pt x="59246" y="805290"/>
                    <a:pt x="92012" y="825006"/>
                  </a:cubicBezTo>
                  <a:lnTo>
                    <a:pt x="1875949" y="825006"/>
                  </a:lnTo>
                  <a:lnTo>
                    <a:pt x="1875949" y="823958"/>
                  </a:lnTo>
                  <a:cubicBezTo>
                    <a:pt x="1876711" y="824340"/>
                    <a:pt x="1877473" y="824625"/>
                    <a:pt x="1878235" y="825006"/>
                  </a:cubicBezTo>
                  <a:cubicBezTo>
                    <a:pt x="1961960" y="785192"/>
                    <a:pt x="2017585" y="646508"/>
                    <a:pt x="2020252" y="633649"/>
                  </a:cubicBezTo>
                  <a:cubicBezTo>
                    <a:pt x="2029682" y="587072"/>
                    <a:pt x="2038064" y="550400"/>
                    <a:pt x="2036635" y="434862"/>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45" name="Freeform: Shape 444">
              <a:extLst>
                <a:ext uri="{FF2B5EF4-FFF2-40B4-BE49-F238E27FC236}">
                  <a16:creationId xmlns:a16="http://schemas.microsoft.com/office/drawing/2014/main" id="{8C32459E-857E-8559-700A-3464F561590E}"/>
                </a:ext>
              </a:extLst>
            </p:cNvPr>
            <p:cNvSpPr/>
            <p:nvPr/>
          </p:nvSpPr>
          <p:spPr>
            <a:xfrm>
              <a:off x="7339990" y="2624422"/>
              <a:ext cx="833222" cy="833056"/>
            </a:xfrm>
            <a:custGeom>
              <a:avLst/>
              <a:gdLst>
                <a:gd name="connsiteX0" fmla="*/ 413455 w 833222"/>
                <a:gd name="connsiteY0" fmla="*/ 833057 h 833056"/>
                <a:gd name="connsiteX1" fmla="*/ 833222 w 833222"/>
                <a:gd name="connsiteY1" fmla="*/ 419767 h 833056"/>
                <a:gd name="connsiteX2" fmla="*/ 419932 w 833222"/>
                <a:gd name="connsiteY2" fmla="*/ 0 h 833056"/>
                <a:gd name="connsiteX3" fmla="*/ 165 w 833222"/>
                <a:gd name="connsiteY3" fmla="*/ 413290 h 833056"/>
                <a:gd name="connsiteX4" fmla="*/ 413455 w 833222"/>
                <a:gd name="connsiteY4" fmla="*/ 833057 h 833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222" h="833056">
                  <a:moveTo>
                    <a:pt x="413455" y="833057"/>
                  </a:moveTo>
                  <a:cubicBezTo>
                    <a:pt x="643008" y="833057"/>
                    <a:pt x="826745" y="649415"/>
                    <a:pt x="833222" y="419767"/>
                  </a:cubicBezTo>
                  <a:cubicBezTo>
                    <a:pt x="833222" y="190214"/>
                    <a:pt x="649580" y="0"/>
                    <a:pt x="419932" y="0"/>
                  </a:cubicBezTo>
                  <a:cubicBezTo>
                    <a:pt x="190285" y="0"/>
                    <a:pt x="165" y="183642"/>
                    <a:pt x="165" y="413290"/>
                  </a:cubicBezTo>
                  <a:cubicBezTo>
                    <a:pt x="-6407" y="642842"/>
                    <a:pt x="183808" y="826580"/>
                    <a:pt x="413455" y="833057"/>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46" name="Freeform: Shape 445">
              <a:extLst>
                <a:ext uri="{FF2B5EF4-FFF2-40B4-BE49-F238E27FC236}">
                  <a16:creationId xmlns:a16="http://schemas.microsoft.com/office/drawing/2014/main" id="{934FD0DB-3712-A124-F638-079E467EFC88}"/>
                </a:ext>
              </a:extLst>
            </p:cNvPr>
            <p:cNvSpPr/>
            <p:nvPr/>
          </p:nvSpPr>
          <p:spPr>
            <a:xfrm>
              <a:off x="6743319" y="4150899"/>
              <a:ext cx="9525" cy="34670"/>
            </a:xfrm>
            <a:custGeom>
              <a:avLst/>
              <a:gdLst>
                <a:gd name="connsiteX0" fmla="*/ 0 w 9525"/>
                <a:gd name="connsiteY0" fmla="*/ 34671 h 34670"/>
                <a:gd name="connsiteX1" fmla="*/ 0 w 9525"/>
                <a:gd name="connsiteY1" fmla="*/ 13906 h 34670"/>
                <a:gd name="connsiteX2" fmla="*/ 0 w 9525"/>
                <a:gd name="connsiteY2" fmla="*/ 0 h 34670"/>
                <a:gd name="connsiteX3" fmla="*/ 0 w 9525"/>
                <a:gd name="connsiteY3" fmla="*/ 34671 h 34670"/>
              </a:gdLst>
              <a:ahLst/>
              <a:cxnLst>
                <a:cxn ang="0">
                  <a:pos x="connsiteX0" y="connsiteY0"/>
                </a:cxn>
                <a:cxn ang="0">
                  <a:pos x="connsiteX1" y="connsiteY1"/>
                </a:cxn>
                <a:cxn ang="0">
                  <a:pos x="connsiteX2" y="connsiteY2"/>
                </a:cxn>
                <a:cxn ang="0">
                  <a:pos x="connsiteX3" y="connsiteY3"/>
                </a:cxn>
              </a:cxnLst>
              <a:rect l="l" t="t" r="r" b="b"/>
              <a:pathLst>
                <a:path w="9525" h="34670">
                  <a:moveTo>
                    <a:pt x="0" y="34671"/>
                  </a:moveTo>
                  <a:cubicBezTo>
                    <a:pt x="0" y="27813"/>
                    <a:pt x="0" y="20860"/>
                    <a:pt x="0" y="13906"/>
                  </a:cubicBezTo>
                  <a:cubicBezTo>
                    <a:pt x="0" y="9239"/>
                    <a:pt x="0" y="4572"/>
                    <a:pt x="0" y="0"/>
                  </a:cubicBezTo>
                  <a:lnTo>
                    <a:pt x="0" y="34671"/>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47" name="Freeform: Shape 446">
              <a:extLst>
                <a:ext uri="{FF2B5EF4-FFF2-40B4-BE49-F238E27FC236}">
                  <a16:creationId xmlns:a16="http://schemas.microsoft.com/office/drawing/2014/main" id="{DAC152B4-7D23-0006-0A8D-7B5C9B9C18BB}"/>
                </a:ext>
              </a:extLst>
            </p:cNvPr>
            <p:cNvSpPr/>
            <p:nvPr/>
          </p:nvSpPr>
          <p:spPr>
            <a:xfrm>
              <a:off x="6743319" y="3556683"/>
              <a:ext cx="2036795" cy="825006"/>
            </a:xfrm>
            <a:custGeom>
              <a:avLst/>
              <a:gdLst>
                <a:gd name="connsiteX0" fmla="*/ 2036636 w 2036795"/>
                <a:gd name="connsiteY0" fmla="*/ 434862 h 825006"/>
                <a:gd name="connsiteX1" fmla="*/ 1547907 w 2036795"/>
                <a:gd name="connsiteY1" fmla="*/ 32050 h 825006"/>
                <a:gd name="connsiteX2" fmla="*/ 1547907 w 2036795"/>
                <a:gd name="connsiteY2" fmla="*/ 32050 h 825006"/>
                <a:gd name="connsiteX3" fmla="*/ 478726 w 2036795"/>
                <a:gd name="connsiteY3" fmla="*/ 32050 h 825006"/>
                <a:gd name="connsiteX4" fmla="*/ 13049 w 2036795"/>
                <a:gd name="connsiteY4" fmla="*/ 445340 h 825006"/>
                <a:gd name="connsiteX5" fmla="*/ 0 w 2036795"/>
                <a:gd name="connsiteY5" fmla="*/ 608217 h 825006"/>
                <a:gd name="connsiteX6" fmla="*/ 13049 w 2036795"/>
                <a:gd name="connsiteY6" fmla="*/ 718898 h 825006"/>
                <a:gd name="connsiteX7" fmla="*/ 92011 w 2036795"/>
                <a:gd name="connsiteY7" fmla="*/ 825006 h 825006"/>
                <a:gd name="connsiteX8" fmla="*/ 1875948 w 2036795"/>
                <a:gd name="connsiteY8" fmla="*/ 825006 h 825006"/>
                <a:gd name="connsiteX9" fmla="*/ 1875948 w 2036795"/>
                <a:gd name="connsiteY9" fmla="*/ 823958 h 825006"/>
                <a:gd name="connsiteX10" fmla="*/ 1878235 w 2036795"/>
                <a:gd name="connsiteY10" fmla="*/ 825006 h 825006"/>
                <a:gd name="connsiteX11" fmla="*/ 2020252 w 2036795"/>
                <a:gd name="connsiteY11" fmla="*/ 633649 h 825006"/>
                <a:gd name="connsiteX12" fmla="*/ 2036636 w 2036795"/>
                <a:gd name="connsiteY12" fmla="*/ 434862 h 82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6795" h="825006">
                  <a:moveTo>
                    <a:pt x="2036636" y="434862"/>
                  </a:moveTo>
                  <a:cubicBezTo>
                    <a:pt x="1970913" y="137873"/>
                    <a:pt x="1849660" y="71388"/>
                    <a:pt x="1547907" y="32050"/>
                  </a:cubicBezTo>
                  <a:lnTo>
                    <a:pt x="1547907" y="32050"/>
                  </a:lnTo>
                  <a:cubicBezTo>
                    <a:pt x="1193673" y="-13860"/>
                    <a:pt x="832961" y="-7384"/>
                    <a:pt x="478726" y="32050"/>
                  </a:cubicBezTo>
                  <a:cubicBezTo>
                    <a:pt x="216312" y="64816"/>
                    <a:pt x="65437" y="202548"/>
                    <a:pt x="13049" y="445340"/>
                  </a:cubicBezTo>
                  <a:cubicBezTo>
                    <a:pt x="1428" y="497537"/>
                    <a:pt x="95" y="554877"/>
                    <a:pt x="0" y="608217"/>
                  </a:cubicBezTo>
                  <a:cubicBezTo>
                    <a:pt x="190" y="644222"/>
                    <a:pt x="1524" y="684132"/>
                    <a:pt x="13049" y="718898"/>
                  </a:cubicBezTo>
                  <a:cubicBezTo>
                    <a:pt x="26194" y="758236"/>
                    <a:pt x="59245" y="805290"/>
                    <a:pt x="92011" y="825006"/>
                  </a:cubicBezTo>
                  <a:lnTo>
                    <a:pt x="1875948" y="825006"/>
                  </a:lnTo>
                  <a:lnTo>
                    <a:pt x="1875948" y="823958"/>
                  </a:lnTo>
                  <a:cubicBezTo>
                    <a:pt x="1876711" y="824340"/>
                    <a:pt x="1877473" y="824625"/>
                    <a:pt x="1878235" y="825006"/>
                  </a:cubicBezTo>
                  <a:cubicBezTo>
                    <a:pt x="1961959" y="785192"/>
                    <a:pt x="2017586" y="646508"/>
                    <a:pt x="2020252" y="633649"/>
                  </a:cubicBezTo>
                  <a:cubicBezTo>
                    <a:pt x="2029682" y="587072"/>
                    <a:pt x="2038064" y="550400"/>
                    <a:pt x="2036636" y="434862"/>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grpSp>
        <p:nvGrpSpPr>
          <p:cNvPr id="2" name="Group 1">
            <a:extLst>
              <a:ext uri="{FF2B5EF4-FFF2-40B4-BE49-F238E27FC236}">
                <a16:creationId xmlns:a16="http://schemas.microsoft.com/office/drawing/2014/main" id="{046E45BE-3F09-3D27-BC3A-37A08246649B}"/>
              </a:ext>
            </a:extLst>
          </p:cNvPr>
          <p:cNvGrpSpPr/>
          <p:nvPr/>
        </p:nvGrpSpPr>
        <p:grpSpPr>
          <a:xfrm>
            <a:off x="685017" y="5481832"/>
            <a:ext cx="7881543" cy="923218"/>
            <a:chOff x="610942" y="6524625"/>
            <a:chExt cx="7881543" cy="923218"/>
          </a:xfrm>
        </p:grpSpPr>
        <p:grpSp>
          <p:nvGrpSpPr>
            <p:cNvPr id="3" name="Group 2">
              <a:extLst>
                <a:ext uri="{FF2B5EF4-FFF2-40B4-BE49-F238E27FC236}">
                  <a16:creationId xmlns:a16="http://schemas.microsoft.com/office/drawing/2014/main" id="{41E18DE0-70C0-E298-02FC-74432E0EC454}"/>
                </a:ext>
              </a:extLst>
            </p:cNvPr>
            <p:cNvGrpSpPr/>
            <p:nvPr/>
          </p:nvGrpSpPr>
          <p:grpSpPr>
            <a:xfrm>
              <a:off x="2192611" y="7052723"/>
              <a:ext cx="1528517" cy="392652"/>
              <a:chOff x="3804284" y="5922358"/>
              <a:chExt cx="1528517" cy="392652"/>
            </a:xfrm>
          </p:grpSpPr>
          <p:sp>
            <p:nvSpPr>
              <p:cNvPr id="476" name="Rectangle 475">
                <a:extLst>
                  <a:ext uri="{FF2B5EF4-FFF2-40B4-BE49-F238E27FC236}">
                    <a16:creationId xmlns:a16="http://schemas.microsoft.com/office/drawing/2014/main" id="{89DA8E35-6B9D-EDD9-7E15-8D3747726382}"/>
                  </a:ext>
                </a:extLst>
              </p:cNvPr>
              <p:cNvSpPr/>
              <p:nvPr/>
            </p:nvSpPr>
            <p:spPr>
              <a:xfrm>
                <a:off x="4193808" y="5960556"/>
                <a:ext cx="1138993" cy="3162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Roboto"/>
                    <a:ea typeface="+mn-ea"/>
                    <a:cs typeface="+mn-cs"/>
                  </a:rPr>
                  <a:t>Tool Hire growth</a:t>
                </a:r>
              </a:p>
            </p:txBody>
          </p:sp>
          <p:grpSp>
            <p:nvGrpSpPr>
              <p:cNvPr id="477" name="Group 476">
                <a:extLst>
                  <a:ext uri="{FF2B5EF4-FFF2-40B4-BE49-F238E27FC236}">
                    <a16:creationId xmlns:a16="http://schemas.microsoft.com/office/drawing/2014/main" id="{ED9C97B6-8DCD-8E0C-47DA-7C12E2D6FC00}"/>
                  </a:ext>
                </a:extLst>
              </p:cNvPr>
              <p:cNvGrpSpPr/>
              <p:nvPr/>
            </p:nvGrpSpPr>
            <p:grpSpPr>
              <a:xfrm>
                <a:off x="3804284" y="5922358"/>
                <a:ext cx="340028" cy="392652"/>
                <a:chOff x="3825947" y="5928323"/>
                <a:chExt cx="296702" cy="342621"/>
              </a:xfrm>
            </p:grpSpPr>
            <p:sp>
              <p:nvSpPr>
                <p:cNvPr id="478" name="Graphic 18">
                  <a:extLst>
                    <a:ext uri="{FF2B5EF4-FFF2-40B4-BE49-F238E27FC236}">
                      <a16:creationId xmlns:a16="http://schemas.microsoft.com/office/drawing/2014/main" id="{3D1A317E-8E48-2A94-2D53-A1030A03E415}"/>
                    </a:ext>
                  </a:extLst>
                </p:cNvPr>
                <p:cNvSpPr/>
                <p:nvPr/>
              </p:nvSpPr>
              <p:spPr>
                <a:xfrm>
                  <a:off x="3825947" y="5928323"/>
                  <a:ext cx="296702" cy="342621"/>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grpSp>
              <p:nvGrpSpPr>
                <p:cNvPr id="479" name="Graphic 12">
                  <a:extLst>
                    <a:ext uri="{FF2B5EF4-FFF2-40B4-BE49-F238E27FC236}">
                      <a16:creationId xmlns:a16="http://schemas.microsoft.com/office/drawing/2014/main" id="{94488180-30B4-0CC2-415F-13B39F7DCC9A}"/>
                    </a:ext>
                  </a:extLst>
                </p:cNvPr>
                <p:cNvGrpSpPr/>
                <p:nvPr/>
              </p:nvGrpSpPr>
              <p:grpSpPr>
                <a:xfrm>
                  <a:off x="3875752" y="6000319"/>
                  <a:ext cx="197092" cy="184902"/>
                  <a:chOff x="2838464" y="370331"/>
                  <a:chExt cx="6513365" cy="6110496"/>
                </a:xfrm>
                <a:solidFill>
                  <a:schemeClr val="bg1"/>
                </a:solidFill>
              </p:grpSpPr>
              <p:sp>
                <p:nvSpPr>
                  <p:cNvPr id="480" name="Freeform: Shape 239">
                    <a:extLst>
                      <a:ext uri="{FF2B5EF4-FFF2-40B4-BE49-F238E27FC236}">
                        <a16:creationId xmlns:a16="http://schemas.microsoft.com/office/drawing/2014/main" id="{97EC49EE-923A-2CE7-EF65-03ADAFEEDD52}"/>
                      </a:ext>
                    </a:extLst>
                  </p:cNvPr>
                  <p:cNvSpPr/>
                  <p:nvPr/>
                </p:nvSpPr>
                <p:spPr>
                  <a:xfrm>
                    <a:off x="2838464" y="3408414"/>
                    <a:ext cx="3024357" cy="3019229"/>
                  </a:xfrm>
                  <a:custGeom>
                    <a:avLst/>
                    <a:gdLst>
                      <a:gd name="connsiteX0" fmla="*/ 61713 w 3024357"/>
                      <a:gd name="connsiteY0" fmla="*/ 1940825 h 3019229"/>
                      <a:gd name="connsiteX1" fmla="*/ 61713 w 3024357"/>
                      <a:gd name="connsiteY1" fmla="*/ 2228850 h 3019229"/>
                      <a:gd name="connsiteX2" fmla="*/ 795519 w 3024357"/>
                      <a:gd name="connsiteY2" fmla="*/ 2962656 h 3019229"/>
                      <a:gd name="connsiteX3" fmla="*/ 1083544 w 3024357"/>
                      <a:gd name="connsiteY3" fmla="*/ 2962656 h 3019229"/>
                      <a:gd name="connsiteX4" fmla="*/ 3024358 w 3024357"/>
                      <a:gd name="connsiteY4" fmla="*/ 1021842 h 3019229"/>
                      <a:gd name="connsiteX5" fmla="*/ 2002516 w 3024357"/>
                      <a:gd name="connsiteY5" fmla="*/ 0 h 3019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24357" h="3019229">
                        <a:moveTo>
                          <a:pt x="61713" y="1940825"/>
                        </a:moveTo>
                        <a:cubicBezTo>
                          <a:pt x="-20571" y="2016258"/>
                          <a:pt x="-20571" y="2146565"/>
                          <a:pt x="61713" y="2228850"/>
                        </a:cubicBezTo>
                        <a:lnTo>
                          <a:pt x="795519" y="2962656"/>
                        </a:lnTo>
                        <a:cubicBezTo>
                          <a:pt x="870952" y="3038088"/>
                          <a:pt x="1001259" y="3038088"/>
                          <a:pt x="1083544" y="2962656"/>
                        </a:cubicBezTo>
                        <a:lnTo>
                          <a:pt x="3024358" y="1021842"/>
                        </a:lnTo>
                        <a:lnTo>
                          <a:pt x="2002516" y="0"/>
                        </a:ln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81" name="Freeform: Shape 240">
                    <a:extLst>
                      <a:ext uri="{FF2B5EF4-FFF2-40B4-BE49-F238E27FC236}">
                        <a16:creationId xmlns:a16="http://schemas.microsoft.com/office/drawing/2014/main" id="{602E15A6-8DE7-2E9D-E731-FC6EADAA06EA}"/>
                      </a:ext>
                    </a:extLst>
                  </p:cNvPr>
                  <p:cNvSpPr/>
                  <p:nvPr/>
                </p:nvSpPr>
                <p:spPr>
                  <a:xfrm>
                    <a:off x="6342882" y="427758"/>
                    <a:ext cx="3008947" cy="2500621"/>
                  </a:xfrm>
                  <a:custGeom>
                    <a:avLst/>
                    <a:gdLst>
                      <a:gd name="connsiteX0" fmla="*/ 2983236 w 3008947"/>
                      <a:gd name="connsiteY0" fmla="*/ 1396469 h 2500621"/>
                      <a:gd name="connsiteX1" fmla="*/ 2619751 w 3008947"/>
                      <a:gd name="connsiteY1" fmla="*/ 1032984 h 2500621"/>
                      <a:gd name="connsiteX2" fmla="*/ 2475739 w 3008947"/>
                      <a:gd name="connsiteY2" fmla="*/ 1032984 h 2500621"/>
                      <a:gd name="connsiteX3" fmla="*/ 2420865 w 3008947"/>
                      <a:gd name="connsiteY3" fmla="*/ 1087857 h 2500621"/>
                      <a:gd name="connsiteX4" fmla="*/ 1618479 w 3008947"/>
                      <a:gd name="connsiteY4" fmla="*/ 285471 h 2500621"/>
                      <a:gd name="connsiteX5" fmla="*/ 205731 w 3008947"/>
                      <a:gd name="connsiteY5" fmla="*/ 141458 h 2500621"/>
                      <a:gd name="connsiteX6" fmla="*/ 260604 w 3008947"/>
                      <a:gd name="connsiteY6" fmla="*/ 333494 h 2500621"/>
                      <a:gd name="connsiteX7" fmla="*/ 1145286 w 3008947"/>
                      <a:gd name="connsiteY7" fmla="*/ 902719 h 2500621"/>
                      <a:gd name="connsiteX8" fmla="*/ 0 w 3008947"/>
                      <a:gd name="connsiteY8" fmla="*/ 2041147 h 2500621"/>
                      <a:gd name="connsiteX9" fmla="*/ 459475 w 3008947"/>
                      <a:gd name="connsiteY9" fmla="*/ 2500622 h 2500621"/>
                      <a:gd name="connsiteX10" fmla="*/ 1563613 w 3008947"/>
                      <a:gd name="connsiteY10" fmla="*/ 1396484 h 2500621"/>
                      <a:gd name="connsiteX11" fmla="*/ 1824228 w 3008947"/>
                      <a:gd name="connsiteY11" fmla="*/ 1691389 h 2500621"/>
                      <a:gd name="connsiteX12" fmla="*/ 1762501 w 3008947"/>
                      <a:gd name="connsiteY12" fmla="*/ 1753117 h 2500621"/>
                      <a:gd name="connsiteX13" fmla="*/ 1762501 w 3008947"/>
                      <a:gd name="connsiteY13" fmla="*/ 1897129 h 2500621"/>
                      <a:gd name="connsiteX14" fmla="*/ 2125986 w 3008947"/>
                      <a:gd name="connsiteY14" fmla="*/ 2260615 h 2500621"/>
                      <a:gd name="connsiteX15" fmla="*/ 2269999 w 3008947"/>
                      <a:gd name="connsiteY15" fmla="*/ 2260615 h 2500621"/>
                      <a:gd name="connsiteX16" fmla="*/ 2983230 w 3008947"/>
                      <a:gd name="connsiteY16" fmla="*/ 1547383 h 2500621"/>
                      <a:gd name="connsiteX17" fmla="*/ 2983230 w 3008947"/>
                      <a:gd name="connsiteY17" fmla="*/ 1396495 h 2500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08947" h="2500621">
                        <a:moveTo>
                          <a:pt x="2983236" y="1396469"/>
                        </a:moveTo>
                        <a:lnTo>
                          <a:pt x="2619751" y="1032984"/>
                        </a:lnTo>
                        <a:cubicBezTo>
                          <a:pt x="2578607" y="991840"/>
                          <a:pt x="2516881" y="991840"/>
                          <a:pt x="2475739" y="1032984"/>
                        </a:cubicBezTo>
                        <a:lnTo>
                          <a:pt x="2420865" y="1087857"/>
                        </a:lnTo>
                        <a:cubicBezTo>
                          <a:pt x="2420865" y="1087857"/>
                          <a:pt x="1645911" y="312903"/>
                          <a:pt x="1618479" y="285471"/>
                        </a:cubicBezTo>
                        <a:cubicBezTo>
                          <a:pt x="1254994" y="-78015"/>
                          <a:pt x="528057" y="-57429"/>
                          <a:pt x="205731" y="141458"/>
                        </a:cubicBezTo>
                        <a:cubicBezTo>
                          <a:pt x="116566" y="196332"/>
                          <a:pt x="157734" y="333494"/>
                          <a:pt x="260604" y="333494"/>
                        </a:cubicBezTo>
                        <a:cubicBezTo>
                          <a:pt x="678936" y="354077"/>
                          <a:pt x="932688" y="648956"/>
                          <a:pt x="1145286" y="902719"/>
                        </a:cubicBezTo>
                        <a:lnTo>
                          <a:pt x="0" y="2041147"/>
                        </a:lnTo>
                        <a:lnTo>
                          <a:pt x="459475" y="2500622"/>
                        </a:lnTo>
                        <a:lnTo>
                          <a:pt x="1563613" y="1396484"/>
                        </a:lnTo>
                        <a:lnTo>
                          <a:pt x="1824228" y="1691389"/>
                        </a:lnTo>
                        <a:lnTo>
                          <a:pt x="1762501" y="1753117"/>
                        </a:lnTo>
                        <a:cubicBezTo>
                          <a:pt x="1721357" y="1794261"/>
                          <a:pt x="1721357" y="1855987"/>
                          <a:pt x="1762501" y="1897129"/>
                        </a:cubicBezTo>
                        <a:lnTo>
                          <a:pt x="2125986" y="2260615"/>
                        </a:lnTo>
                        <a:cubicBezTo>
                          <a:pt x="2167129" y="2301758"/>
                          <a:pt x="2228856" y="2301758"/>
                          <a:pt x="2269999" y="2260615"/>
                        </a:cubicBezTo>
                        <a:lnTo>
                          <a:pt x="2983230" y="1547383"/>
                        </a:lnTo>
                        <a:cubicBezTo>
                          <a:pt x="3017520" y="1506217"/>
                          <a:pt x="3017520" y="1437638"/>
                          <a:pt x="2983230" y="1396495"/>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82" name="Freeform: Shape 241">
                    <a:extLst>
                      <a:ext uri="{FF2B5EF4-FFF2-40B4-BE49-F238E27FC236}">
                        <a16:creationId xmlns:a16="http://schemas.microsoft.com/office/drawing/2014/main" id="{DE50E9D8-44AE-AD2D-F849-8F568E98E093}"/>
                      </a:ext>
                    </a:extLst>
                  </p:cNvPr>
                  <p:cNvSpPr/>
                  <p:nvPr/>
                </p:nvSpPr>
                <p:spPr>
                  <a:xfrm>
                    <a:off x="3030206" y="370331"/>
                    <a:ext cx="6099335" cy="6110496"/>
                  </a:xfrm>
                  <a:custGeom>
                    <a:avLst/>
                    <a:gdLst>
                      <a:gd name="connsiteX0" fmla="*/ 4732287 w 6099335"/>
                      <a:gd name="connsiteY0" fmla="*/ 3902203 h 6110496"/>
                      <a:gd name="connsiteX1" fmla="*/ 2208543 w 6099335"/>
                      <a:gd name="connsiteY1" fmla="*/ 1378459 h 6110496"/>
                      <a:gd name="connsiteX2" fmla="*/ 1913638 w 6099335"/>
                      <a:gd name="connsiteY2" fmla="*/ 329185 h 6110496"/>
                      <a:gd name="connsiteX3" fmla="*/ 706630 w 6099335"/>
                      <a:gd name="connsiteY3" fmla="*/ 82303 h 6110496"/>
                      <a:gd name="connsiteX4" fmla="*/ 1268974 w 6099335"/>
                      <a:gd name="connsiteY4" fmla="*/ 644647 h 6110496"/>
                      <a:gd name="connsiteX5" fmla="*/ 1268974 w 6099335"/>
                      <a:gd name="connsiteY5" fmla="*/ 1268725 h 6110496"/>
                      <a:gd name="connsiteX6" fmla="*/ 644896 w 6099335"/>
                      <a:gd name="connsiteY6" fmla="*/ 1268725 h 6110496"/>
                      <a:gd name="connsiteX7" fmla="*/ 82552 w 6099335"/>
                      <a:gd name="connsiteY7" fmla="*/ 706381 h 6110496"/>
                      <a:gd name="connsiteX8" fmla="*/ 322582 w 6099335"/>
                      <a:gd name="connsiteY8" fmla="*/ 1913389 h 6110496"/>
                      <a:gd name="connsiteX9" fmla="*/ 1371856 w 6099335"/>
                      <a:gd name="connsiteY9" fmla="*/ 2208294 h 6110496"/>
                      <a:gd name="connsiteX10" fmla="*/ 3895600 w 6099335"/>
                      <a:gd name="connsiteY10" fmla="*/ 4732038 h 6110496"/>
                      <a:gd name="connsiteX11" fmla="*/ 4190505 w 6099335"/>
                      <a:gd name="connsiteY11" fmla="*/ 5781312 h 6110496"/>
                      <a:gd name="connsiteX12" fmla="*/ 5397513 w 6099335"/>
                      <a:gd name="connsiteY12" fmla="*/ 6028195 h 6110496"/>
                      <a:gd name="connsiteX13" fmla="*/ 4835169 w 6099335"/>
                      <a:gd name="connsiteY13" fmla="*/ 5465850 h 6110496"/>
                      <a:gd name="connsiteX14" fmla="*/ 4835169 w 6099335"/>
                      <a:gd name="connsiteY14" fmla="*/ 4841772 h 6110496"/>
                      <a:gd name="connsiteX15" fmla="*/ 5459247 w 6099335"/>
                      <a:gd name="connsiteY15" fmla="*/ 4841772 h 6110496"/>
                      <a:gd name="connsiteX16" fmla="*/ 6021591 w 6099335"/>
                      <a:gd name="connsiteY16" fmla="*/ 5404116 h 6110496"/>
                      <a:gd name="connsiteX17" fmla="*/ 5774709 w 6099335"/>
                      <a:gd name="connsiteY17" fmla="*/ 4197109 h 6110496"/>
                      <a:gd name="connsiteX18" fmla="*/ 4732293 w 6099335"/>
                      <a:gd name="connsiteY18" fmla="*/ 3902186 h 6110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9335" h="6110496">
                        <a:moveTo>
                          <a:pt x="4732287" y="3902203"/>
                        </a:moveTo>
                        <a:lnTo>
                          <a:pt x="2208543" y="1378459"/>
                        </a:lnTo>
                        <a:cubicBezTo>
                          <a:pt x="2297709" y="1014973"/>
                          <a:pt x="2194836" y="617221"/>
                          <a:pt x="1913638" y="329185"/>
                        </a:cubicBezTo>
                        <a:cubicBezTo>
                          <a:pt x="1584442" y="-11"/>
                          <a:pt x="1111252" y="-82295"/>
                          <a:pt x="706630" y="82303"/>
                        </a:cubicBezTo>
                        <a:lnTo>
                          <a:pt x="1268974" y="644647"/>
                        </a:lnTo>
                        <a:cubicBezTo>
                          <a:pt x="1440424" y="816097"/>
                          <a:pt x="1440424" y="1097270"/>
                          <a:pt x="1268974" y="1268725"/>
                        </a:cubicBezTo>
                        <a:cubicBezTo>
                          <a:pt x="1097524" y="1440181"/>
                          <a:pt x="816352" y="1440175"/>
                          <a:pt x="644896" y="1268725"/>
                        </a:cubicBezTo>
                        <a:lnTo>
                          <a:pt x="82552" y="706381"/>
                        </a:lnTo>
                        <a:cubicBezTo>
                          <a:pt x="-82046" y="1111008"/>
                          <a:pt x="267" y="1591063"/>
                          <a:pt x="322582" y="1913389"/>
                        </a:cubicBezTo>
                        <a:cubicBezTo>
                          <a:pt x="610606" y="2201413"/>
                          <a:pt x="1008382" y="2297431"/>
                          <a:pt x="1371856" y="2208294"/>
                        </a:cubicBezTo>
                        <a:lnTo>
                          <a:pt x="3895600" y="4732038"/>
                        </a:lnTo>
                        <a:cubicBezTo>
                          <a:pt x="3806435" y="5095524"/>
                          <a:pt x="3909307" y="5500134"/>
                          <a:pt x="4190505" y="5781312"/>
                        </a:cubicBezTo>
                        <a:cubicBezTo>
                          <a:pt x="4519701" y="6110508"/>
                          <a:pt x="4992892" y="6192792"/>
                          <a:pt x="5397513" y="6028195"/>
                        </a:cubicBezTo>
                        <a:lnTo>
                          <a:pt x="4835169" y="5465850"/>
                        </a:lnTo>
                        <a:cubicBezTo>
                          <a:pt x="4663719" y="5294400"/>
                          <a:pt x="4663719" y="5013228"/>
                          <a:pt x="4835169" y="4841772"/>
                        </a:cubicBezTo>
                        <a:cubicBezTo>
                          <a:pt x="5006619" y="4670316"/>
                          <a:pt x="5287791" y="4670322"/>
                          <a:pt x="5459247" y="4841772"/>
                        </a:cubicBezTo>
                        <a:lnTo>
                          <a:pt x="6021591" y="5404116"/>
                        </a:lnTo>
                        <a:cubicBezTo>
                          <a:pt x="6179337" y="4999489"/>
                          <a:pt x="6097024" y="4519434"/>
                          <a:pt x="5774709" y="4197109"/>
                        </a:cubicBezTo>
                        <a:cubicBezTo>
                          <a:pt x="5500366" y="3915890"/>
                          <a:pt x="5095767" y="3813020"/>
                          <a:pt x="4732293" y="3902186"/>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grpSp>
        </p:grpSp>
        <p:grpSp>
          <p:nvGrpSpPr>
            <p:cNvPr id="4" name="Group 3">
              <a:extLst>
                <a:ext uri="{FF2B5EF4-FFF2-40B4-BE49-F238E27FC236}">
                  <a16:creationId xmlns:a16="http://schemas.microsoft.com/office/drawing/2014/main" id="{BD1AE345-F856-058E-F39A-27DEC564C321}"/>
                </a:ext>
              </a:extLst>
            </p:cNvPr>
            <p:cNvGrpSpPr/>
            <p:nvPr/>
          </p:nvGrpSpPr>
          <p:grpSpPr>
            <a:xfrm>
              <a:off x="3804284" y="6563357"/>
              <a:ext cx="1516344" cy="392652"/>
              <a:chOff x="5455941" y="5495989"/>
              <a:chExt cx="1516344" cy="392652"/>
            </a:xfrm>
          </p:grpSpPr>
          <p:sp>
            <p:nvSpPr>
              <p:cNvPr id="469" name="Rectangle 468">
                <a:extLst>
                  <a:ext uri="{FF2B5EF4-FFF2-40B4-BE49-F238E27FC236}">
                    <a16:creationId xmlns:a16="http://schemas.microsoft.com/office/drawing/2014/main" id="{E3F9D99F-05EC-9820-1923-3E9C8D36C40F}"/>
                  </a:ext>
                </a:extLst>
              </p:cNvPr>
              <p:cNvSpPr/>
              <p:nvPr/>
            </p:nvSpPr>
            <p:spPr>
              <a:xfrm>
                <a:off x="5833292" y="5534187"/>
                <a:ext cx="1138993" cy="3162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Roboto"/>
                    <a:ea typeface="+mn-ea"/>
                    <a:cs typeface="+mn-cs"/>
                  </a:rPr>
                  <a:t>Better pricing guidance</a:t>
                </a:r>
              </a:p>
            </p:txBody>
          </p:sp>
          <p:grpSp>
            <p:nvGrpSpPr>
              <p:cNvPr id="470" name="Group 469">
                <a:extLst>
                  <a:ext uri="{FF2B5EF4-FFF2-40B4-BE49-F238E27FC236}">
                    <a16:creationId xmlns:a16="http://schemas.microsoft.com/office/drawing/2014/main" id="{8E4A6A55-C159-AD1B-A864-A3582FFEE44B}"/>
                  </a:ext>
                </a:extLst>
              </p:cNvPr>
              <p:cNvGrpSpPr/>
              <p:nvPr/>
            </p:nvGrpSpPr>
            <p:grpSpPr>
              <a:xfrm>
                <a:off x="5455941" y="5495989"/>
                <a:ext cx="340028" cy="392652"/>
                <a:chOff x="5477604" y="5521004"/>
                <a:chExt cx="296702" cy="342621"/>
              </a:xfrm>
            </p:grpSpPr>
            <p:sp>
              <p:nvSpPr>
                <p:cNvPr id="471" name="Graphic 18">
                  <a:extLst>
                    <a:ext uri="{FF2B5EF4-FFF2-40B4-BE49-F238E27FC236}">
                      <a16:creationId xmlns:a16="http://schemas.microsoft.com/office/drawing/2014/main" id="{43600EAF-FC9A-3A94-1F15-F5E378BC470B}"/>
                    </a:ext>
                  </a:extLst>
                </p:cNvPr>
                <p:cNvSpPr/>
                <p:nvPr/>
              </p:nvSpPr>
              <p:spPr>
                <a:xfrm>
                  <a:off x="5477604" y="5521004"/>
                  <a:ext cx="296702" cy="342621"/>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grpSp>
              <p:nvGrpSpPr>
                <p:cNvPr id="472" name="Graphic 6">
                  <a:extLst>
                    <a:ext uri="{FF2B5EF4-FFF2-40B4-BE49-F238E27FC236}">
                      <a16:creationId xmlns:a16="http://schemas.microsoft.com/office/drawing/2014/main" id="{57A8C4CB-A0C7-A6F4-6D53-B0448E9B0435}"/>
                    </a:ext>
                  </a:extLst>
                </p:cNvPr>
                <p:cNvGrpSpPr/>
                <p:nvPr/>
              </p:nvGrpSpPr>
              <p:grpSpPr>
                <a:xfrm>
                  <a:off x="5509598" y="5605550"/>
                  <a:ext cx="232718" cy="190662"/>
                  <a:chOff x="2666882" y="619725"/>
                  <a:chExt cx="6858117" cy="5618768"/>
                </a:xfrm>
                <a:solidFill>
                  <a:schemeClr val="bg1"/>
                </a:solidFill>
              </p:grpSpPr>
              <p:sp>
                <p:nvSpPr>
                  <p:cNvPr id="473" name="Freeform: Shape 268">
                    <a:extLst>
                      <a:ext uri="{FF2B5EF4-FFF2-40B4-BE49-F238E27FC236}">
                        <a16:creationId xmlns:a16="http://schemas.microsoft.com/office/drawing/2014/main" id="{C6370338-13C7-1471-6A84-3291AB7F0445}"/>
                      </a:ext>
                    </a:extLst>
                  </p:cNvPr>
                  <p:cNvSpPr/>
                  <p:nvPr/>
                </p:nvSpPr>
                <p:spPr>
                  <a:xfrm>
                    <a:off x="3906277" y="619725"/>
                    <a:ext cx="5618722" cy="5618768"/>
                  </a:xfrm>
                  <a:custGeom>
                    <a:avLst/>
                    <a:gdLst>
                      <a:gd name="connsiteX0" fmla="*/ 2991252 w 5618722"/>
                      <a:gd name="connsiteY0" fmla="*/ 5618769 h 5618768"/>
                      <a:gd name="connsiteX1" fmla="*/ 2657998 w 5618722"/>
                      <a:gd name="connsiteY1" fmla="*/ 5480534 h 5618768"/>
                      <a:gd name="connsiteX2" fmla="*/ 30527 w 5618722"/>
                      <a:gd name="connsiteY2" fmla="*/ 2851977 h 5618768"/>
                      <a:gd name="connsiteX3" fmla="*/ 523 w 5618722"/>
                      <a:gd name="connsiteY3" fmla="*/ 2768395 h 5618768"/>
                      <a:gd name="connsiteX4" fmla="*/ 229838 w 5618722"/>
                      <a:gd name="connsiteY4" fmla="*/ 323061 h 5618768"/>
                      <a:gd name="connsiteX5" fmla="*/ 323061 w 5618722"/>
                      <a:gd name="connsiteY5" fmla="*/ 229838 h 5618768"/>
                      <a:gd name="connsiteX6" fmla="*/ 2769424 w 5618722"/>
                      <a:gd name="connsiteY6" fmla="*/ 523 h 5618768"/>
                      <a:gd name="connsiteX7" fmla="*/ 2853006 w 5618722"/>
                      <a:gd name="connsiteY7" fmla="*/ 30527 h 5618768"/>
                      <a:gd name="connsiteX8" fmla="*/ 5481563 w 5618722"/>
                      <a:gd name="connsiteY8" fmla="*/ 2659084 h 5618768"/>
                      <a:gd name="connsiteX9" fmla="*/ 5618723 w 5618722"/>
                      <a:gd name="connsiteY9" fmla="*/ 2991269 h 5618768"/>
                      <a:gd name="connsiteX10" fmla="*/ 5480489 w 5618722"/>
                      <a:gd name="connsiteY10" fmla="*/ 3324522 h 5618768"/>
                      <a:gd name="connsiteX11" fmla="*/ 3324505 w 5618722"/>
                      <a:gd name="connsiteY11" fmla="*/ 5480506 h 5618768"/>
                      <a:gd name="connsiteX12" fmla="*/ 2991252 w 5618722"/>
                      <a:gd name="connsiteY12" fmla="*/ 5618740 h 5618768"/>
                      <a:gd name="connsiteX13" fmla="*/ 211590 w 5618722"/>
                      <a:gd name="connsiteY13" fmla="*/ 2739494 h 5618768"/>
                      <a:gd name="connsiteX14" fmla="*/ 2804771 w 5618722"/>
                      <a:gd name="connsiteY14" fmla="*/ 5333762 h 5618768"/>
                      <a:gd name="connsiteX15" fmla="*/ 3176601 w 5618722"/>
                      <a:gd name="connsiteY15" fmla="*/ 5333762 h 5618768"/>
                      <a:gd name="connsiteX16" fmla="*/ 5332584 w 5618722"/>
                      <a:gd name="connsiteY16" fmla="*/ 3177778 h 5618768"/>
                      <a:gd name="connsiteX17" fmla="*/ 5409737 w 5618722"/>
                      <a:gd name="connsiteY17" fmla="*/ 2991326 h 5618768"/>
                      <a:gd name="connsiteX18" fmla="*/ 5332584 w 5618722"/>
                      <a:gd name="connsiteY18" fmla="*/ 2804874 h 5618768"/>
                      <a:gd name="connsiteX19" fmla="*/ 2739403 w 5618722"/>
                      <a:gd name="connsiteY19" fmla="*/ 211693 h 5618768"/>
                      <a:gd name="connsiteX20" fmla="*/ 428028 w 5618722"/>
                      <a:gd name="connsiteY20" fmla="*/ 428148 h 5618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18722" h="5618768">
                        <a:moveTo>
                          <a:pt x="2991252" y="5618769"/>
                        </a:moveTo>
                        <a:cubicBezTo>
                          <a:pt x="2865876" y="5618769"/>
                          <a:pt x="2746935" y="5569477"/>
                          <a:pt x="2657998" y="5480534"/>
                        </a:cubicBezTo>
                        <a:lnTo>
                          <a:pt x="30527" y="2851977"/>
                        </a:lnTo>
                        <a:cubicBezTo>
                          <a:pt x="9096" y="2830546"/>
                          <a:pt x="-2691" y="2799470"/>
                          <a:pt x="523" y="2768395"/>
                        </a:cubicBezTo>
                        <a:lnTo>
                          <a:pt x="229838" y="323061"/>
                        </a:lnTo>
                        <a:cubicBezTo>
                          <a:pt x="234124" y="273769"/>
                          <a:pt x="273772" y="234124"/>
                          <a:pt x="323061" y="229838"/>
                        </a:cubicBezTo>
                        <a:lnTo>
                          <a:pt x="2769424" y="523"/>
                        </a:lnTo>
                        <a:cubicBezTo>
                          <a:pt x="2800499" y="-2691"/>
                          <a:pt x="2830506" y="9096"/>
                          <a:pt x="2853006" y="30527"/>
                        </a:cubicBezTo>
                        <a:lnTo>
                          <a:pt x="5481563" y="2659084"/>
                        </a:lnTo>
                        <a:cubicBezTo>
                          <a:pt x="5569431" y="2746952"/>
                          <a:pt x="5618723" y="2865899"/>
                          <a:pt x="5618723" y="2991269"/>
                        </a:cubicBezTo>
                        <a:cubicBezTo>
                          <a:pt x="5618723" y="3116639"/>
                          <a:pt x="5569431" y="3235585"/>
                          <a:pt x="5480489" y="3324522"/>
                        </a:cubicBezTo>
                        <a:lnTo>
                          <a:pt x="3324505" y="5480506"/>
                        </a:lnTo>
                        <a:cubicBezTo>
                          <a:pt x="3235568" y="5569443"/>
                          <a:pt x="3117690" y="5618740"/>
                          <a:pt x="2991252" y="5618740"/>
                        </a:cubicBezTo>
                        <a:close/>
                        <a:moveTo>
                          <a:pt x="211590" y="2739494"/>
                        </a:moveTo>
                        <a:lnTo>
                          <a:pt x="2804771" y="5333762"/>
                        </a:lnTo>
                        <a:cubicBezTo>
                          <a:pt x="2907641" y="5436632"/>
                          <a:pt x="3074805" y="5436632"/>
                          <a:pt x="3176601" y="5333762"/>
                        </a:cubicBezTo>
                        <a:lnTo>
                          <a:pt x="5332584" y="3177778"/>
                        </a:lnTo>
                        <a:cubicBezTo>
                          <a:pt x="5381876" y="3128486"/>
                          <a:pt x="5409737" y="3062049"/>
                          <a:pt x="5409737" y="2991326"/>
                        </a:cubicBezTo>
                        <a:cubicBezTo>
                          <a:pt x="5409737" y="2920603"/>
                          <a:pt x="5381876" y="2855241"/>
                          <a:pt x="5332584" y="2804874"/>
                        </a:cubicBezTo>
                        <a:lnTo>
                          <a:pt x="2739403" y="211693"/>
                        </a:lnTo>
                        <a:lnTo>
                          <a:pt x="428028" y="428148"/>
                        </a:ln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74" name="Freeform: Shape 269">
                    <a:extLst>
                      <a:ext uri="{FF2B5EF4-FFF2-40B4-BE49-F238E27FC236}">
                        <a16:creationId xmlns:a16="http://schemas.microsoft.com/office/drawing/2014/main" id="{728F4C81-AB64-34F9-0634-AF4258067031}"/>
                      </a:ext>
                    </a:extLst>
                  </p:cNvPr>
                  <p:cNvSpPr/>
                  <p:nvPr/>
                </p:nvSpPr>
                <p:spPr>
                  <a:xfrm>
                    <a:off x="4685806" y="1398403"/>
                    <a:ext cx="1277285" cy="1276233"/>
                  </a:xfrm>
                  <a:custGeom>
                    <a:avLst/>
                    <a:gdLst>
                      <a:gd name="connsiteX0" fmla="*/ 637583 w 1277285"/>
                      <a:gd name="connsiteY0" fmla="*/ 1276217 h 1276233"/>
                      <a:gd name="connsiteX1" fmla="*/ 186452 w 1277285"/>
                      <a:gd name="connsiteY1" fmla="*/ 1089765 h 1276233"/>
                      <a:gd name="connsiteX2" fmla="*/ 186452 w 1277285"/>
                      <a:gd name="connsiteY2" fmla="*/ 186452 h 1276233"/>
                      <a:gd name="connsiteX3" fmla="*/ 1089765 w 1277285"/>
                      <a:gd name="connsiteY3" fmla="*/ 186452 h 1276233"/>
                      <a:gd name="connsiteX4" fmla="*/ 1277285 w 1277285"/>
                      <a:gd name="connsiteY4" fmla="*/ 637583 h 1276233"/>
                      <a:gd name="connsiteX5" fmla="*/ 1089765 w 1277285"/>
                      <a:gd name="connsiteY5" fmla="*/ 1088713 h 1276233"/>
                      <a:gd name="connsiteX6" fmla="*/ 637565 w 1277285"/>
                      <a:gd name="connsiteY6" fmla="*/ 1276234 h 1276233"/>
                      <a:gd name="connsiteX7" fmla="*/ 637583 w 1277285"/>
                      <a:gd name="connsiteY7" fmla="*/ 207855 h 1276233"/>
                      <a:gd name="connsiteX8" fmla="*/ 333259 w 1277285"/>
                      <a:gd name="connsiteY8" fmla="*/ 334299 h 1276233"/>
                      <a:gd name="connsiteX9" fmla="*/ 333259 w 1277285"/>
                      <a:gd name="connsiteY9" fmla="*/ 944032 h 1276233"/>
                      <a:gd name="connsiteX10" fmla="*/ 942992 w 1277285"/>
                      <a:gd name="connsiteY10" fmla="*/ 944032 h 1276233"/>
                      <a:gd name="connsiteX11" fmla="*/ 1069437 w 1277285"/>
                      <a:gd name="connsiteY11" fmla="*/ 639709 h 1276233"/>
                      <a:gd name="connsiteX12" fmla="*/ 942992 w 1277285"/>
                      <a:gd name="connsiteY12" fmla="*/ 335385 h 1276233"/>
                      <a:gd name="connsiteX13" fmla="*/ 637594 w 1277285"/>
                      <a:gd name="connsiteY13" fmla="*/ 207872 h 1276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77285" h="1276233">
                        <a:moveTo>
                          <a:pt x="637583" y="1276217"/>
                        </a:moveTo>
                        <a:cubicBezTo>
                          <a:pt x="473631" y="1276217"/>
                          <a:pt x="310753" y="1214066"/>
                          <a:pt x="186452" y="1089765"/>
                        </a:cubicBezTo>
                        <a:cubicBezTo>
                          <a:pt x="-62151" y="841162"/>
                          <a:pt x="-62151" y="435054"/>
                          <a:pt x="186452" y="186452"/>
                        </a:cubicBezTo>
                        <a:cubicBezTo>
                          <a:pt x="435054" y="-62151"/>
                          <a:pt x="841162" y="-62151"/>
                          <a:pt x="1089765" y="186452"/>
                        </a:cubicBezTo>
                        <a:cubicBezTo>
                          <a:pt x="1210854" y="307541"/>
                          <a:pt x="1277285" y="467201"/>
                          <a:pt x="1277285" y="637583"/>
                        </a:cubicBezTo>
                        <a:cubicBezTo>
                          <a:pt x="1277285" y="807964"/>
                          <a:pt x="1210849" y="968698"/>
                          <a:pt x="1089765" y="1088713"/>
                        </a:cubicBezTo>
                        <a:cubicBezTo>
                          <a:pt x="964389" y="1214089"/>
                          <a:pt x="800443" y="1276234"/>
                          <a:pt x="637565" y="1276234"/>
                        </a:cubicBezTo>
                        <a:close/>
                        <a:moveTo>
                          <a:pt x="637583" y="207855"/>
                        </a:moveTo>
                        <a:cubicBezTo>
                          <a:pt x="527214" y="207855"/>
                          <a:pt x="416841" y="249645"/>
                          <a:pt x="333259" y="334299"/>
                        </a:cubicBezTo>
                        <a:cubicBezTo>
                          <a:pt x="165021" y="502537"/>
                          <a:pt x="165021" y="775783"/>
                          <a:pt x="333259" y="944032"/>
                        </a:cubicBezTo>
                        <a:cubicBezTo>
                          <a:pt x="501497" y="1112282"/>
                          <a:pt x="774743" y="1112270"/>
                          <a:pt x="942992" y="944032"/>
                        </a:cubicBezTo>
                        <a:cubicBezTo>
                          <a:pt x="1024431" y="862594"/>
                          <a:pt x="1069437" y="754363"/>
                          <a:pt x="1069437" y="639709"/>
                        </a:cubicBezTo>
                        <a:cubicBezTo>
                          <a:pt x="1069437" y="525054"/>
                          <a:pt x="1024431" y="416824"/>
                          <a:pt x="942992" y="335385"/>
                        </a:cubicBezTo>
                        <a:cubicBezTo>
                          <a:pt x="858341" y="249660"/>
                          <a:pt x="746899" y="207872"/>
                          <a:pt x="637594" y="207872"/>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75" name="Freeform: Shape 270">
                    <a:extLst>
                      <a:ext uri="{FF2B5EF4-FFF2-40B4-BE49-F238E27FC236}">
                        <a16:creationId xmlns:a16="http://schemas.microsoft.com/office/drawing/2014/main" id="{2C604BD9-8CC9-E64A-362C-0BF283DBE934}"/>
                      </a:ext>
                    </a:extLst>
                  </p:cNvPr>
                  <p:cNvSpPr/>
                  <p:nvPr/>
                </p:nvSpPr>
                <p:spPr>
                  <a:xfrm>
                    <a:off x="2666882" y="1491508"/>
                    <a:ext cx="2760144" cy="987044"/>
                  </a:xfrm>
                  <a:custGeom>
                    <a:avLst/>
                    <a:gdLst>
                      <a:gd name="connsiteX0" fmla="*/ 1622492 w 2760144"/>
                      <a:gd name="connsiteY0" fmla="*/ 987030 h 987044"/>
                      <a:gd name="connsiteX1" fmla="*/ 26921 w 2760144"/>
                      <a:gd name="connsiteY1" fmla="*/ 173728 h 987044"/>
                      <a:gd name="connsiteX2" fmla="*/ 34422 w 2760144"/>
                      <a:gd name="connsiteY2" fmla="*/ 26921 h 987044"/>
                      <a:gd name="connsiteX3" fmla="*/ 181229 w 2760144"/>
                      <a:gd name="connsiteY3" fmla="*/ 34422 h 987044"/>
                      <a:gd name="connsiteX4" fmla="*/ 2591187 w 2760144"/>
                      <a:gd name="connsiteY4" fmla="*/ 465190 h 987044"/>
                      <a:gd name="connsiteX5" fmla="*/ 2736920 w 2760144"/>
                      <a:gd name="connsiteY5" fmla="*/ 480192 h 987044"/>
                      <a:gd name="connsiteX6" fmla="*/ 2721918 w 2760144"/>
                      <a:gd name="connsiteY6" fmla="*/ 625925 h 987044"/>
                      <a:gd name="connsiteX7" fmla="*/ 1622466 w 2760144"/>
                      <a:gd name="connsiteY7" fmla="*/ 987044 h 987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0144" h="987044">
                        <a:moveTo>
                          <a:pt x="1622492" y="987030"/>
                        </a:moveTo>
                        <a:cubicBezTo>
                          <a:pt x="1160651" y="987030"/>
                          <a:pt x="598078" y="803795"/>
                          <a:pt x="26921" y="173728"/>
                        </a:cubicBezTo>
                        <a:cubicBezTo>
                          <a:pt x="-11655" y="130866"/>
                          <a:pt x="-8440" y="65497"/>
                          <a:pt x="34422" y="26921"/>
                        </a:cubicBezTo>
                        <a:cubicBezTo>
                          <a:pt x="77285" y="-11655"/>
                          <a:pt x="142653" y="-8440"/>
                          <a:pt x="181229" y="34422"/>
                        </a:cubicBezTo>
                        <a:cubicBezTo>
                          <a:pt x="1411383" y="1391049"/>
                          <a:pt x="2542953" y="502698"/>
                          <a:pt x="2591187" y="465190"/>
                        </a:cubicBezTo>
                        <a:cubicBezTo>
                          <a:pt x="2636193" y="428757"/>
                          <a:pt x="2701556" y="436258"/>
                          <a:pt x="2736920" y="480192"/>
                        </a:cubicBezTo>
                        <a:cubicBezTo>
                          <a:pt x="2773353" y="524126"/>
                          <a:pt x="2765852" y="589492"/>
                          <a:pt x="2721918" y="625925"/>
                        </a:cubicBezTo>
                        <a:cubicBezTo>
                          <a:pt x="2714417" y="632354"/>
                          <a:pt x="2265432" y="987044"/>
                          <a:pt x="1622466" y="987044"/>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grpSp>
        </p:grpSp>
        <p:grpSp>
          <p:nvGrpSpPr>
            <p:cNvPr id="5" name="Group 4">
              <a:extLst>
                <a:ext uri="{FF2B5EF4-FFF2-40B4-BE49-F238E27FC236}">
                  <a16:creationId xmlns:a16="http://schemas.microsoft.com/office/drawing/2014/main" id="{1B5C0815-BF45-D51F-3A18-3BD8E9A0FF1B}"/>
                </a:ext>
              </a:extLst>
            </p:cNvPr>
            <p:cNvGrpSpPr/>
            <p:nvPr/>
          </p:nvGrpSpPr>
          <p:grpSpPr>
            <a:xfrm>
              <a:off x="5441311" y="6547114"/>
              <a:ext cx="1520200" cy="392652"/>
              <a:chOff x="614988" y="5495989"/>
              <a:chExt cx="1520200" cy="392652"/>
            </a:xfrm>
          </p:grpSpPr>
          <p:sp>
            <p:nvSpPr>
              <p:cNvPr id="465" name="Rectangle 464">
                <a:extLst>
                  <a:ext uri="{FF2B5EF4-FFF2-40B4-BE49-F238E27FC236}">
                    <a16:creationId xmlns:a16="http://schemas.microsoft.com/office/drawing/2014/main" id="{056A4EC0-3858-E99C-889E-39128653AC0A}"/>
                  </a:ext>
                </a:extLst>
              </p:cNvPr>
              <p:cNvSpPr/>
              <p:nvPr/>
            </p:nvSpPr>
            <p:spPr>
              <a:xfrm>
                <a:off x="996195" y="5534187"/>
                <a:ext cx="1138993" cy="3162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Roboto"/>
                    <a:ea typeface="+mn-ea"/>
                    <a:cs typeface="+mn-cs"/>
                  </a:rPr>
                  <a:t>STARK Group sourcing power</a:t>
                </a:r>
              </a:p>
            </p:txBody>
          </p:sp>
          <p:grpSp>
            <p:nvGrpSpPr>
              <p:cNvPr id="466" name="Group 465">
                <a:extLst>
                  <a:ext uri="{FF2B5EF4-FFF2-40B4-BE49-F238E27FC236}">
                    <a16:creationId xmlns:a16="http://schemas.microsoft.com/office/drawing/2014/main" id="{0C75CD71-61A7-9162-FDBD-8D725324AB7A}"/>
                  </a:ext>
                </a:extLst>
              </p:cNvPr>
              <p:cNvGrpSpPr/>
              <p:nvPr/>
            </p:nvGrpSpPr>
            <p:grpSpPr>
              <a:xfrm>
                <a:off x="614988" y="5495989"/>
                <a:ext cx="340028" cy="392652"/>
                <a:chOff x="636651" y="5521004"/>
                <a:chExt cx="296702" cy="342621"/>
              </a:xfrm>
            </p:grpSpPr>
            <p:sp>
              <p:nvSpPr>
                <p:cNvPr id="467" name="Graphic 18">
                  <a:extLst>
                    <a:ext uri="{FF2B5EF4-FFF2-40B4-BE49-F238E27FC236}">
                      <a16:creationId xmlns:a16="http://schemas.microsoft.com/office/drawing/2014/main" id="{9B4B356D-C723-1887-1661-1A9F5A100DE1}"/>
                    </a:ext>
                  </a:extLst>
                </p:cNvPr>
                <p:cNvSpPr/>
                <p:nvPr/>
              </p:nvSpPr>
              <p:spPr>
                <a:xfrm>
                  <a:off x="636651" y="5521004"/>
                  <a:ext cx="296702" cy="342621"/>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pic>
              <p:nvPicPr>
                <p:cNvPr id="468" name="Graphic 467">
                  <a:extLst>
                    <a:ext uri="{FF2B5EF4-FFF2-40B4-BE49-F238E27FC236}">
                      <a16:creationId xmlns:a16="http://schemas.microsoft.com/office/drawing/2014/main" id="{4BE9A08C-E4ED-4FDC-2378-BAABD70253A2}"/>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81461" y="5598518"/>
                  <a:ext cx="207083" cy="189159"/>
                </a:xfrm>
                <a:prstGeom prst="rect">
                  <a:avLst/>
                </a:prstGeom>
              </p:spPr>
            </p:pic>
          </p:grpSp>
        </p:grpSp>
        <p:grpSp>
          <p:nvGrpSpPr>
            <p:cNvPr id="6" name="Group 5">
              <a:extLst>
                <a:ext uri="{FF2B5EF4-FFF2-40B4-BE49-F238E27FC236}">
                  <a16:creationId xmlns:a16="http://schemas.microsoft.com/office/drawing/2014/main" id="{AF40CBE0-5F80-857D-A856-EBC533D49A23}"/>
                </a:ext>
              </a:extLst>
            </p:cNvPr>
            <p:cNvGrpSpPr/>
            <p:nvPr/>
          </p:nvGrpSpPr>
          <p:grpSpPr>
            <a:xfrm>
              <a:off x="5456328" y="7055191"/>
              <a:ext cx="1528517" cy="392652"/>
              <a:chOff x="3804284" y="5495989"/>
              <a:chExt cx="1528517" cy="392652"/>
            </a:xfrm>
          </p:grpSpPr>
          <p:sp>
            <p:nvSpPr>
              <p:cNvPr id="458" name="Rectangle 457">
                <a:extLst>
                  <a:ext uri="{FF2B5EF4-FFF2-40B4-BE49-F238E27FC236}">
                    <a16:creationId xmlns:a16="http://schemas.microsoft.com/office/drawing/2014/main" id="{70E67896-E186-E272-4EC9-A90C2E1243AD}"/>
                  </a:ext>
                </a:extLst>
              </p:cNvPr>
              <p:cNvSpPr/>
              <p:nvPr/>
            </p:nvSpPr>
            <p:spPr>
              <a:xfrm>
                <a:off x="4193808" y="5534187"/>
                <a:ext cx="1138993" cy="3162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Roboto"/>
                    <a:ea typeface="+mn-ea"/>
                    <a:cs typeface="+mn-cs"/>
                  </a:rPr>
                  <a:t>Better branches</a:t>
                </a:r>
              </a:p>
            </p:txBody>
          </p:sp>
          <p:grpSp>
            <p:nvGrpSpPr>
              <p:cNvPr id="459" name="Group 458">
                <a:extLst>
                  <a:ext uri="{FF2B5EF4-FFF2-40B4-BE49-F238E27FC236}">
                    <a16:creationId xmlns:a16="http://schemas.microsoft.com/office/drawing/2014/main" id="{DB892F39-6022-B462-58AD-DFBF87B42C57}"/>
                  </a:ext>
                </a:extLst>
              </p:cNvPr>
              <p:cNvGrpSpPr/>
              <p:nvPr/>
            </p:nvGrpSpPr>
            <p:grpSpPr>
              <a:xfrm>
                <a:off x="3804284" y="5495989"/>
                <a:ext cx="340028" cy="392652"/>
                <a:chOff x="3825947" y="5521004"/>
                <a:chExt cx="296702" cy="342621"/>
              </a:xfrm>
            </p:grpSpPr>
            <p:sp>
              <p:nvSpPr>
                <p:cNvPr id="460" name="Graphic 18">
                  <a:extLst>
                    <a:ext uri="{FF2B5EF4-FFF2-40B4-BE49-F238E27FC236}">
                      <a16:creationId xmlns:a16="http://schemas.microsoft.com/office/drawing/2014/main" id="{46F32AED-9BFD-1685-BBE1-2952986C1FBE}"/>
                    </a:ext>
                  </a:extLst>
                </p:cNvPr>
                <p:cNvSpPr/>
                <p:nvPr/>
              </p:nvSpPr>
              <p:spPr>
                <a:xfrm>
                  <a:off x="3825947" y="5521004"/>
                  <a:ext cx="296702" cy="342621"/>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grpSp>
              <p:nvGrpSpPr>
                <p:cNvPr id="461" name="Group 460">
                  <a:extLst>
                    <a:ext uri="{FF2B5EF4-FFF2-40B4-BE49-F238E27FC236}">
                      <a16:creationId xmlns:a16="http://schemas.microsoft.com/office/drawing/2014/main" id="{4A44D8AD-D867-A415-48B6-0B6A3168F07C}"/>
                    </a:ext>
                  </a:extLst>
                </p:cNvPr>
                <p:cNvGrpSpPr/>
                <p:nvPr/>
              </p:nvGrpSpPr>
              <p:grpSpPr>
                <a:xfrm>
                  <a:off x="3872452" y="5602876"/>
                  <a:ext cx="203693" cy="221735"/>
                  <a:chOff x="3864990" y="5602876"/>
                  <a:chExt cx="203693" cy="221735"/>
                </a:xfrm>
              </p:grpSpPr>
              <p:sp>
                <p:nvSpPr>
                  <p:cNvPr id="462" name="Freeform: Shape 277">
                    <a:extLst>
                      <a:ext uri="{FF2B5EF4-FFF2-40B4-BE49-F238E27FC236}">
                        <a16:creationId xmlns:a16="http://schemas.microsoft.com/office/drawing/2014/main" id="{4116FFFC-EFD6-58B5-04E4-C42849067B48}"/>
                      </a:ext>
                    </a:extLst>
                  </p:cNvPr>
                  <p:cNvSpPr/>
                  <p:nvPr/>
                </p:nvSpPr>
                <p:spPr>
                  <a:xfrm>
                    <a:off x="3864990" y="5602876"/>
                    <a:ext cx="90949" cy="90198"/>
                  </a:xfrm>
                  <a:custGeom>
                    <a:avLst/>
                    <a:gdLst>
                      <a:gd name="connsiteX0" fmla="*/ 1536225 w 1659654"/>
                      <a:gd name="connsiteY0" fmla="*/ 1645945 h 1645945"/>
                      <a:gd name="connsiteX1" fmla="*/ 1549932 w 1659654"/>
                      <a:gd name="connsiteY1" fmla="*/ 1639092 h 1645945"/>
                      <a:gd name="connsiteX2" fmla="*/ 1563639 w 1659654"/>
                      <a:gd name="connsiteY2" fmla="*/ 1632238 h 1645945"/>
                      <a:gd name="connsiteX3" fmla="*/ 1577346 w 1659654"/>
                      <a:gd name="connsiteY3" fmla="*/ 1625385 h 1645945"/>
                      <a:gd name="connsiteX4" fmla="*/ 1591053 w 1659654"/>
                      <a:gd name="connsiteY4" fmla="*/ 1618531 h 1645945"/>
                      <a:gd name="connsiteX5" fmla="*/ 1632196 w 1659654"/>
                      <a:gd name="connsiteY5" fmla="*/ 1577388 h 1645945"/>
                      <a:gd name="connsiteX6" fmla="*/ 1639049 w 1659654"/>
                      <a:gd name="connsiteY6" fmla="*/ 1570535 h 1645945"/>
                      <a:gd name="connsiteX7" fmla="*/ 1645903 w 1659654"/>
                      <a:gd name="connsiteY7" fmla="*/ 1556828 h 1645945"/>
                      <a:gd name="connsiteX8" fmla="*/ 1652756 w 1659654"/>
                      <a:gd name="connsiteY8" fmla="*/ 1543121 h 1645945"/>
                      <a:gd name="connsiteX9" fmla="*/ 1659610 w 1659654"/>
                      <a:gd name="connsiteY9" fmla="*/ 1529414 h 1645945"/>
                      <a:gd name="connsiteX10" fmla="*/ 1659610 w 1659654"/>
                      <a:gd name="connsiteY10" fmla="*/ 1501977 h 1645945"/>
                      <a:gd name="connsiteX11" fmla="*/ 1659654 w 1659654"/>
                      <a:gd name="connsiteY11" fmla="*/ 822978 h 1645945"/>
                      <a:gd name="connsiteX12" fmla="*/ 1522494 w 1659654"/>
                      <a:gd name="connsiteY12" fmla="*/ 685818 h 1645945"/>
                      <a:gd name="connsiteX13" fmla="*/ 1385334 w 1659654"/>
                      <a:gd name="connsiteY13" fmla="*/ 822978 h 1645945"/>
                      <a:gd name="connsiteX14" fmla="*/ 1385334 w 1659654"/>
                      <a:gd name="connsiteY14" fmla="*/ 1179583 h 1645945"/>
                      <a:gd name="connsiteX15" fmla="*/ 233190 w 1659654"/>
                      <a:gd name="connsiteY15" fmla="*/ 41155 h 1645945"/>
                      <a:gd name="connsiteX16" fmla="*/ 41155 w 1659654"/>
                      <a:gd name="connsiteY16" fmla="*/ 41155 h 1645945"/>
                      <a:gd name="connsiteX17" fmla="*/ 41155 w 1659654"/>
                      <a:gd name="connsiteY17" fmla="*/ 233190 h 1645945"/>
                      <a:gd name="connsiteX18" fmla="*/ 1179583 w 1659654"/>
                      <a:gd name="connsiteY18" fmla="*/ 1371618 h 1645945"/>
                      <a:gd name="connsiteX19" fmla="*/ 822978 w 1659654"/>
                      <a:gd name="connsiteY19" fmla="*/ 1371618 h 1645945"/>
                      <a:gd name="connsiteX20" fmla="*/ 685818 w 1659654"/>
                      <a:gd name="connsiteY20" fmla="*/ 1508778 h 1645945"/>
                      <a:gd name="connsiteX21" fmla="*/ 822978 w 1659654"/>
                      <a:gd name="connsiteY21" fmla="*/ 1645938 h 1645945"/>
                      <a:gd name="connsiteX22" fmla="*/ 1508779 w 1659654"/>
                      <a:gd name="connsiteY22" fmla="*/ 1645938 h 1645945"/>
                      <a:gd name="connsiteX23" fmla="*/ 1536215 w 1659654"/>
                      <a:gd name="connsiteY23" fmla="*/ 1645938 h 1645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59654" h="1645945">
                        <a:moveTo>
                          <a:pt x="1536225" y="1645945"/>
                        </a:moveTo>
                        <a:cubicBezTo>
                          <a:pt x="1543079" y="1645945"/>
                          <a:pt x="1543079" y="1645945"/>
                          <a:pt x="1549932" y="1639092"/>
                        </a:cubicBezTo>
                        <a:cubicBezTo>
                          <a:pt x="1556785" y="1639092"/>
                          <a:pt x="1556785" y="1639092"/>
                          <a:pt x="1563639" y="1632238"/>
                        </a:cubicBezTo>
                        <a:cubicBezTo>
                          <a:pt x="1570492" y="1632238"/>
                          <a:pt x="1570492" y="1625385"/>
                          <a:pt x="1577346" y="1625385"/>
                        </a:cubicBezTo>
                        <a:cubicBezTo>
                          <a:pt x="1584199" y="1625385"/>
                          <a:pt x="1584199" y="1618531"/>
                          <a:pt x="1591053" y="1618531"/>
                        </a:cubicBezTo>
                        <a:cubicBezTo>
                          <a:pt x="1604759" y="1611678"/>
                          <a:pt x="1618489" y="1597948"/>
                          <a:pt x="1632196" y="1577388"/>
                        </a:cubicBezTo>
                        <a:lnTo>
                          <a:pt x="1639049" y="1570535"/>
                        </a:lnTo>
                        <a:cubicBezTo>
                          <a:pt x="1639049" y="1563681"/>
                          <a:pt x="1645903" y="1563681"/>
                          <a:pt x="1645903" y="1556828"/>
                        </a:cubicBezTo>
                        <a:cubicBezTo>
                          <a:pt x="1645903" y="1549974"/>
                          <a:pt x="1645903" y="1549974"/>
                          <a:pt x="1652756" y="1543121"/>
                        </a:cubicBezTo>
                        <a:cubicBezTo>
                          <a:pt x="1652756" y="1536267"/>
                          <a:pt x="1652756" y="1536267"/>
                          <a:pt x="1659610" y="1529414"/>
                        </a:cubicBezTo>
                        <a:lnTo>
                          <a:pt x="1659610" y="1501977"/>
                        </a:lnTo>
                        <a:lnTo>
                          <a:pt x="1659654" y="822978"/>
                        </a:lnTo>
                        <a:cubicBezTo>
                          <a:pt x="1659654" y="747546"/>
                          <a:pt x="1597927" y="685818"/>
                          <a:pt x="1522494" y="685818"/>
                        </a:cubicBezTo>
                        <a:cubicBezTo>
                          <a:pt x="1447062" y="685818"/>
                          <a:pt x="1385334" y="747546"/>
                          <a:pt x="1385334" y="822978"/>
                        </a:cubicBezTo>
                        <a:lnTo>
                          <a:pt x="1385334" y="1179583"/>
                        </a:lnTo>
                        <a:lnTo>
                          <a:pt x="233190" y="41155"/>
                        </a:lnTo>
                        <a:cubicBezTo>
                          <a:pt x="178317" y="-13718"/>
                          <a:pt x="96030" y="-13718"/>
                          <a:pt x="41155" y="41155"/>
                        </a:cubicBezTo>
                        <a:cubicBezTo>
                          <a:pt x="-13718" y="96028"/>
                          <a:pt x="-13718" y="178315"/>
                          <a:pt x="41155" y="233190"/>
                        </a:cubicBezTo>
                        <a:lnTo>
                          <a:pt x="1179583" y="1371618"/>
                        </a:lnTo>
                        <a:lnTo>
                          <a:pt x="822978" y="1371618"/>
                        </a:lnTo>
                        <a:cubicBezTo>
                          <a:pt x="747546" y="1371618"/>
                          <a:pt x="685818" y="1433346"/>
                          <a:pt x="685818" y="1508778"/>
                        </a:cubicBezTo>
                        <a:cubicBezTo>
                          <a:pt x="685818" y="1584211"/>
                          <a:pt x="747546" y="1645938"/>
                          <a:pt x="822978" y="1645938"/>
                        </a:cubicBezTo>
                        <a:lnTo>
                          <a:pt x="1508779" y="1645938"/>
                        </a:lnTo>
                        <a:lnTo>
                          <a:pt x="1536215" y="1645938"/>
                        </a:lnTo>
                        <a:close/>
                      </a:path>
                    </a:pathLst>
                  </a:custGeom>
                  <a:solidFill>
                    <a:schemeClr val="bg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63" name="Freeform: Shape 278">
                    <a:extLst>
                      <a:ext uri="{FF2B5EF4-FFF2-40B4-BE49-F238E27FC236}">
                        <a16:creationId xmlns:a16="http://schemas.microsoft.com/office/drawing/2014/main" id="{A0FF9537-9CD5-E92D-57F4-2E4787085171}"/>
                      </a:ext>
                    </a:extLst>
                  </p:cNvPr>
                  <p:cNvSpPr/>
                  <p:nvPr/>
                </p:nvSpPr>
                <p:spPr>
                  <a:xfrm>
                    <a:off x="3977737" y="5602922"/>
                    <a:ext cx="90946" cy="90525"/>
                  </a:xfrm>
                  <a:custGeom>
                    <a:avLst/>
                    <a:gdLst>
                      <a:gd name="connsiteX0" fmla="*/ 1412748 w 1659599"/>
                      <a:gd name="connsiteY0" fmla="*/ 40325 h 1651916"/>
                      <a:gd name="connsiteX1" fmla="*/ 274320 w 1659599"/>
                      <a:gd name="connsiteY1" fmla="*/ 1178753 h 1651916"/>
                      <a:gd name="connsiteX2" fmla="*/ 274320 w 1659599"/>
                      <a:gd name="connsiteY2" fmla="*/ 822149 h 1651916"/>
                      <a:gd name="connsiteX3" fmla="*/ 137160 w 1659599"/>
                      <a:gd name="connsiteY3" fmla="*/ 684989 h 1651916"/>
                      <a:gd name="connsiteX4" fmla="*/ 0 w 1659599"/>
                      <a:gd name="connsiteY4" fmla="*/ 822149 h 1651916"/>
                      <a:gd name="connsiteX5" fmla="*/ 0 w 1659599"/>
                      <a:gd name="connsiteY5" fmla="*/ 1507949 h 1651916"/>
                      <a:gd name="connsiteX6" fmla="*/ 0 w 1659599"/>
                      <a:gd name="connsiteY6" fmla="*/ 1535385 h 1651916"/>
                      <a:gd name="connsiteX7" fmla="*/ 6854 w 1659599"/>
                      <a:gd name="connsiteY7" fmla="*/ 1549092 h 1651916"/>
                      <a:gd name="connsiteX8" fmla="*/ 13707 w 1659599"/>
                      <a:gd name="connsiteY8" fmla="*/ 1562799 h 1651916"/>
                      <a:gd name="connsiteX9" fmla="*/ 20560 w 1659599"/>
                      <a:gd name="connsiteY9" fmla="*/ 1576506 h 1651916"/>
                      <a:gd name="connsiteX10" fmla="*/ 27414 w 1659599"/>
                      <a:gd name="connsiteY10" fmla="*/ 1583359 h 1651916"/>
                      <a:gd name="connsiteX11" fmla="*/ 68557 w 1659599"/>
                      <a:gd name="connsiteY11" fmla="*/ 1624503 h 1651916"/>
                      <a:gd name="connsiteX12" fmla="*/ 82264 w 1659599"/>
                      <a:gd name="connsiteY12" fmla="*/ 1631356 h 1651916"/>
                      <a:gd name="connsiteX13" fmla="*/ 95971 w 1659599"/>
                      <a:gd name="connsiteY13" fmla="*/ 1638209 h 1651916"/>
                      <a:gd name="connsiteX14" fmla="*/ 109678 w 1659599"/>
                      <a:gd name="connsiteY14" fmla="*/ 1645063 h 1651916"/>
                      <a:gd name="connsiteX15" fmla="*/ 123385 w 1659599"/>
                      <a:gd name="connsiteY15" fmla="*/ 1651916 h 1651916"/>
                      <a:gd name="connsiteX16" fmla="*/ 150821 w 1659599"/>
                      <a:gd name="connsiteY16" fmla="*/ 1651916 h 1651916"/>
                      <a:gd name="connsiteX17" fmla="*/ 836621 w 1659599"/>
                      <a:gd name="connsiteY17" fmla="*/ 1651916 h 1651916"/>
                      <a:gd name="connsiteX18" fmla="*/ 973781 w 1659599"/>
                      <a:gd name="connsiteY18" fmla="*/ 1514756 h 1651916"/>
                      <a:gd name="connsiteX19" fmla="*/ 836621 w 1659599"/>
                      <a:gd name="connsiteY19" fmla="*/ 1377596 h 1651916"/>
                      <a:gd name="connsiteX20" fmla="*/ 480016 w 1659599"/>
                      <a:gd name="connsiteY20" fmla="*/ 1377596 h 1651916"/>
                      <a:gd name="connsiteX21" fmla="*/ 1618445 w 1659599"/>
                      <a:gd name="connsiteY21" fmla="*/ 239168 h 1651916"/>
                      <a:gd name="connsiteX22" fmla="*/ 1618445 w 1659599"/>
                      <a:gd name="connsiteY22" fmla="*/ 47133 h 1651916"/>
                      <a:gd name="connsiteX23" fmla="*/ 1412750 w 1659599"/>
                      <a:gd name="connsiteY23" fmla="*/ 40324 h 1651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59599" h="1651916">
                        <a:moveTo>
                          <a:pt x="1412748" y="40325"/>
                        </a:moveTo>
                        <a:lnTo>
                          <a:pt x="274320" y="1178753"/>
                        </a:lnTo>
                        <a:lnTo>
                          <a:pt x="274320" y="822149"/>
                        </a:lnTo>
                        <a:cubicBezTo>
                          <a:pt x="274320" y="746716"/>
                          <a:pt x="212592" y="684989"/>
                          <a:pt x="137160" y="684989"/>
                        </a:cubicBezTo>
                        <a:cubicBezTo>
                          <a:pt x="61728" y="684989"/>
                          <a:pt x="0" y="746716"/>
                          <a:pt x="0" y="822149"/>
                        </a:cubicBezTo>
                        <a:lnTo>
                          <a:pt x="0" y="1507949"/>
                        </a:lnTo>
                        <a:lnTo>
                          <a:pt x="0" y="1535385"/>
                        </a:lnTo>
                        <a:cubicBezTo>
                          <a:pt x="0" y="1542239"/>
                          <a:pt x="0" y="1542239"/>
                          <a:pt x="6854" y="1549092"/>
                        </a:cubicBezTo>
                        <a:cubicBezTo>
                          <a:pt x="6854" y="1555945"/>
                          <a:pt x="6854" y="1555945"/>
                          <a:pt x="13707" y="1562799"/>
                        </a:cubicBezTo>
                        <a:cubicBezTo>
                          <a:pt x="13707" y="1569652"/>
                          <a:pt x="20560" y="1569652"/>
                          <a:pt x="20560" y="1576506"/>
                        </a:cubicBezTo>
                        <a:cubicBezTo>
                          <a:pt x="20560" y="1576506"/>
                          <a:pt x="20560" y="1583359"/>
                          <a:pt x="27414" y="1583359"/>
                        </a:cubicBezTo>
                        <a:cubicBezTo>
                          <a:pt x="34267" y="1597066"/>
                          <a:pt x="47997" y="1610796"/>
                          <a:pt x="68557" y="1624503"/>
                        </a:cubicBezTo>
                        <a:cubicBezTo>
                          <a:pt x="68557" y="1624503"/>
                          <a:pt x="75411" y="1631356"/>
                          <a:pt x="82264" y="1631356"/>
                        </a:cubicBezTo>
                        <a:cubicBezTo>
                          <a:pt x="89118" y="1631356"/>
                          <a:pt x="89118" y="1638209"/>
                          <a:pt x="95971" y="1638209"/>
                        </a:cubicBezTo>
                        <a:cubicBezTo>
                          <a:pt x="102824" y="1638209"/>
                          <a:pt x="102824" y="1638209"/>
                          <a:pt x="109678" y="1645063"/>
                        </a:cubicBezTo>
                        <a:cubicBezTo>
                          <a:pt x="116531" y="1645063"/>
                          <a:pt x="116531" y="1645063"/>
                          <a:pt x="123385" y="1651916"/>
                        </a:cubicBezTo>
                        <a:lnTo>
                          <a:pt x="150821" y="1651916"/>
                        </a:lnTo>
                        <a:lnTo>
                          <a:pt x="836621" y="1651916"/>
                        </a:lnTo>
                        <a:cubicBezTo>
                          <a:pt x="912054" y="1651916"/>
                          <a:pt x="973781" y="1590189"/>
                          <a:pt x="973781" y="1514756"/>
                        </a:cubicBezTo>
                        <a:cubicBezTo>
                          <a:pt x="973781" y="1439324"/>
                          <a:pt x="912054" y="1377596"/>
                          <a:pt x="836621" y="1377596"/>
                        </a:cubicBezTo>
                        <a:lnTo>
                          <a:pt x="480016" y="1377596"/>
                        </a:lnTo>
                        <a:lnTo>
                          <a:pt x="1618445" y="239168"/>
                        </a:lnTo>
                        <a:cubicBezTo>
                          <a:pt x="1673318" y="184295"/>
                          <a:pt x="1673318" y="102008"/>
                          <a:pt x="1618445" y="47133"/>
                        </a:cubicBezTo>
                        <a:cubicBezTo>
                          <a:pt x="1549910" y="-14526"/>
                          <a:pt x="1467620" y="-14526"/>
                          <a:pt x="1412750" y="40324"/>
                        </a:cubicBezTo>
                        <a:close/>
                      </a:path>
                    </a:pathLst>
                  </a:custGeom>
                  <a:solidFill>
                    <a:schemeClr val="bg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64" name="Freeform: Shape 279">
                    <a:extLst>
                      <a:ext uri="{FF2B5EF4-FFF2-40B4-BE49-F238E27FC236}">
                        <a16:creationId xmlns:a16="http://schemas.microsoft.com/office/drawing/2014/main" id="{B34B5F73-BCAC-1147-3BD2-6E30714FD576}"/>
                      </a:ext>
                    </a:extLst>
                  </p:cNvPr>
                  <p:cNvSpPr/>
                  <p:nvPr/>
                </p:nvSpPr>
                <p:spPr>
                  <a:xfrm>
                    <a:off x="3930010" y="5696551"/>
                    <a:ext cx="71404" cy="128060"/>
                  </a:xfrm>
                  <a:custGeom>
                    <a:avLst/>
                    <a:gdLst>
                      <a:gd name="connsiteX0" fmla="*/ 761199 w 1303000"/>
                      <a:gd name="connsiteY0" fmla="*/ 46284 h 2336872"/>
                      <a:gd name="connsiteX1" fmla="*/ 740616 w 1303000"/>
                      <a:gd name="connsiteY1" fmla="*/ 25700 h 2336872"/>
                      <a:gd name="connsiteX2" fmla="*/ 726909 w 1303000"/>
                      <a:gd name="connsiteY2" fmla="*/ 18847 h 2336872"/>
                      <a:gd name="connsiteX3" fmla="*/ 713202 w 1303000"/>
                      <a:gd name="connsiteY3" fmla="*/ 11994 h 2336872"/>
                      <a:gd name="connsiteX4" fmla="*/ 699495 w 1303000"/>
                      <a:gd name="connsiteY4" fmla="*/ 5140 h 2336872"/>
                      <a:gd name="connsiteX5" fmla="*/ 685789 w 1303000"/>
                      <a:gd name="connsiteY5" fmla="*/ 5140 h 2336872"/>
                      <a:gd name="connsiteX6" fmla="*/ 630915 w 1303000"/>
                      <a:gd name="connsiteY6" fmla="*/ 5140 h 2336872"/>
                      <a:gd name="connsiteX7" fmla="*/ 617209 w 1303000"/>
                      <a:gd name="connsiteY7" fmla="*/ 5140 h 2336872"/>
                      <a:gd name="connsiteX8" fmla="*/ 603502 w 1303000"/>
                      <a:gd name="connsiteY8" fmla="*/ 11994 h 2336872"/>
                      <a:gd name="connsiteX9" fmla="*/ 589795 w 1303000"/>
                      <a:gd name="connsiteY9" fmla="*/ 18847 h 2336872"/>
                      <a:gd name="connsiteX10" fmla="*/ 576088 w 1303000"/>
                      <a:gd name="connsiteY10" fmla="*/ 25700 h 2336872"/>
                      <a:gd name="connsiteX11" fmla="*/ 555505 w 1303000"/>
                      <a:gd name="connsiteY11" fmla="*/ 46284 h 2336872"/>
                      <a:gd name="connsiteX12" fmla="*/ 41155 w 1303000"/>
                      <a:gd name="connsiteY12" fmla="*/ 560634 h 2336872"/>
                      <a:gd name="connsiteX13" fmla="*/ 41155 w 1303000"/>
                      <a:gd name="connsiteY13" fmla="*/ 752669 h 2336872"/>
                      <a:gd name="connsiteX14" fmla="*/ 137173 w 1303000"/>
                      <a:gd name="connsiteY14" fmla="*/ 793813 h 2336872"/>
                      <a:gd name="connsiteX15" fmla="*/ 233190 w 1303000"/>
                      <a:gd name="connsiteY15" fmla="*/ 752669 h 2336872"/>
                      <a:gd name="connsiteX16" fmla="*/ 514363 w 1303000"/>
                      <a:gd name="connsiteY16" fmla="*/ 471497 h 2336872"/>
                      <a:gd name="connsiteX17" fmla="*/ 514318 w 1303000"/>
                      <a:gd name="connsiteY17" fmla="*/ 2199713 h 2336872"/>
                      <a:gd name="connsiteX18" fmla="*/ 651478 w 1303000"/>
                      <a:gd name="connsiteY18" fmla="*/ 2336873 h 2336872"/>
                      <a:gd name="connsiteX19" fmla="*/ 788638 w 1303000"/>
                      <a:gd name="connsiteY19" fmla="*/ 2199713 h 2336872"/>
                      <a:gd name="connsiteX20" fmla="*/ 788638 w 1303000"/>
                      <a:gd name="connsiteY20" fmla="*/ 471497 h 2336872"/>
                      <a:gd name="connsiteX21" fmla="*/ 1069810 w 1303000"/>
                      <a:gd name="connsiteY21" fmla="*/ 752669 h 2336872"/>
                      <a:gd name="connsiteX22" fmla="*/ 1165828 w 1303000"/>
                      <a:gd name="connsiteY22" fmla="*/ 793813 h 2336872"/>
                      <a:gd name="connsiteX23" fmla="*/ 1261846 w 1303000"/>
                      <a:gd name="connsiteY23" fmla="*/ 752669 h 2336872"/>
                      <a:gd name="connsiteX24" fmla="*/ 1261846 w 1303000"/>
                      <a:gd name="connsiteY24" fmla="*/ 560634 h 2336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03000" h="2336872">
                        <a:moveTo>
                          <a:pt x="761199" y="46284"/>
                        </a:moveTo>
                        <a:cubicBezTo>
                          <a:pt x="754346" y="39430"/>
                          <a:pt x="747492" y="32577"/>
                          <a:pt x="740616" y="25700"/>
                        </a:cubicBezTo>
                        <a:cubicBezTo>
                          <a:pt x="733763" y="25700"/>
                          <a:pt x="733763" y="18847"/>
                          <a:pt x="726909" y="18847"/>
                        </a:cubicBezTo>
                        <a:cubicBezTo>
                          <a:pt x="720056" y="18847"/>
                          <a:pt x="720056" y="11994"/>
                          <a:pt x="713202" y="11994"/>
                        </a:cubicBezTo>
                        <a:cubicBezTo>
                          <a:pt x="706349" y="11994"/>
                          <a:pt x="706349" y="11994"/>
                          <a:pt x="699495" y="5140"/>
                        </a:cubicBezTo>
                        <a:lnTo>
                          <a:pt x="685789" y="5140"/>
                        </a:lnTo>
                        <a:cubicBezTo>
                          <a:pt x="665205" y="-1713"/>
                          <a:pt x="651499" y="-1713"/>
                          <a:pt x="630915" y="5140"/>
                        </a:cubicBezTo>
                        <a:lnTo>
                          <a:pt x="617209" y="5140"/>
                        </a:lnTo>
                        <a:cubicBezTo>
                          <a:pt x="610355" y="5140"/>
                          <a:pt x="610355" y="5140"/>
                          <a:pt x="603502" y="11994"/>
                        </a:cubicBezTo>
                        <a:cubicBezTo>
                          <a:pt x="596648" y="11994"/>
                          <a:pt x="596648" y="18847"/>
                          <a:pt x="589795" y="18847"/>
                        </a:cubicBezTo>
                        <a:cubicBezTo>
                          <a:pt x="582942" y="18847"/>
                          <a:pt x="582942" y="25700"/>
                          <a:pt x="576088" y="25700"/>
                        </a:cubicBezTo>
                        <a:cubicBezTo>
                          <a:pt x="569235" y="32554"/>
                          <a:pt x="562381" y="39407"/>
                          <a:pt x="555505" y="46284"/>
                        </a:cubicBezTo>
                        <a:lnTo>
                          <a:pt x="41155" y="560634"/>
                        </a:lnTo>
                        <a:cubicBezTo>
                          <a:pt x="-13718" y="615507"/>
                          <a:pt x="-13718" y="697794"/>
                          <a:pt x="41155" y="752669"/>
                        </a:cubicBezTo>
                        <a:cubicBezTo>
                          <a:pt x="68591" y="780106"/>
                          <a:pt x="102883" y="793813"/>
                          <a:pt x="137173" y="793813"/>
                        </a:cubicBezTo>
                        <a:cubicBezTo>
                          <a:pt x="171463" y="793813"/>
                          <a:pt x="205753" y="780106"/>
                          <a:pt x="233190" y="752669"/>
                        </a:cubicBezTo>
                        <a:lnTo>
                          <a:pt x="514363" y="471497"/>
                        </a:lnTo>
                        <a:lnTo>
                          <a:pt x="514318" y="2199713"/>
                        </a:lnTo>
                        <a:cubicBezTo>
                          <a:pt x="514318" y="2275145"/>
                          <a:pt x="576046" y="2336873"/>
                          <a:pt x="651478" y="2336873"/>
                        </a:cubicBezTo>
                        <a:cubicBezTo>
                          <a:pt x="726910" y="2336873"/>
                          <a:pt x="788638" y="2275145"/>
                          <a:pt x="788638" y="2199713"/>
                        </a:cubicBezTo>
                        <a:lnTo>
                          <a:pt x="788638" y="471497"/>
                        </a:lnTo>
                        <a:lnTo>
                          <a:pt x="1069810" y="752669"/>
                        </a:lnTo>
                        <a:cubicBezTo>
                          <a:pt x="1097247" y="780106"/>
                          <a:pt x="1131538" y="793813"/>
                          <a:pt x="1165828" y="793813"/>
                        </a:cubicBezTo>
                        <a:cubicBezTo>
                          <a:pt x="1200118" y="793813"/>
                          <a:pt x="1234408" y="780106"/>
                          <a:pt x="1261846" y="752669"/>
                        </a:cubicBezTo>
                        <a:cubicBezTo>
                          <a:pt x="1316719" y="697796"/>
                          <a:pt x="1316719" y="615509"/>
                          <a:pt x="1261846" y="560634"/>
                        </a:cubicBezTo>
                        <a:close/>
                      </a:path>
                    </a:pathLst>
                  </a:custGeom>
                  <a:solidFill>
                    <a:schemeClr val="bg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grpSp>
        </p:grpSp>
        <p:grpSp>
          <p:nvGrpSpPr>
            <p:cNvPr id="7" name="Group 6">
              <a:extLst>
                <a:ext uri="{FF2B5EF4-FFF2-40B4-BE49-F238E27FC236}">
                  <a16:creationId xmlns:a16="http://schemas.microsoft.com/office/drawing/2014/main" id="{520B4EC1-8BC2-4AC2-63FC-3067135596D6}"/>
                </a:ext>
              </a:extLst>
            </p:cNvPr>
            <p:cNvGrpSpPr/>
            <p:nvPr/>
          </p:nvGrpSpPr>
          <p:grpSpPr>
            <a:xfrm>
              <a:off x="3804284" y="7048604"/>
              <a:ext cx="1512435" cy="392652"/>
              <a:chOff x="2232003" y="5495989"/>
              <a:chExt cx="1512435" cy="392652"/>
            </a:xfrm>
          </p:grpSpPr>
          <p:sp>
            <p:nvSpPr>
              <p:cNvPr id="454" name="Rectangle 453">
                <a:extLst>
                  <a:ext uri="{FF2B5EF4-FFF2-40B4-BE49-F238E27FC236}">
                    <a16:creationId xmlns:a16="http://schemas.microsoft.com/office/drawing/2014/main" id="{1736A813-EE28-8BAF-D3F7-6CBDDCF4136D}"/>
                  </a:ext>
                </a:extLst>
              </p:cNvPr>
              <p:cNvSpPr/>
              <p:nvPr/>
            </p:nvSpPr>
            <p:spPr>
              <a:xfrm>
                <a:off x="2605445" y="5534187"/>
                <a:ext cx="1138993" cy="3162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Roboto"/>
                    <a:ea typeface="+mn-ea"/>
                    <a:cs typeface="+mn-cs"/>
                  </a:rPr>
                  <a:t>Trusted deliveries</a:t>
                </a:r>
              </a:p>
            </p:txBody>
          </p:sp>
          <p:grpSp>
            <p:nvGrpSpPr>
              <p:cNvPr id="455" name="Group 454">
                <a:extLst>
                  <a:ext uri="{FF2B5EF4-FFF2-40B4-BE49-F238E27FC236}">
                    <a16:creationId xmlns:a16="http://schemas.microsoft.com/office/drawing/2014/main" id="{C42F35FB-6C26-C756-2113-03F8A2FE65B9}"/>
                  </a:ext>
                </a:extLst>
              </p:cNvPr>
              <p:cNvGrpSpPr/>
              <p:nvPr/>
            </p:nvGrpSpPr>
            <p:grpSpPr>
              <a:xfrm>
                <a:off x="2232003" y="5495989"/>
                <a:ext cx="340028" cy="392652"/>
                <a:chOff x="2253666" y="5521004"/>
                <a:chExt cx="296702" cy="342621"/>
              </a:xfrm>
            </p:grpSpPr>
            <p:sp>
              <p:nvSpPr>
                <p:cNvPr id="456" name="Graphic 18">
                  <a:extLst>
                    <a:ext uri="{FF2B5EF4-FFF2-40B4-BE49-F238E27FC236}">
                      <a16:creationId xmlns:a16="http://schemas.microsoft.com/office/drawing/2014/main" id="{C494804C-4AC7-D030-0E37-2FDCAAC236A5}"/>
                    </a:ext>
                  </a:extLst>
                </p:cNvPr>
                <p:cNvSpPr/>
                <p:nvPr/>
              </p:nvSpPr>
              <p:spPr>
                <a:xfrm>
                  <a:off x="2253666" y="5521004"/>
                  <a:ext cx="296702" cy="342621"/>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sp>
              <p:nvSpPr>
                <p:cNvPr id="457" name="Graphic 40">
                  <a:extLst>
                    <a:ext uri="{FF2B5EF4-FFF2-40B4-BE49-F238E27FC236}">
                      <a16:creationId xmlns:a16="http://schemas.microsoft.com/office/drawing/2014/main" id="{914E0279-5017-38EA-AEB2-1823835DEC76}"/>
                    </a:ext>
                  </a:extLst>
                </p:cNvPr>
                <p:cNvSpPr/>
                <p:nvPr/>
              </p:nvSpPr>
              <p:spPr>
                <a:xfrm>
                  <a:off x="2276703" y="5622167"/>
                  <a:ext cx="250628" cy="140294"/>
                </a:xfrm>
                <a:custGeom>
                  <a:avLst/>
                  <a:gdLst>
                    <a:gd name="connsiteX0" fmla="*/ 5057775 w 5657850"/>
                    <a:gd name="connsiteY0" fmla="*/ 1114425 h 3167088"/>
                    <a:gd name="connsiteX1" fmla="*/ 4426839 w 5657850"/>
                    <a:gd name="connsiteY1" fmla="*/ 0 h 3167088"/>
                    <a:gd name="connsiteX2" fmla="*/ 257175 w 5657850"/>
                    <a:gd name="connsiteY2" fmla="*/ 0 h 3167088"/>
                    <a:gd name="connsiteX3" fmla="*/ 75324 w 5657850"/>
                    <a:gd name="connsiteY3" fmla="*/ 75324 h 3167088"/>
                    <a:gd name="connsiteX4" fmla="*/ 0 w 5657850"/>
                    <a:gd name="connsiteY4" fmla="*/ 257175 h 3167088"/>
                    <a:gd name="connsiteX5" fmla="*/ 0 w 5657850"/>
                    <a:gd name="connsiteY5" fmla="*/ 2657475 h 3167088"/>
                    <a:gd name="connsiteX6" fmla="*/ 692658 w 5657850"/>
                    <a:gd name="connsiteY6" fmla="*/ 2657475 h 3167088"/>
                    <a:gd name="connsiteX7" fmla="*/ 1012430 w 5657850"/>
                    <a:gd name="connsiteY7" fmla="*/ 3101171 h 3167088"/>
                    <a:gd name="connsiteX8" fmla="*/ 1559326 w 5657850"/>
                    <a:gd name="connsiteY8" fmla="*/ 3101171 h 3167088"/>
                    <a:gd name="connsiteX9" fmla="*/ 1879098 w 5657850"/>
                    <a:gd name="connsiteY9" fmla="*/ 2657475 h 3167088"/>
                    <a:gd name="connsiteX10" fmla="*/ 3950214 w 5657850"/>
                    <a:gd name="connsiteY10" fmla="*/ 2657475 h 3167088"/>
                    <a:gd name="connsiteX11" fmla="*/ 4269985 w 5657850"/>
                    <a:gd name="connsiteY11" fmla="*/ 3101171 h 3167088"/>
                    <a:gd name="connsiteX12" fmla="*/ 4816882 w 5657850"/>
                    <a:gd name="connsiteY12" fmla="*/ 3101171 h 3167088"/>
                    <a:gd name="connsiteX13" fmla="*/ 5136642 w 5657850"/>
                    <a:gd name="connsiteY13" fmla="*/ 2657475 h 3167088"/>
                    <a:gd name="connsiteX14" fmla="*/ 5657850 w 5657850"/>
                    <a:gd name="connsiteY14" fmla="*/ 2657475 h 3167088"/>
                    <a:gd name="connsiteX15" fmla="*/ 5657850 w 5657850"/>
                    <a:gd name="connsiteY15" fmla="*/ 1714500 h 3167088"/>
                    <a:gd name="connsiteX16" fmla="*/ 5482114 w 5657850"/>
                    <a:gd name="connsiteY16" fmla="*/ 1290184 h 3167088"/>
                    <a:gd name="connsiteX17" fmla="*/ 5057781 w 5657850"/>
                    <a:gd name="connsiteY17" fmla="*/ 1114425 h 3167088"/>
                    <a:gd name="connsiteX18" fmla="*/ 3771900 w 5657850"/>
                    <a:gd name="connsiteY18" fmla="*/ 171450 h 3167088"/>
                    <a:gd name="connsiteX19" fmla="*/ 4327392 w 5657850"/>
                    <a:gd name="connsiteY19" fmla="*/ 171450 h 3167088"/>
                    <a:gd name="connsiteX20" fmla="*/ 4860608 w 5657850"/>
                    <a:gd name="connsiteY20" fmla="*/ 1114425 h 3167088"/>
                    <a:gd name="connsiteX21" fmla="*/ 3771900 w 5657850"/>
                    <a:gd name="connsiteY21" fmla="*/ 1114425 h 3167088"/>
                    <a:gd name="connsiteX22" fmla="*/ 1285875 w 5657850"/>
                    <a:gd name="connsiteY22" fmla="*/ 3000375 h 3167088"/>
                    <a:gd name="connsiteX23" fmla="*/ 982803 w 5657850"/>
                    <a:gd name="connsiteY23" fmla="*/ 2874822 h 3167088"/>
                    <a:gd name="connsiteX24" fmla="*/ 857250 w 5657850"/>
                    <a:gd name="connsiteY24" fmla="*/ 2571750 h 3167088"/>
                    <a:gd name="connsiteX25" fmla="*/ 982803 w 5657850"/>
                    <a:gd name="connsiteY25" fmla="*/ 2268678 h 3167088"/>
                    <a:gd name="connsiteX26" fmla="*/ 1285875 w 5657850"/>
                    <a:gd name="connsiteY26" fmla="*/ 2143125 h 3167088"/>
                    <a:gd name="connsiteX27" fmla="*/ 1588947 w 5657850"/>
                    <a:gd name="connsiteY27" fmla="*/ 2268678 h 3167088"/>
                    <a:gd name="connsiteX28" fmla="*/ 1714500 w 5657850"/>
                    <a:gd name="connsiteY28" fmla="*/ 2571750 h 3167088"/>
                    <a:gd name="connsiteX29" fmla="*/ 1588947 w 5657850"/>
                    <a:gd name="connsiteY29" fmla="*/ 2874822 h 3167088"/>
                    <a:gd name="connsiteX30" fmla="*/ 1285875 w 5657850"/>
                    <a:gd name="connsiteY30" fmla="*/ 3000375 h 3167088"/>
                    <a:gd name="connsiteX31" fmla="*/ 4543425 w 5657850"/>
                    <a:gd name="connsiteY31" fmla="*/ 3000375 h 3167088"/>
                    <a:gd name="connsiteX32" fmla="*/ 4240353 w 5657850"/>
                    <a:gd name="connsiteY32" fmla="*/ 2874822 h 3167088"/>
                    <a:gd name="connsiteX33" fmla="*/ 4114800 w 5657850"/>
                    <a:gd name="connsiteY33" fmla="*/ 2571750 h 3167088"/>
                    <a:gd name="connsiteX34" fmla="*/ 4240353 w 5657850"/>
                    <a:gd name="connsiteY34" fmla="*/ 2268678 h 3167088"/>
                    <a:gd name="connsiteX35" fmla="*/ 4543425 w 5657850"/>
                    <a:gd name="connsiteY35" fmla="*/ 2143125 h 3167088"/>
                    <a:gd name="connsiteX36" fmla="*/ 4846497 w 5657850"/>
                    <a:gd name="connsiteY36" fmla="*/ 2268678 h 3167088"/>
                    <a:gd name="connsiteX37" fmla="*/ 4972050 w 5657850"/>
                    <a:gd name="connsiteY37" fmla="*/ 2571750 h 3167088"/>
                    <a:gd name="connsiteX38" fmla="*/ 4846497 w 5657850"/>
                    <a:gd name="connsiteY38" fmla="*/ 2874822 h 3167088"/>
                    <a:gd name="connsiteX39" fmla="*/ 4543425 w 5657850"/>
                    <a:gd name="connsiteY39" fmla="*/ 3000375 h 3167088"/>
                    <a:gd name="connsiteX40" fmla="*/ 5486400 w 5657850"/>
                    <a:gd name="connsiteY40" fmla="*/ 2486025 h 3167088"/>
                    <a:gd name="connsiteX41" fmla="*/ 5136642 w 5657850"/>
                    <a:gd name="connsiteY41" fmla="*/ 2486025 h 3167088"/>
                    <a:gd name="connsiteX42" fmla="*/ 4816877 w 5657850"/>
                    <a:gd name="connsiteY42" fmla="*/ 2042329 h 3167088"/>
                    <a:gd name="connsiteX43" fmla="*/ 4269980 w 5657850"/>
                    <a:gd name="connsiteY43" fmla="*/ 2042329 h 3167088"/>
                    <a:gd name="connsiteX44" fmla="*/ 3950208 w 5657850"/>
                    <a:gd name="connsiteY44" fmla="*/ 2486025 h 3167088"/>
                    <a:gd name="connsiteX45" fmla="*/ 1879092 w 5657850"/>
                    <a:gd name="connsiteY45" fmla="*/ 2486025 h 3167088"/>
                    <a:gd name="connsiteX46" fmla="*/ 1559321 w 5657850"/>
                    <a:gd name="connsiteY46" fmla="*/ 2042329 h 3167088"/>
                    <a:gd name="connsiteX47" fmla="*/ 1012424 w 5657850"/>
                    <a:gd name="connsiteY47" fmla="*/ 2042329 h 3167088"/>
                    <a:gd name="connsiteX48" fmla="*/ 692652 w 5657850"/>
                    <a:gd name="connsiteY48" fmla="*/ 2486025 h 3167088"/>
                    <a:gd name="connsiteX49" fmla="*/ 171450 w 5657850"/>
                    <a:gd name="connsiteY49" fmla="*/ 2486025 h 3167088"/>
                    <a:gd name="connsiteX50" fmla="*/ 171450 w 5657850"/>
                    <a:gd name="connsiteY50" fmla="*/ 257175 h 3167088"/>
                    <a:gd name="connsiteX51" fmla="*/ 196567 w 5657850"/>
                    <a:gd name="connsiteY51" fmla="*/ 196567 h 3167088"/>
                    <a:gd name="connsiteX52" fmla="*/ 257169 w 5657850"/>
                    <a:gd name="connsiteY52" fmla="*/ 171450 h 3167088"/>
                    <a:gd name="connsiteX53" fmla="*/ 3600450 w 5657850"/>
                    <a:gd name="connsiteY53" fmla="*/ 171450 h 3167088"/>
                    <a:gd name="connsiteX54" fmla="*/ 3600450 w 5657850"/>
                    <a:gd name="connsiteY54" fmla="*/ 1285875 h 3167088"/>
                    <a:gd name="connsiteX55" fmla="*/ 5057775 w 5657850"/>
                    <a:gd name="connsiteY55" fmla="*/ 1285875 h 3167088"/>
                    <a:gd name="connsiteX56" fmla="*/ 5360842 w 5657850"/>
                    <a:gd name="connsiteY56" fmla="*/ 1411428 h 3167088"/>
                    <a:gd name="connsiteX57" fmla="*/ 5486400 w 5657850"/>
                    <a:gd name="connsiteY57" fmla="*/ 1714500 h 3167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657850" h="3167088">
                      <a:moveTo>
                        <a:pt x="5057775" y="1114425"/>
                      </a:moveTo>
                      <a:lnTo>
                        <a:pt x="4426839" y="0"/>
                      </a:lnTo>
                      <a:lnTo>
                        <a:pt x="257175" y="0"/>
                      </a:lnTo>
                      <a:cubicBezTo>
                        <a:pt x="188972" y="0"/>
                        <a:pt x="123564" y="27101"/>
                        <a:pt x="75324" y="75324"/>
                      </a:cubicBezTo>
                      <a:cubicBezTo>
                        <a:pt x="27106" y="123564"/>
                        <a:pt x="0" y="188978"/>
                        <a:pt x="0" y="257175"/>
                      </a:cubicBezTo>
                      <a:lnTo>
                        <a:pt x="0" y="2657475"/>
                      </a:lnTo>
                      <a:lnTo>
                        <a:pt x="692658" y="2657475"/>
                      </a:lnTo>
                      <a:cubicBezTo>
                        <a:pt x="721747" y="2848168"/>
                        <a:pt x="840711" y="3013257"/>
                        <a:pt x="1012430" y="3101171"/>
                      </a:cubicBezTo>
                      <a:cubicBezTo>
                        <a:pt x="1184125" y="3189062"/>
                        <a:pt x="1387631" y="3189062"/>
                        <a:pt x="1559326" y="3101171"/>
                      </a:cubicBezTo>
                      <a:cubicBezTo>
                        <a:pt x="1731045" y="3013257"/>
                        <a:pt x="1850008" y="2848168"/>
                        <a:pt x="1879098" y="2657475"/>
                      </a:cubicBezTo>
                      <a:lnTo>
                        <a:pt x="3950214" y="2657475"/>
                      </a:lnTo>
                      <a:cubicBezTo>
                        <a:pt x="3979303" y="2848168"/>
                        <a:pt x="4098267" y="3013257"/>
                        <a:pt x="4269985" y="3101171"/>
                      </a:cubicBezTo>
                      <a:cubicBezTo>
                        <a:pt x="4441681" y="3189062"/>
                        <a:pt x="4645187" y="3189062"/>
                        <a:pt x="4816882" y="3101171"/>
                      </a:cubicBezTo>
                      <a:cubicBezTo>
                        <a:pt x="4988601" y="3013257"/>
                        <a:pt x="5107564" y="2848168"/>
                        <a:pt x="5136642" y="2657475"/>
                      </a:cubicBezTo>
                      <a:lnTo>
                        <a:pt x="5657850" y="2657475"/>
                      </a:lnTo>
                      <a:lnTo>
                        <a:pt x="5657850" y="1714500"/>
                      </a:lnTo>
                      <a:cubicBezTo>
                        <a:pt x="5657850" y="1555349"/>
                        <a:pt x="5594642" y="1402718"/>
                        <a:pt x="5482114" y="1290184"/>
                      </a:cubicBezTo>
                      <a:cubicBezTo>
                        <a:pt x="5369586" y="1177650"/>
                        <a:pt x="5216938" y="1114425"/>
                        <a:pt x="5057781" y="1114425"/>
                      </a:cubicBezTo>
                      <a:close/>
                      <a:moveTo>
                        <a:pt x="3771900" y="171450"/>
                      </a:moveTo>
                      <a:lnTo>
                        <a:pt x="4327392" y="171450"/>
                      </a:lnTo>
                      <a:lnTo>
                        <a:pt x="4860608" y="1114425"/>
                      </a:lnTo>
                      <a:lnTo>
                        <a:pt x="3771900" y="1114425"/>
                      </a:lnTo>
                      <a:close/>
                      <a:moveTo>
                        <a:pt x="1285875" y="3000375"/>
                      </a:moveTo>
                      <a:cubicBezTo>
                        <a:pt x="1172198" y="3000375"/>
                        <a:pt x="1063167" y="2955215"/>
                        <a:pt x="982803" y="2874822"/>
                      </a:cubicBezTo>
                      <a:cubicBezTo>
                        <a:pt x="902416" y="2794458"/>
                        <a:pt x="857250" y="2685422"/>
                        <a:pt x="857250" y="2571750"/>
                      </a:cubicBezTo>
                      <a:cubicBezTo>
                        <a:pt x="857250" y="2458079"/>
                        <a:pt x="902410" y="2349042"/>
                        <a:pt x="982803" y="2268678"/>
                      </a:cubicBezTo>
                      <a:cubicBezTo>
                        <a:pt x="1063167" y="2188291"/>
                        <a:pt x="1172204" y="2143125"/>
                        <a:pt x="1285875" y="2143125"/>
                      </a:cubicBezTo>
                      <a:cubicBezTo>
                        <a:pt x="1399546" y="2143125"/>
                        <a:pt x="1508583" y="2188285"/>
                        <a:pt x="1588947" y="2268678"/>
                      </a:cubicBezTo>
                      <a:cubicBezTo>
                        <a:pt x="1669334" y="2349042"/>
                        <a:pt x="1714500" y="2458079"/>
                        <a:pt x="1714500" y="2571750"/>
                      </a:cubicBezTo>
                      <a:cubicBezTo>
                        <a:pt x="1714500" y="2685422"/>
                        <a:pt x="1669340" y="2794458"/>
                        <a:pt x="1588947" y="2874822"/>
                      </a:cubicBezTo>
                      <a:cubicBezTo>
                        <a:pt x="1508583" y="2955209"/>
                        <a:pt x="1399546" y="3000375"/>
                        <a:pt x="1285875" y="3000375"/>
                      </a:cubicBezTo>
                      <a:close/>
                      <a:moveTo>
                        <a:pt x="4543425" y="3000375"/>
                      </a:moveTo>
                      <a:cubicBezTo>
                        <a:pt x="4429748" y="3000375"/>
                        <a:pt x="4320717" y="2955215"/>
                        <a:pt x="4240353" y="2874822"/>
                      </a:cubicBezTo>
                      <a:cubicBezTo>
                        <a:pt x="4159966" y="2794458"/>
                        <a:pt x="4114800" y="2685422"/>
                        <a:pt x="4114800" y="2571750"/>
                      </a:cubicBezTo>
                      <a:cubicBezTo>
                        <a:pt x="4114800" y="2458079"/>
                        <a:pt x="4159960" y="2349042"/>
                        <a:pt x="4240353" y="2268678"/>
                      </a:cubicBezTo>
                      <a:cubicBezTo>
                        <a:pt x="4320717" y="2188291"/>
                        <a:pt x="4429754" y="2143125"/>
                        <a:pt x="4543425" y="2143125"/>
                      </a:cubicBezTo>
                      <a:cubicBezTo>
                        <a:pt x="4657097" y="2143125"/>
                        <a:pt x="4766133" y="2188285"/>
                        <a:pt x="4846497" y="2268678"/>
                      </a:cubicBezTo>
                      <a:cubicBezTo>
                        <a:pt x="4926885" y="2349042"/>
                        <a:pt x="4972050" y="2458079"/>
                        <a:pt x="4972050" y="2571750"/>
                      </a:cubicBezTo>
                      <a:cubicBezTo>
                        <a:pt x="4972050" y="2685422"/>
                        <a:pt x="4926890" y="2794458"/>
                        <a:pt x="4846497" y="2874822"/>
                      </a:cubicBezTo>
                      <a:cubicBezTo>
                        <a:pt x="4766133" y="2955209"/>
                        <a:pt x="4657097" y="3000375"/>
                        <a:pt x="4543425" y="3000375"/>
                      </a:cubicBezTo>
                      <a:close/>
                      <a:moveTo>
                        <a:pt x="5486400" y="2486025"/>
                      </a:moveTo>
                      <a:lnTo>
                        <a:pt x="5136642" y="2486025"/>
                      </a:lnTo>
                      <a:cubicBezTo>
                        <a:pt x="5107559" y="2295333"/>
                        <a:pt x="4988595" y="2130243"/>
                        <a:pt x="4816877" y="2042329"/>
                      </a:cubicBezTo>
                      <a:cubicBezTo>
                        <a:pt x="4645181" y="1954439"/>
                        <a:pt x="4441675" y="1954439"/>
                        <a:pt x="4269980" y="2042329"/>
                      </a:cubicBezTo>
                      <a:cubicBezTo>
                        <a:pt x="4098261" y="2130243"/>
                        <a:pt x="3979297" y="2295333"/>
                        <a:pt x="3950208" y="2486025"/>
                      </a:cubicBezTo>
                      <a:lnTo>
                        <a:pt x="1879092" y="2486025"/>
                      </a:lnTo>
                      <a:cubicBezTo>
                        <a:pt x="1850003" y="2295333"/>
                        <a:pt x="1731039" y="2130243"/>
                        <a:pt x="1559321" y="2042329"/>
                      </a:cubicBezTo>
                      <a:cubicBezTo>
                        <a:pt x="1387625" y="1954439"/>
                        <a:pt x="1184120" y="1954439"/>
                        <a:pt x="1012424" y="2042329"/>
                      </a:cubicBezTo>
                      <a:cubicBezTo>
                        <a:pt x="840705" y="2130243"/>
                        <a:pt x="721742" y="2295333"/>
                        <a:pt x="692652" y="2486025"/>
                      </a:cubicBezTo>
                      <a:lnTo>
                        <a:pt x="171450" y="2486025"/>
                      </a:lnTo>
                      <a:lnTo>
                        <a:pt x="171450" y="257175"/>
                      </a:lnTo>
                      <a:cubicBezTo>
                        <a:pt x="171450" y="234447"/>
                        <a:pt x="180491" y="212638"/>
                        <a:pt x="196567" y="196567"/>
                      </a:cubicBezTo>
                      <a:cubicBezTo>
                        <a:pt x="212638" y="180497"/>
                        <a:pt x="234446" y="171450"/>
                        <a:pt x="257169" y="171450"/>
                      </a:cubicBezTo>
                      <a:lnTo>
                        <a:pt x="3600450" y="171450"/>
                      </a:lnTo>
                      <a:lnTo>
                        <a:pt x="3600450" y="1285875"/>
                      </a:lnTo>
                      <a:lnTo>
                        <a:pt x="5057775" y="1285875"/>
                      </a:lnTo>
                      <a:cubicBezTo>
                        <a:pt x="5171447" y="1285875"/>
                        <a:pt x="5280489" y="1331041"/>
                        <a:pt x="5360842" y="1411428"/>
                      </a:cubicBezTo>
                      <a:cubicBezTo>
                        <a:pt x="5441252" y="1491792"/>
                        <a:pt x="5486400" y="1600829"/>
                        <a:pt x="5486400" y="1714500"/>
                      </a:cubicBezTo>
                      <a:close/>
                    </a:path>
                  </a:pathLst>
                </a:custGeom>
                <a:solidFill>
                  <a:schemeClr val="bg1"/>
                </a:solidFill>
                <a:ln w="57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grpSp>
        <p:grpSp>
          <p:nvGrpSpPr>
            <p:cNvPr id="8" name="Group 7">
              <a:extLst>
                <a:ext uri="{FF2B5EF4-FFF2-40B4-BE49-F238E27FC236}">
                  <a16:creationId xmlns:a16="http://schemas.microsoft.com/office/drawing/2014/main" id="{38AAB3D2-B38A-FBBE-829A-D1F42E196D24}"/>
                </a:ext>
              </a:extLst>
            </p:cNvPr>
            <p:cNvGrpSpPr/>
            <p:nvPr/>
          </p:nvGrpSpPr>
          <p:grpSpPr>
            <a:xfrm>
              <a:off x="6972285" y="7048604"/>
              <a:ext cx="1172407" cy="392652"/>
              <a:chOff x="6949772" y="5915494"/>
              <a:chExt cx="1172407" cy="392652"/>
            </a:xfrm>
          </p:grpSpPr>
          <p:grpSp>
            <p:nvGrpSpPr>
              <p:cNvPr id="63" name="Group 62">
                <a:extLst>
                  <a:ext uri="{FF2B5EF4-FFF2-40B4-BE49-F238E27FC236}">
                    <a16:creationId xmlns:a16="http://schemas.microsoft.com/office/drawing/2014/main" id="{F7821062-24E7-EDA7-F62C-1DB0CEEB0C30}"/>
                  </a:ext>
                </a:extLst>
              </p:cNvPr>
              <p:cNvGrpSpPr/>
              <p:nvPr/>
            </p:nvGrpSpPr>
            <p:grpSpPr>
              <a:xfrm>
                <a:off x="6949772" y="5915494"/>
                <a:ext cx="340028" cy="392652"/>
                <a:chOff x="6971435" y="5940509"/>
                <a:chExt cx="296702" cy="342621"/>
              </a:xfrm>
            </p:grpSpPr>
            <p:sp>
              <p:nvSpPr>
                <p:cNvPr id="452" name="Graphic 18">
                  <a:extLst>
                    <a:ext uri="{FF2B5EF4-FFF2-40B4-BE49-F238E27FC236}">
                      <a16:creationId xmlns:a16="http://schemas.microsoft.com/office/drawing/2014/main" id="{A6CA4F87-EFF3-EBB6-7275-9A2D95DD9617}"/>
                    </a:ext>
                  </a:extLst>
                </p:cNvPr>
                <p:cNvSpPr/>
                <p:nvPr/>
              </p:nvSpPr>
              <p:spPr>
                <a:xfrm>
                  <a:off x="6971435" y="5940509"/>
                  <a:ext cx="296702" cy="342621"/>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sp>
              <p:nvSpPr>
                <p:cNvPr id="453" name="Freeform: Shape 134">
                  <a:extLst>
                    <a:ext uri="{FF2B5EF4-FFF2-40B4-BE49-F238E27FC236}">
                      <a16:creationId xmlns:a16="http://schemas.microsoft.com/office/drawing/2014/main" id="{FB63A794-581C-039F-BC61-B3FA24E1A840}"/>
                    </a:ext>
                  </a:extLst>
                </p:cNvPr>
                <p:cNvSpPr/>
                <p:nvPr/>
              </p:nvSpPr>
              <p:spPr>
                <a:xfrm>
                  <a:off x="7002039" y="5996956"/>
                  <a:ext cx="235030" cy="195119"/>
                </a:xfrm>
                <a:custGeom>
                  <a:avLst/>
                  <a:gdLst>
                    <a:gd name="connsiteX0" fmla="*/ 6062497 w 6179046"/>
                    <a:gd name="connsiteY0" fmla="*/ 4917170 h 5129785"/>
                    <a:gd name="connsiteX1" fmla="*/ 5308116 w 6179046"/>
                    <a:gd name="connsiteY1" fmla="*/ 4917170 h 5129785"/>
                    <a:gd name="connsiteX2" fmla="*/ 5308116 w 6179046"/>
                    <a:gd name="connsiteY2" fmla="*/ 1968230 h 5129785"/>
                    <a:gd name="connsiteX3" fmla="*/ 5534442 w 6179046"/>
                    <a:gd name="connsiteY3" fmla="*/ 2146532 h 5129785"/>
                    <a:gd name="connsiteX4" fmla="*/ 5603022 w 6179046"/>
                    <a:gd name="connsiteY4" fmla="*/ 2167115 h 5129785"/>
                    <a:gd name="connsiteX5" fmla="*/ 5685307 w 6179046"/>
                    <a:gd name="connsiteY5" fmla="*/ 2125972 h 5129785"/>
                    <a:gd name="connsiteX6" fmla="*/ 5664723 w 6179046"/>
                    <a:gd name="connsiteY6" fmla="*/ 1975108 h 5129785"/>
                    <a:gd name="connsiteX7" fmla="*/ 3154695 w 6179046"/>
                    <a:gd name="connsiteY7" fmla="*/ 20577 h 5129785"/>
                    <a:gd name="connsiteX8" fmla="*/ 3024387 w 6179046"/>
                    <a:gd name="connsiteY8" fmla="*/ 20577 h 5129785"/>
                    <a:gd name="connsiteX9" fmla="*/ 500643 w 6179046"/>
                    <a:gd name="connsiteY9" fmla="*/ 1975108 h 5129785"/>
                    <a:gd name="connsiteX10" fmla="*/ 480060 w 6179046"/>
                    <a:gd name="connsiteY10" fmla="*/ 2125972 h 5129785"/>
                    <a:gd name="connsiteX11" fmla="*/ 630925 w 6179046"/>
                    <a:gd name="connsiteY11" fmla="*/ 2146555 h 5129785"/>
                    <a:gd name="connsiteX12" fmla="*/ 857250 w 6179046"/>
                    <a:gd name="connsiteY12" fmla="*/ 1968253 h 5129785"/>
                    <a:gd name="connsiteX13" fmla="*/ 857250 w 6179046"/>
                    <a:gd name="connsiteY13" fmla="*/ 4917193 h 5129785"/>
                    <a:gd name="connsiteX14" fmla="*/ 102870 w 6179046"/>
                    <a:gd name="connsiteY14" fmla="*/ 4917193 h 5129785"/>
                    <a:gd name="connsiteX15" fmla="*/ 0 w 6179046"/>
                    <a:gd name="connsiteY15" fmla="*/ 5020063 h 5129785"/>
                    <a:gd name="connsiteX16" fmla="*/ 109722 w 6179046"/>
                    <a:gd name="connsiteY16" fmla="*/ 5129785 h 5129785"/>
                    <a:gd name="connsiteX17" fmla="*/ 6069324 w 6179046"/>
                    <a:gd name="connsiteY17" fmla="*/ 5129785 h 5129785"/>
                    <a:gd name="connsiteX18" fmla="*/ 6179047 w 6179046"/>
                    <a:gd name="connsiteY18" fmla="*/ 5020063 h 5129785"/>
                    <a:gd name="connsiteX19" fmla="*/ 6062490 w 6179046"/>
                    <a:gd name="connsiteY19" fmla="*/ 4917193 h 5129785"/>
                    <a:gd name="connsiteX20" fmla="*/ 4505730 w 6179046"/>
                    <a:gd name="connsiteY20" fmla="*/ 4917170 h 5129785"/>
                    <a:gd name="connsiteX21" fmla="*/ 1666518 w 6179046"/>
                    <a:gd name="connsiteY21" fmla="*/ 4917170 h 5129785"/>
                    <a:gd name="connsiteX22" fmla="*/ 1666518 w 6179046"/>
                    <a:gd name="connsiteY22" fmla="*/ 2304272 h 5129785"/>
                    <a:gd name="connsiteX23" fmla="*/ 4505730 w 6179046"/>
                    <a:gd name="connsiteY23" fmla="*/ 2304272 h 5129785"/>
                    <a:gd name="connsiteX24" fmla="*/ 5095518 w 6179046"/>
                    <a:gd name="connsiteY24" fmla="*/ 4917170 h 5129785"/>
                    <a:gd name="connsiteX25" fmla="*/ 4718328 w 6179046"/>
                    <a:gd name="connsiteY25" fmla="*/ 4917170 h 5129785"/>
                    <a:gd name="connsiteX26" fmla="*/ 4718328 w 6179046"/>
                    <a:gd name="connsiteY26" fmla="*/ 2201402 h 5129785"/>
                    <a:gd name="connsiteX27" fmla="*/ 4608606 w 6179046"/>
                    <a:gd name="connsiteY27" fmla="*/ 2091680 h 5129785"/>
                    <a:gd name="connsiteX28" fmla="*/ 1563654 w 6179046"/>
                    <a:gd name="connsiteY28" fmla="*/ 2091680 h 5129785"/>
                    <a:gd name="connsiteX29" fmla="*/ 1453932 w 6179046"/>
                    <a:gd name="connsiteY29" fmla="*/ 2201402 h 5129785"/>
                    <a:gd name="connsiteX30" fmla="*/ 1453932 w 6179046"/>
                    <a:gd name="connsiteY30" fmla="*/ 4917170 h 5129785"/>
                    <a:gd name="connsiteX31" fmla="*/ 1076741 w 6179046"/>
                    <a:gd name="connsiteY31" fmla="*/ 4917170 h 5129785"/>
                    <a:gd name="connsiteX32" fmla="*/ 1076719 w 6179046"/>
                    <a:gd name="connsiteY32" fmla="*/ 1803638 h 5129785"/>
                    <a:gd name="connsiteX33" fmla="*/ 3086113 w 6179046"/>
                    <a:gd name="connsiteY33" fmla="*/ 240014 h 5129785"/>
                    <a:gd name="connsiteX34" fmla="*/ 5095507 w 6179046"/>
                    <a:gd name="connsiteY34" fmla="*/ 1803638 h 5129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179046" h="5129785">
                      <a:moveTo>
                        <a:pt x="6062497" y="4917170"/>
                      </a:moveTo>
                      <a:lnTo>
                        <a:pt x="5308116" y="4917170"/>
                      </a:lnTo>
                      <a:lnTo>
                        <a:pt x="5308116" y="1968230"/>
                      </a:lnTo>
                      <a:lnTo>
                        <a:pt x="5534442" y="2146532"/>
                      </a:lnTo>
                      <a:cubicBezTo>
                        <a:pt x="5555024" y="2160239"/>
                        <a:pt x="5575585" y="2167115"/>
                        <a:pt x="5603022" y="2167115"/>
                      </a:cubicBezTo>
                      <a:cubicBezTo>
                        <a:pt x="5637312" y="2167115"/>
                        <a:pt x="5664749" y="2153409"/>
                        <a:pt x="5685307" y="2125972"/>
                      </a:cubicBezTo>
                      <a:cubicBezTo>
                        <a:pt x="5719597" y="2077975"/>
                        <a:pt x="5712743" y="2009398"/>
                        <a:pt x="5664723" y="1975108"/>
                      </a:cubicBezTo>
                      <a:lnTo>
                        <a:pt x="3154695" y="20577"/>
                      </a:lnTo>
                      <a:cubicBezTo>
                        <a:pt x="3113552" y="-6859"/>
                        <a:pt x="3065530" y="-6859"/>
                        <a:pt x="3024387" y="20577"/>
                      </a:cubicBezTo>
                      <a:lnTo>
                        <a:pt x="500643" y="1975108"/>
                      </a:lnTo>
                      <a:cubicBezTo>
                        <a:pt x="452646" y="2009398"/>
                        <a:pt x="445770" y="2077978"/>
                        <a:pt x="480060" y="2125972"/>
                      </a:cubicBezTo>
                      <a:cubicBezTo>
                        <a:pt x="514350" y="2173969"/>
                        <a:pt x="582930" y="2180845"/>
                        <a:pt x="630925" y="2146555"/>
                      </a:cubicBezTo>
                      <a:lnTo>
                        <a:pt x="857250" y="1968253"/>
                      </a:lnTo>
                      <a:lnTo>
                        <a:pt x="857250" y="4917193"/>
                      </a:lnTo>
                      <a:lnTo>
                        <a:pt x="102870" y="4917193"/>
                      </a:lnTo>
                      <a:cubicBezTo>
                        <a:pt x="47997" y="4917193"/>
                        <a:pt x="0" y="4965190"/>
                        <a:pt x="0" y="5020063"/>
                      </a:cubicBezTo>
                      <a:cubicBezTo>
                        <a:pt x="0" y="5074936"/>
                        <a:pt x="47997" y="5129785"/>
                        <a:pt x="109722" y="5129785"/>
                      </a:cubicBezTo>
                      <a:lnTo>
                        <a:pt x="6069324" y="5129785"/>
                      </a:lnTo>
                      <a:cubicBezTo>
                        <a:pt x="6131052" y="5129785"/>
                        <a:pt x="6179047" y="5081788"/>
                        <a:pt x="6179047" y="5020063"/>
                      </a:cubicBezTo>
                      <a:cubicBezTo>
                        <a:pt x="6179069" y="4958335"/>
                        <a:pt x="6124218" y="4917193"/>
                        <a:pt x="6062490" y="4917193"/>
                      </a:cubicBezTo>
                      <a:close/>
                      <a:moveTo>
                        <a:pt x="4505730" y="4917170"/>
                      </a:moveTo>
                      <a:lnTo>
                        <a:pt x="1666518" y="4917170"/>
                      </a:lnTo>
                      <a:lnTo>
                        <a:pt x="1666518" y="2304272"/>
                      </a:lnTo>
                      <a:lnTo>
                        <a:pt x="4505730" y="2304272"/>
                      </a:lnTo>
                      <a:close/>
                      <a:moveTo>
                        <a:pt x="5095518" y="4917170"/>
                      </a:moveTo>
                      <a:lnTo>
                        <a:pt x="4718328" y="4917170"/>
                      </a:lnTo>
                      <a:lnTo>
                        <a:pt x="4718328" y="2201402"/>
                      </a:lnTo>
                      <a:cubicBezTo>
                        <a:pt x="4718328" y="2139674"/>
                        <a:pt x="4670331" y="2091680"/>
                        <a:pt x="4608606" y="2091680"/>
                      </a:cubicBezTo>
                      <a:lnTo>
                        <a:pt x="1563654" y="2091680"/>
                      </a:lnTo>
                      <a:cubicBezTo>
                        <a:pt x="1501926" y="2091680"/>
                        <a:pt x="1453932" y="2139677"/>
                        <a:pt x="1453932" y="2201402"/>
                      </a:cubicBezTo>
                      <a:lnTo>
                        <a:pt x="1453932" y="4917170"/>
                      </a:lnTo>
                      <a:lnTo>
                        <a:pt x="1076741" y="4917170"/>
                      </a:lnTo>
                      <a:lnTo>
                        <a:pt x="1076719" y="1803638"/>
                      </a:lnTo>
                      <a:lnTo>
                        <a:pt x="3086113" y="240014"/>
                      </a:lnTo>
                      <a:lnTo>
                        <a:pt x="5095507" y="1803638"/>
                      </a:lnTo>
                      <a:close/>
                    </a:path>
                  </a:pathLst>
                </a:custGeom>
                <a:solidFill>
                  <a:schemeClr val="bg1"/>
                </a:solidFill>
                <a:ln w="635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sp>
            <p:nvSpPr>
              <p:cNvPr id="451" name="Rectangle 450">
                <a:extLst>
                  <a:ext uri="{FF2B5EF4-FFF2-40B4-BE49-F238E27FC236}">
                    <a16:creationId xmlns:a16="http://schemas.microsoft.com/office/drawing/2014/main" id="{9C286D51-3450-5873-22C8-76A467B3D844}"/>
                  </a:ext>
                </a:extLst>
              </p:cNvPr>
              <p:cNvSpPr/>
              <p:nvPr/>
            </p:nvSpPr>
            <p:spPr>
              <a:xfrm>
                <a:off x="7338616" y="5945780"/>
                <a:ext cx="783563" cy="3162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Roboto"/>
                    <a:ea typeface="+mn-ea"/>
                    <a:cs typeface="+mn-cs"/>
                  </a:rPr>
                  <a:t>Branch of the future</a:t>
                </a:r>
              </a:p>
            </p:txBody>
          </p:sp>
        </p:grpSp>
        <p:grpSp>
          <p:nvGrpSpPr>
            <p:cNvPr id="9" name="Group 8">
              <a:extLst>
                <a:ext uri="{FF2B5EF4-FFF2-40B4-BE49-F238E27FC236}">
                  <a16:creationId xmlns:a16="http://schemas.microsoft.com/office/drawing/2014/main" id="{B3DAD935-4AFD-225D-D8BD-876903953CC5}"/>
                </a:ext>
              </a:extLst>
            </p:cNvPr>
            <p:cNvGrpSpPr/>
            <p:nvPr/>
          </p:nvGrpSpPr>
          <p:grpSpPr>
            <a:xfrm>
              <a:off x="610942" y="7019881"/>
              <a:ext cx="1516344" cy="392652"/>
              <a:chOff x="5455941" y="5922358"/>
              <a:chExt cx="1516344" cy="392652"/>
            </a:xfrm>
          </p:grpSpPr>
          <p:sp>
            <p:nvSpPr>
              <p:cNvPr id="59" name="Rectangle 58">
                <a:extLst>
                  <a:ext uri="{FF2B5EF4-FFF2-40B4-BE49-F238E27FC236}">
                    <a16:creationId xmlns:a16="http://schemas.microsoft.com/office/drawing/2014/main" id="{95A29387-4F93-34ED-E3A1-15E2A85B9D70}"/>
                  </a:ext>
                </a:extLst>
              </p:cNvPr>
              <p:cNvSpPr/>
              <p:nvPr/>
            </p:nvSpPr>
            <p:spPr>
              <a:xfrm>
                <a:off x="5833292" y="5960556"/>
                <a:ext cx="1138993" cy="3162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Roboto"/>
                    <a:ea typeface="+mn-ea"/>
                    <a:cs typeface="+mn-cs"/>
                  </a:rPr>
                  <a:t>Always in stock</a:t>
                </a:r>
              </a:p>
            </p:txBody>
          </p:sp>
          <p:grpSp>
            <p:nvGrpSpPr>
              <p:cNvPr id="60" name="Group 59">
                <a:extLst>
                  <a:ext uri="{FF2B5EF4-FFF2-40B4-BE49-F238E27FC236}">
                    <a16:creationId xmlns:a16="http://schemas.microsoft.com/office/drawing/2014/main" id="{9510B307-96D0-551A-B482-912B6A802E33}"/>
                  </a:ext>
                </a:extLst>
              </p:cNvPr>
              <p:cNvGrpSpPr/>
              <p:nvPr/>
            </p:nvGrpSpPr>
            <p:grpSpPr>
              <a:xfrm>
                <a:off x="5455941" y="5922358"/>
                <a:ext cx="340028" cy="392652"/>
                <a:chOff x="5477604" y="5947373"/>
                <a:chExt cx="296702" cy="342621"/>
              </a:xfrm>
            </p:grpSpPr>
            <p:sp>
              <p:nvSpPr>
                <p:cNvPr id="61" name="Graphic 18">
                  <a:extLst>
                    <a:ext uri="{FF2B5EF4-FFF2-40B4-BE49-F238E27FC236}">
                      <a16:creationId xmlns:a16="http://schemas.microsoft.com/office/drawing/2014/main" id="{10D7A559-6BD0-DAB4-140F-C500D4FE2A81}"/>
                    </a:ext>
                  </a:extLst>
                </p:cNvPr>
                <p:cNvSpPr/>
                <p:nvPr/>
              </p:nvSpPr>
              <p:spPr>
                <a:xfrm>
                  <a:off x="5477604" y="5947373"/>
                  <a:ext cx="296702" cy="342621"/>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accent1"/>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pic>
              <p:nvPicPr>
                <p:cNvPr id="62" name="Graphic 61">
                  <a:extLst>
                    <a:ext uri="{FF2B5EF4-FFF2-40B4-BE49-F238E27FC236}">
                      <a16:creationId xmlns:a16="http://schemas.microsoft.com/office/drawing/2014/main" id="{174F06EE-7195-093E-1FB4-58ADA300074D}"/>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500910" y="5994379"/>
                  <a:ext cx="245046" cy="244644"/>
                </a:xfrm>
                <a:prstGeom prst="rect">
                  <a:avLst/>
                </a:prstGeom>
              </p:spPr>
            </p:pic>
          </p:grpSp>
        </p:grpSp>
        <p:grpSp>
          <p:nvGrpSpPr>
            <p:cNvPr id="11" name="Group 10">
              <a:extLst>
                <a:ext uri="{FF2B5EF4-FFF2-40B4-BE49-F238E27FC236}">
                  <a16:creationId xmlns:a16="http://schemas.microsoft.com/office/drawing/2014/main" id="{C215EF6F-1B7D-6383-C808-7C202516A92B}"/>
                </a:ext>
              </a:extLst>
            </p:cNvPr>
            <p:cNvGrpSpPr/>
            <p:nvPr/>
          </p:nvGrpSpPr>
          <p:grpSpPr>
            <a:xfrm>
              <a:off x="610942" y="6524625"/>
              <a:ext cx="1527837" cy="392652"/>
              <a:chOff x="6949772" y="5497515"/>
              <a:chExt cx="1527837" cy="392652"/>
            </a:xfrm>
          </p:grpSpPr>
          <p:sp>
            <p:nvSpPr>
              <p:cNvPr id="42" name="Rectangle 41">
                <a:extLst>
                  <a:ext uri="{FF2B5EF4-FFF2-40B4-BE49-F238E27FC236}">
                    <a16:creationId xmlns:a16="http://schemas.microsoft.com/office/drawing/2014/main" id="{DD3033CD-D390-A604-11B7-BF57A35C2B43}"/>
                  </a:ext>
                </a:extLst>
              </p:cNvPr>
              <p:cNvSpPr/>
              <p:nvPr/>
            </p:nvSpPr>
            <p:spPr>
              <a:xfrm>
                <a:off x="7338616" y="5542325"/>
                <a:ext cx="1138993" cy="3162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Roboto"/>
                    <a:ea typeface="+mn-ea"/>
                    <a:cs typeface="+mn-cs"/>
                  </a:rPr>
                  <a:t>Organisation simplification</a:t>
                </a:r>
              </a:p>
            </p:txBody>
          </p:sp>
          <p:grpSp>
            <p:nvGrpSpPr>
              <p:cNvPr id="43" name="Group 42">
                <a:extLst>
                  <a:ext uri="{FF2B5EF4-FFF2-40B4-BE49-F238E27FC236}">
                    <a16:creationId xmlns:a16="http://schemas.microsoft.com/office/drawing/2014/main" id="{88258DC8-D39D-0689-4B81-963664429DD7}"/>
                  </a:ext>
                </a:extLst>
              </p:cNvPr>
              <p:cNvGrpSpPr/>
              <p:nvPr/>
            </p:nvGrpSpPr>
            <p:grpSpPr>
              <a:xfrm>
                <a:off x="6949772" y="5497515"/>
                <a:ext cx="340028" cy="392652"/>
                <a:chOff x="6971435" y="5522530"/>
                <a:chExt cx="296702" cy="342621"/>
              </a:xfrm>
            </p:grpSpPr>
            <p:sp>
              <p:nvSpPr>
                <p:cNvPr id="44" name="Graphic 18">
                  <a:extLst>
                    <a:ext uri="{FF2B5EF4-FFF2-40B4-BE49-F238E27FC236}">
                      <a16:creationId xmlns:a16="http://schemas.microsoft.com/office/drawing/2014/main" id="{6878CFDE-AA54-FBD7-74AA-FC7BF4BD3EFE}"/>
                    </a:ext>
                  </a:extLst>
                </p:cNvPr>
                <p:cNvSpPr/>
                <p:nvPr/>
              </p:nvSpPr>
              <p:spPr>
                <a:xfrm>
                  <a:off x="6971435" y="5522530"/>
                  <a:ext cx="296702" cy="342621"/>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grpSp>
              <p:nvGrpSpPr>
                <p:cNvPr id="45" name="Group 44">
                  <a:extLst>
                    <a:ext uri="{FF2B5EF4-FFF2-40B4-BE49-F238E27FC236}">
                      <a16:creationId xmlns:a16="http://schemas.microsoft.com/office/drawing/2014/main" id="{107D163F-F500-2707-365B-A4294F3D0B33}"/>
                    </a:ext>
                  </a:extLst>
                </p:cNvPr>
                <p:cNvGrpSpPr/>
                <p:nvPr/>
              </p:nvGrpSpPr>
              <p:grpSpPr>
                <a:xfrm>
                  <a:off x="6986504" y="5612060"/>
                  <a:ext cx="267414" cy="204636"/>
                  <a:chOff x="1924733" y="469313"/>
                  <a:chExt cx="8346876" cy="6387320"/>
                </a:xfrm>
              </p:grpSpPr>
              <p:sp>
                <p:nvSpPr>
                  <p:cNvPr id="46" name="Freeform: Shape 44">
                    <a:extLst>
                      <a:ext uri="{FF2B5EF4-FFF2-40B4-BE49-F238E27FC236}">
                        <a16:creationId xmlns:a16="http://schemas.microsoft.com/office/drawing/2014/main" id="{86D2FD77-FDBF-C192-0DC7-F7270CBFCAE8}"/>
                      </a:ext>
                    </a:extLst>
                  </p:cNvPr>
                  <p:cNvSpPr/>
                  <p:nvPr/>
                </p:nvSpPr>
                <p:spPr>
                  <a:xfrm>
                    <a:off x="2686125" y="2371884"/>
                    <a:ext cx="6776031" cy="2415327"/>
                  </a:xfrm>
                  <a:custGeom>
                    <a:avLst/>
                    <a:gdLst>
                      <a:gd name="connsiteX0" fmla="*/ 6612096 w 6776031"/>
                      <a:gd name="connsiteY0" fmla="*/ 0 h 2415327"/>
                      <a:gd name="connsiteX1" fmla="*/ 6448160 w 6776031"/>
                      <a:gd name="connsiteY1" fmla="*/ 163936 h 2415327"/>
                      <a:gd name="connsiteX2" fmla="*/ 6448160 w 6776031"/>
                      <a:gd name="connsiteY2" fmla="*/ 1224057 h 2415327"/>
                      <a:gd name="connsiteX3" fmla="*/ 3551952 w 6776031"/>
                      <a:gd name="connsiteY3" fmla="*/ 1224057 h 2415327"/>
                      <a:gd name="connsiteX4" fmla="*/ 3551952 w 6776031"/>
                      <a:gd name="connsiteY4" fmla="*/ 163936 h 2415327"/>
                      <a:gd name="connsiteX5" fmla="*/ 3388016 w 6776031"/>
                      <a:gd name="connsiteY5" fmla="*/ 0 h 2415327"/>
                      <a:gd name="connsiteX6" fmla="*/ 3224080 w 6776031"/>
                      <a:gd name="connsiteY6" fmla="*/ 163936 h 2415327"/>
                      <a:gd name="connsiteX7" fmla="*/ 3224080 w 6776031"/>
                      <a:gd name="connsiteY7" fmla="*/ 1224057 h 2415327"/>
                      <a:gd name="connsiteX8" fmla="*/ 327873 w 6776031"/>
                      <a:gd name="connsiteY8" fmla="*/ 1224057 h 2415327"/>
                      <a:gd name="connsiteX9" fmla="*/ 327873 w 6776031"/>
                      <a:gd name="connsiteY9" fmla="*/ 163936 h 2415327"/>
                      <a:gd name="connsiteX10" fmla="*/ 163936 w 6776031"/>
                      <a:gd name="connsiteY10" fmla="*/ 0 h 2415327"/>
                      <a:gd name="connsiteX11" fmla="*/ 0 w 6776031"/>
                      <a:gd name="connsiteY11" fmla="*/ 163936 h 2415327"/>
                      <a:gd name="connsiteX12" fmla="*/ 0 w 6776031"/>
                      <a:gd name="connsiteY12" fmla="*/ 1377065 h 2415327"/>
                      <a:gd name="connsiteX13" fmla="*/ 163936 w 6776031"/>
                      <a:gd name="connsiteY13" fmla="*/ 1541001 h 2415327"/>
                      <a:gd name="connsiteX14" fmla="*/ 3224080 w 6776031"/>
                      <a:gd name="connsiteY14" fmla="*/ 1541001 h 2415327"/>
                      <a:gd name="connsiteX15" fmla="*/ 3224080 w 6776031"/>
                      <a:gd name="connsiteY15" fmla="*/ 2251391 h 2415327"/>
                      <a:gd name="connsiteX16" fmla="*/ 3388016 w 6776031"/>
                      <a:gd name="connsiteY16" fmla="*/ 2415328 h 2415327"/>
                      <a:gd name="connsiteX17" fmla="*/ 3551952 w 6776031"/>
                      <a:gd name="connsiteY17" fmla="*/ 2251391 h 2415327"/>
                      <a:gd name="connsiteX18" fmla="*/ 3551952 w 6776031"/>
                      <a:gd name="connsiteY18" fmla="*/ 1541001 h 2415327"/>
                      <a:gd name="connsiteX19" fmla="*/ 6612096 w 6776031"/>
                      <a:gd name="connsiteY19" fmla="*/ 1541001 h 2415327"/>
                      <a:gd name="connsiteX20" fmla="*/ 6776032 w 6776031"/>
                      <a:gd name="connsiteY20" fmla="*/ 1377065 h 2415327"/>
                      <a:gd name="connsiteX21" fmla="*/ 6776032 w 6776031"/>
                      <a:gd name="connsiteY21" fmla="*/ 153007 h 2415327"/>
                      <a:gd name="connsiteX22" fmla="*/ 6612096 w 6776031"/>
                      <a:gd name="connsiteY22" fmla="*/ 0 h 2415327"/>
                      <a:gd name="connsiteX23" fmla="*/ 6612096 w 6776031"/>
                      <a:gd name="connsiteY23" fmla="*/ 0 h 2415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776031" h="2415327">
                        <a:moveTo>
                          <a:pt x="6612096" y="0"/>
                        </a:moveTo>
                        <a:cubicBezTo>
                          <a:pt x="6524663" y="0"/>
                          <a:pt x="6448160" y="76504"/>
                          <a:pt x="6448160" y="163936"/>
                        </a:cubicBezTo>
                        <a:lnTo>
                          <a:pt x="6448160" y="1224057"/>
                        </a:lnTo>
                        <a:lnTo>
                          <a:pt x="3551952" y="1224057"/>
                        </a:lnTo>
                        <a:lnTo>
                          <a:pt x="3551952" y="163936"/>
                        </a:lnTo>
                        <a:cubicBezTo>
                          <a:pt x="3551952" y="76504"/>
                          <a:pt x="3475449" y="0"/>
                          <a:pt x="3388016" y="0"/>
                        </a:cubicBezTo>
                        <a:cubicBezTo>
                          <a:pt x="3300583" y="0"/>
                          <a:pt x="3224080" y="76504"/>
                          <a:pt x="3224080" y="163936"/>
                        </a:cubicBezTo>
                        <a:lnTo>
                          <a:pt x="3224080" y="1224057"/>
                        </a:lnTo>
                        <a:lnTo>
                          <a:pt x="327873" y="1224057"/>
                        </a:lnTo>
                        <a:lnTo>
                          <a:pt x="327873" y="163936"/>
                        </a:lnTo>
                        <a:cubicBezTo>
                          <a:pt x="327873" y="76504"/>
                          <a:pt x="251369" y="0"/>
                          <a:pt x="163936" y="0"/>
                        </a:cubicBezTo>
                        <a:cubicBezTo>
                          <a:pt x="76504" y="0"/>
                          <a:pt x="0" y="65575"/>
                          <a:pt x="0" y="163936"/>
                        </a:cubicBezTo>
                        <a:lnTo>
                          <a:pt x="0" y="1377065"/>
                        </a:lnTo>
                        <a:cubicBezTo>
                          <a:pt x="0" y="1464497"/>
                          <a:pt x="76504" y="1541001"/>
                          <a:pt x="163936" y="1541001"/>
                        </a:cubicBezTo>
                        <a:lnTo>
                          <a:pt x="3224080" y="1541001"/>
                        </a:lnTo>
                        <a:lnTo>
                          <a:pt x="3224080" y="2251391"/>
                        </a:lnTo>
                        <a:cubicBezTo>
                          <a:pt x="3224080" y="2338824"/>
                          <a:pt x="3300583" y="2415328"/>
                          <a:pt x="3388016" y="2415328"/>
                        </a:cubicBezTo>
                        <a:cubicBezTo>
                          <a:pt x="3475449" y="2415328"/>
                          <a:pt x="3551952" y="2338824"/>
                          <a:pt x="3551952" y="2251391"/>
                        </a:cubicBezTo>
                        <a:lnTo>
                          <a:pt x="3551952" y="1541001"/>
                        </a:lnTo>
                        <a:lnTo>
                          <a:pt x="6612096" y="1541001"/>
                        </a:lnTo>
                        <a:cubicBezTo>
                          <a:pt x="6699529" y="1541001"/>
                          <a:pt x="6776032" y="1464497"/>
                          <a:pt x="6776032" y="1377065"/>
                        </a:cubicBezTo>
                        <a:lnTo>
                          <a:pt x="6776032" y="153007"/>
                        </a:lnTo>
                        <a:cubicBezTo>
                          <a:pt x="6776032" y="65575"/>
                          <a:pt x="6699529" y="0"/>
                          <a:pt x="6612096" y="0"/>
                        </a:cubicBezTo>
                        <a:lnTo>
                          <a:pt x="6612096" y="0"/>
                        </a:ln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7" name="Freeform: Shape 45">
                    <a:extLst>
                      <a:ext uri="{FF2B5EF4-FFF2-40B4-BE49-F238E27FC236}">
                        <a16:creationId xmlns:a16="http://schemas.microsoft.com/office/drawing/2014/main" id="{BA074995-3BFF-FB96-2964-85083ED6B18C}"/>
                      </a:ext>
                    </a:extLst>
                  </p:cNvPr>
                  <p:cNvSpPr/>
                  <p:nvPr/>
                </p:nvSpPr>
                <p:spPr>
                  <a:xfrm>
                    <a:off x="5645654" y="5176378"/>
                    <a:ext cx="796706" cy="796548"/>
                  </a:xfrm>
                  <a:custGeom>
                    <a:avLst/>
                    <a:gdLst>
                      <a:gd name="connsiteX0" fmla="*/ 395335 w 796706"/>
                      <a:gd name="connsiteY0" fmla="*/ 796548 h 796548"/>
                      <a:gd name="connsiteX1" fmla="*/ 796706 w 796706"/>
                      <a:gd name="connsiteY1" fmla="*/ 401371 h 796548"/>
                      <a:gd name="connsiteX2" fmla="*/ 401529 w 796706"/>
                      <a:gd name="connsiteY2" fmla="*/ 0 h 796548"/>
                      <a:gd name="connsiteX3" fmla="*/ 158 w 796706"/>
                      <a:gd name="connsiteY3" fmla="*/ 395178 h 796548"/>
                      <a:gd name="connsiteX4" fmla="*/ 395335 w 796706"/>
                      <a:gd name="connsiteY4" fmla="*/ 796548 h 796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706" h="796548">
                        <a:moveTo>
                          <a:pt x="395335" y="796548"/>
                        </a:moveTo>
                        <a:cubicBezTo>
                          <a:pt x="614828" y="796548"/>
                          <a:pt x="790513" y="620954"/>
                          <a:pt x="796706" y="401371"/>
                        </a:cubicBezTo>
                        <a:cubicBezTo>
                          <a:pt x="796706" y="181878"/>
                          <a:pt x="621112" y="0"/>
                          <a:pt x="401529" y="0"/>
                        </a:cubicBezTo>
                        <a:cubicBezTo>
                          <a:pt x="181945" y="0"/>
                          <a:pt x="158" y="175594"/>
                          <a:pt x="158" y="395178"/>
                        </a:cubicBezTo>
                        <a:cubicBezTo>
                          <a:pt x="-6126" y="614670"/>
                          <a:pt x="175752" y="790355"/>
                          <a:pt x="395335" y="796548"/>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8" name="Freeform: Shape 46">
                    <a:extLst>
                      <a:ext uri="{FF2B5EF4-FFF2-40B4-BE49-F238E27FC236}">
                        <a16:creationId xmlns:a16="http://schemas.microsoft.com/office/drawing/2014/main" id="{84EEE827-D5C4-9E4A-8990-CCAB9B7CDC7F}"/>
                      </a:ext>
                    </a:extLst>
                  </p:cNvPr>
                  <p:cNvSpPr/>
                  <p:nvPr/>
                </p:nvSpPr>
                <p:spPr>
                  <a:xfrm>
                    <a:off x="5075223" y="6635957"/>
                    <a:ext cx="9107" cy="33151"/>
                  </a:xfrm>
                  <a:custGeom>
                    <a:avLst/>
                    <a:gdLst>
                      <a:gd name="connsiteX0" fmla="*/ 0 w 9107"/>
                      <a:gd name="connsiteY0" fmla="*/ 33152 h 33151"/>
                      <a:gd name="connsiteX1" fmla="*/ 0 w 9107"/>
                      <a:gd name="connsiteY1" fmla="*/ 13297 h 33151"/>
                      <a:gd name="connsiteX2" fmla="*/ 0 w 9107"/>
                      <a:gd name="connsiteY2" fmla="*/ 0 h 33151"/>
                      <a:gd name="connsiteX3" fmla="*/ 0 w 9107"/>
                      <a:gd name="connsiteY3" fmla="*/ 33152 h 33151"/>
                    </a:gdLst>
                    <a:ahLst/>
                    <a:cxnLst>
                      <a:cxn ang="0">
                        <a:pos x="connsiteX0" y="connsiteY0"/>
                      </a:cxn>
                      <a:cxn ang="0">
                        <a:pos x="connsiteX1" y="connsiteY1"/>
                      </a:cxn>
                      <a:cxn ang="0">
                        <a:pos x="connsiteX2" y="connsiteY2"/>
                      </a:cxn>
                      <a:cxn ang="0">
                        <a:pos x="connsiteX3" y="connsiteY3"/>
                      </a:cxn>
                    </a:cxnLst>
                    <a:rect l="l" t="t" r="r" b="b"/>
                    <a:pathLst>
                      <a:path w="9107" h="33151">
                        <a:moveTo>
                          <a:pt x="0" y="33152"/>
                        </a:moveTo>
                        <a:cubicBezTo>
                          <a:pt x="0" y="26594"/>
                          <a:pt x="0" y="19946"/>
                          <a:pt x="0" y="13297"/>
                        </a:cubicBezTo>
                        <a:cubicBezTo>
                          <a:pt x="0" y="8835"/>
                          <a:pt x="0" y="4371"/>
                          <a:pt x="0" y="0"/>
                        </a:cubicBezTo>
                        <a:lnTo>
                          <a:pt x="0" y="33152"/>
                        </a:ln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9" name="Freeform: Shape 47">
                    <a:extLst>
                      <a:ext uri="{FF2B5EF4-FFF2-40B4-BE49-F238E27FC236}">
                        <a16:creationId xmlns:a16="http://schemas.microsoft.com/office/drawing/2014/main" id="{D83E5693-1B49-DB44-57DE-4F2D0D1D4BDB}"/>
                      </a:ext>
                    </a:extLst>
                  </p:cNvPr>
                  <p:cNvSpPr/>
                  <p:nvPr/>
                </p:nvSpPr>
                <p:spPr>
                  <a:xfrm>
                    <a:off x="5075223" y="6067783"/>
                    <a:ext cx="1947533" cy="788850"/>
                  </a:xfrm>
                  <a:custGeom>
                    <a:avLst/>
                    <a:gdLst>
                      <a:gd name="connsiteX0" fmla="*/ 1947380 w 1947533"/>
                      <a:gd name="connsiteY0" fmla="*/ 415805 h 788850"/>
                      <a:gd name="connsiteX1" fmla="*/ 1480071 w 1947533"/>
                      <a:gd name="connsiteY1" fmla="*/ 30645 h 788850"/>
                      <a:gd name="connsiteX2" fmla="*/ 1480071 w 1947533"/>
                      <a:gd name="connsiteY2" fmla="*/ 30645 h 788850"/>
                      <a:gd name="connsiteX3" fmla="*/ 457746 w 1947533"/>
                      <a:gd name="connsiteY3" fmla="*/ 30645 h 788850"/>
                      <a:gd name="connsiteX4" fmla="*/ 12477 w 1947533"/>
                      <a:gd name="connsiteY4" fmla="*/ 425823 h 788850"/>
                      <a:gd name="connsiteX5" fmla="*/ 0 w 1947533"/>
                      <a:gd name="connsiteY5" fmla="*/ 581562 h 788850"/>
                      <a:gd name="connsiteX6" fmla="*/ 12477 w 1947533"/>
                      <a:gd name="connsiteY6" fmla="*/ 687392 h 788850"/>
                      <a:gd name="connsiteX7" fmla="*/ 87979 w 1947533"/>
                      <a:gd name="connsiteY7" fmla="*/ 788850 h 788850"/>
                      <a:gd name="connsiteX8" fmla="*/ 1793736 w 1947533"/>
                      <a:gd name="connsiteY8" fmla="*/ 788850 h 788850"/>
                      <a:gd name="connsiteX9" fmla="*/ 1793736 w 1947533"/>
                      <a:gd name="connsiteY9" fmla="*/ 787849 h 788850"/>
                      <a:gd name="connsiteX10" fmla="*/ 1795922 w 1947533"/>
                      <a:gd name="connsiteY10" fmla="*/ 788850 h 788850"/>
                      <a:gd name="connsiteX11" fmla="*/ 1931716 w 1947533"/>
                      <a:gd name="connsiteY11" fmla="*/ 605879 h 788850"/>
                      <a:gd name="connsiteX12" fmla="*/ 1947380 w 1947533"/>
                      <a:gd name="connsiteY12" fmla="*/ 415805 h 788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47533" h="788850">
                        <a:moveTo>
                          <a:pt x="1947380" y="415805"/>
                        </a:moveTo>
                        <a:cubicBezTo>
                          <a:pt x="1884539" y="131831"/>
                          <a:pt x="1768599" y="68259"/>
                          <a:pt x="1480071" y="30645"/>
                        </a:cubicBezTo>
                        <a:lnTo>
                          <a:pt x="1480071" y="30645"/>
                        </a:lnTo>
                        <a:cubicBezTo>
                          <a:pt x="1141361" y="-13253"/>
                          <a:pt x="796457" y="-7060"/>
                          <a:pt x="457746" y="30645"/>
                        </a:cubicBezTo>
                        <a:cubicBezTo>
                          <a:pt x="206833" y="61975"/>
                          <a:pt x="62569" y="193671"/>
                          <a:pt x="12477" y="425823"/>
                        </a:cubicBezTo>
                        <a:cubicBezTo>
                          <a:pt x="1366" y="475732"/>
                          <a:pt x="91" y="530560"/>
                          <a:pt x="0" y="581562"/>
                        </a:cubicBezTo>
                        <a:cubicBezTo>
                          <a:pt x="182" y="615989"/>
                          <a:pt x="1457" y="654149"/>
                          <a:pt x="12477" y="687392"/>
                        </a:cubicBezTo>
                        <a:cubicBezTo>
                          <a:pt x="25046" y="725007"/>
                          <a:pt x="56649" y="769998"/>
                          <a:pt x="87979" y="788850"/>
                        </a:cubicBezTo>
                        <a:lnTo>
                          <a:pt x="1793736" y="788850"/>
                        </a:lnTo>
                        <a:lnTo>
                          <a:pt x="1793736" y="787849"/>
                        </a:lnTo>
                        <a:cubicBezTo>
                          <a:pt x="1794465" y="788213"/>
                          <a:pt x="1795193" y="788486"/>
                          <a:pt x="1795922" y="788850"/>
                        </a:cubicBezTo>
                        <a:cubicBezTo>
                          <a:pt x="1875977" y="750781"/>
                          <a:pt x="1929165" y="618174"/>
                          <a:pt x="1931716" y="605879"/>
                        </a:cubicBezTo>
                        <a:cubicBezTo>
                          <a:pt x="1940732" y="561343"/>
                          <a:pt x="1948747" y="526279"/>
                          <a:pt x="1947380" y="415805"/>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50" name="Freeform: Shape 48">
                    <a:extLst>
                      <a:ext uri="{FF2B5EF4-FFF2-40B4-BE49-F238E27FC236}">
                        <a16:creationId xmlns:a16="http://schemas.microsoft.com/office/drawing/2014/main" id="{9798FF5D-6BB2-F29D-BCDD-6B2F04D0813B}"/>
                      </a:ext>
                    </a:extLst>
                  </p:cNvPr>
                  <p:cNvSpPr/>
                  <p:nvPr/>
                </p:nvSpPr>
                <p:spPr>
                  <a:xfrm>
                    <a:off x="2495255" y="469313"/>
                    <a:ext cx="796706" cy="796548"/>
                  </a:xfrm>
                  <a:custGeom>
                    <a:avLst/>
                    <a:gdLst>
                      <a:gd name="connsiteX0" fmla="*/ 395336 w 796706"/>
                      <a:gd name="connsiteY0" fmla="*/ 796548 h 796548"/>
                      <a:gd name="connsiteX1" fmla="*/ 796706 w 796706"/>
                      <a:gd name="connsiteY1" fmla="*/ 401371 h 796548"/>
                      <a:gd name="connsiteX2" fmla="*/ 401529 w 796706"/>
                      <a:gd name="connsiteY2" fmla="*/ 0 h 796548"/>
                      <a:gd name="connsiteX3" fmla="*/ 158 w 796706"/>
                      <a:gd name="connsiteY3" fmla="*/ 395177 h 796548"/>
                      <a:gd name="connsiteX4" fmla="*/ 395336 w 796706"/>
                      <a:gd name="connsiteY4" fmla="*/ 796548 h 796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706" h="796548">
                        <a:moveTo>
                          <a:pt x="395336" y="796548"/>
                        </a:moveTo>
                        <a:cubicBezTo>
                          <a:pt x="614828" y="796548"/>
                          <a:pt x="790513" y="620954"/>
                          <a:pt x="796706" y="401371"/>
                        </a:cubicBezTo>
                        <a:cubicBezTo>
                          <a:pt x="796706" y="181878"/>
                          <a:pt x="621112" y="0"/>
                          <a:pt x="401529" y="0"/>
                        </a:cubicBezTo>
                        <a:cubicBezTo>
                          <a:pt x="181945" y="0"/>
                          <a:pt x="158" y="175594"/>
                          <a:pt x="158" y="395177"/>
                        </a:cubicBezTo>
                        <a:cubicBezTo>
                          <a:pt x="-6126" y="614670"/>
                          <a:pt x="175752" y="790355"/>
                          <a:pt x="395336" y="796548"/>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51" name="Freeform: Shape 49">
                    <a:extLst>
                      <a:ext uri="{FF2B5EF4-FFF2-40B4-BE49-F238E27FC236}">
                        <a16:creationId xmlns:a16="http://schemas.microsoft.com/office/drawing/2014/main" id="{A6266DC8-1BB1-CA94-EA1D-017C13EF20EC}"/>
                      </a:ext>
                    </a:extLst>
                  </p:cNvPr>
                  <p:cNvSpPr/>
                  <p:nvPr/>
                </p:nvSpPr>
                <p:spPr>
                  <a:xfrm>
                    <a:off x="1924733" y="1928892"/>
                    <a:ext cx="9107" cy="33151"/>
                  </a:xfrm>
                  <a:custGeom>
                    <a:avLst/>
                    <a:gdLst>
                      <a:gd name="connsiteX0" fmla="*/ 0 w 9107"/>
                      <a:gd name="connsiteY0" fmla="*/ 33152 h 33151"/>
                      <a:gd name="connsiteX1" fmla="*/ 0 w 9107"/>
                      <a:gd name="connsiteY1" fmla="*/ 13297 h 33151"/>
                      <a:gd name="connsiteX2" fmla="*/ 0 w 9107"/>
                      <a:gd name="connsiteY2" fmla="*/ 0 h 33151"/>
                      <a:gd name="connsiteX3" fmla="*/ 0 w 9107"/>
                      <a:gd name="connsiteY3" fmla="*/ 33152 h 33151"/>
                    </a:gdLst>
                    <a:ahLst/>
                    <a:cxnLst>
                      <a:cxn ang="0">
                        <a:pos x="connsiteX0" y="connsiteY0"/>
                      </a:cxn>
                      <a:cxn ang="0">
                        <a:pos x="connsiteX1" y="connsiteY1"/>
                      </a:cxn>
                      <a:cxn ang="0">
                        <a:pos x="connsiteX2" y="connsiteY2"/>
                      </a:cxn>
                      <a:cxn ang="0">
                        <a:pos x="connsiteX3" y="connsiteY3"/>
                      </a:cxn>
                    </a:cxnLst>
                    <a:rect l="l" t="t" r="r" b="b"/>
                    <a:pathLst>
                      <a:path w="9107" h="33151">
                        <a:moveTo>
                          <a:pt x="0" y="33152"/>
                        </a:moveTo>
                        <a:cubicBezTo>
                          <a:pt x="0" y="26594"/>
                          <a:pt x="0" y="19946"/>
                          <a:pt x="0" y="13297"/>
                        </a:cubicBezTo>
                        <a:cubicBezTo>
                          <a:pt x="0" y="8834"/>
                          <a:pt x="0" y="4372"/>
                          <a:pt x="0" y="0"/>
                        </a:cubicBezTo>
                        <a:lnTo>
                          <a:pt x="0" y="33152"/>
                        </a:ln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52" name="Freeform: Shape 50">
                    <a:extLst>
                      <a:ext uri="{FF2B5EF4-FFF2-40B4-BE49-F238E27FC236}">
                        <a16:creationId xmlns:a16="http://schemas.microsoft.com/office/drawing/2014/main" id="{E0C6538B-9D31-0B79-B336-CCA33834C010}"/>
                      </a:ext>
                    </a:extLst>
                  </p:cNvPr>
                  <p:cNvSpPr/>
                  <p:nvPr/>
                </p:nvSpPr>
                <p:spPr>
                  <a:xfrm>
                    <a:off x="1924733" y="1360718"/>
                    <a:ext cx="1947533" cy="788759"/>
                  </a:xfrm>
                  <a:custGeom>
                    <a:avLst/>
                    <a:gdLst>
                      <a:gd name="connsiteX0" fmla="*/ 1947381 w 1947533"/>
                      <a:gd name="connsiteY0" fmla="*/ 415804 h 788759"/>
                      <a:gd name="connsiteX1" fmla="*/ 1480071 w 1947533"/>
                      <a:gd name="connsiteY1" fmla="*/ 30645 h 788759"/>
                      <a:gd name="connsiteX2" fmla="*/ 1480071 w 1947533"/>
                      <a:gd name="connsiteY2" fmla="*/ 30645 h 788759"/>
                      <a:gd name="connsiteX3" fmla="*/ 457746 w 1947533"/>
                      <a:gd name="connsiteY3" fmla="*/ 30645 h 788759"/>
                      <a:gd name="connsiteX4" fmla="*/ 12477 w 1947533"/>
                      <a:gd name="connsiteY4" fmla="*/ 425823 h 788759"/>
                      <a:gd name="connsiteX5" fmla="*/ 0 w 1947533"/>
                      <a:gd name="connsiteY5" fmla="*/ 581471 h 788759"/>
                      <a:gd name="connsiteX6" fmla="*/ 12477 w 1947533"/>
                      <a:gd name="connsiteY6" fmla="*/ 687301 h 788759"/>
                      <a:gd name="connsiteX7" fmla="*/ 87979 w 1947533"/>
                      <a:gd name="connsiteY7" fmla="*/ 788759 h 788759"/>
                      <a:gd name="connsiteX8" fmla="*/ 1793736 w 1947533"/>
                      <a:gd name="connsiteY8" fmla="*/ 788759 h 788759"/>
                      <a:gd name="connsiteX9" fmla="*/ 1793736 w 1947533"/>
                      <a:gd name="connsiteY9" fmla="*/ 787758 h 788759"/>
                      <a:gd name="connsiteX10" fmla="*/ 1795922 w 1947533"/>
                      <a:gd name="connsiteY10" fmla="*/ 788759 h 788759"/>
                      <a:gd name="connsiteX11" fmla="*/ 1931716 w 1947533"/>
                      <a:gd name="connsiteY11" fmla="*/ 605788 h 788759"/>
                      <a:gd name="connsiteX12" fmla="*/ 1947381 w 1947533"/>
                      <a:gd name="connsiteY12" fmla="*/ 415713 h 788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47533" h="788759">
                        <a:moveTo>
                          <a:pt x="1947381" y="415804"/>
                        </a:moveTo>
                        <a:cubicBezTo>
                          <a:pt x="1884538" y="131831"/>
                          <a:pt x="1768599" y="68260"/>
                          <a:pt x="1480071" y="30645"/>
                        </a:cubicBezTo>
                        <a:lnTo>
                          <a:pt x="1480071" y="30645"/>
                        </a:lnTo>
                        <a:cubicBezTo>
                          <a:pt x="1141361" y="-13253"/>
                          <a:pt x="796457" y="-7060"/>
                          <a:pt x="457746" y="30645"/>
                        </a:cubicBezTo>
                        <a:cubicBezTo>
                          <a:pt x="206833" y="61975"/>
                          <a:pt x="62569" y="193671"/>
                          <a:pt x="12477" y="425823"/>
                        </a:cubicBezTo>
                        <a:cubicBezTo>
                          <a:pt x="1457" y="475641"/>
                          <a:pt x="182" y="530378"/>
                          <a:pt x="0" y="581471"/>
                        </a:cubicBezTo>
                        <a:cubicBezTo>
                          <a:pt x="182" y="615898"/>
                          <a:pt x="1457" y="654059"/>
                          <a:pt x="12477" y="687301"/>
                        </a:cubicBezTo>
                        <a:cubicBezTo>
                          <a:pt x="25046" y="724915"/>
                          <a:pt x="56649" y="769907"/>
                          <a:pt x="87979" y="788759"/>
                        </a:cubicBezTo>
                        <a:lnTo>
                          <a:pt x="1793736" y="788759"/>
                        </a:lnTo>
                        <a:lnTo>
                          <a:pt x="1793736" y="787758"/>
                        </a:lnTo>
                        <a:cubicBezTo>
                          <a:pt x="1794465" y="788122"/>
                          <a:pt x="1795193" y="788395"/>
                          <a:pt x="1795922" y="788759"/>
                        </a:cubicBezTo>
                        <a:cubicBezTo>
                          <a:pt x="1875977" y="750690"/>
                          <a:pt x="1929166" y="618084"/>
                          <a:pt x="1931716" y="605788"/>
                        </a:cubicBezTo>
                        <a:cubicBezTo>
                          <a:pt x="1940732" y="561252"/>
                          <a:pt x="1948747" y="526188"/>
                          <a:pt x="1947381" y="415713"/>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53" name="Freeform: Shape 51">
                    <a:extLst>
                      <a:ext uri="{FF2B5EF4-FFF2-40B4-BE49-F238E27FC236}">
                        <a16:creationId xmlns:a16="http://schemas.microsoft.com/office/drawing/2014/main" id="{D4DDCF51-B801-0702-EBBB-E2436C957EC8}"/>
                      </a:ext>
                    </a:extLst>
                  </p:cNvPr>
                  <p:cNvSpPr/>
                  <p:nvPr/>
                </p:nvSpPr>
                <p:spPr>
                  <a:xfrm>
                    <a:off x="5694926" y="469313"/>
                    <a:ext cx="796706" cy="796548"/>
                  </a:xfrm>
                  <a:custGeom>
                    <a:avLst/>
                    <a:gdLst>
                      <a:gd name="connsiteX0" fmla="*/ 395335 w 796706"/>
                      <a:gd name="connsiteY0" fmla="*/ 796548 h 796548"/>
                      <a:gd name="connsiteX1" fmla="*/ 796706 w 796706"/>
                      <a:gd name="connsiteY1" fmla="*/ 401371 h 796548"/>
                      <a:gd name="connsiteX2" fmla="*/ 401529 w 796706"/>
                      <a:gd name="connsiteY2" fmla="*/ 0 h 796548"/>
                      <a:gd name="connsiteX3" fmla="*/ 158 w 796706"/>
                      <a:gd name="connsiteY3" fmla="*/ 395177 h 796548"/>
                      <a:gd name="connsiteX4" fmla="*/ 395335 w 796706"/>
                      <a:gd name="connsiteY4" fmla="*/ 796548 h 796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706" h="796548">
                        <a:moveTo>
                          <a:pt x="395335" y="796548"/>
                        </a:moveTo>
                        <a:cubicBezTo>
                          <a:pt x="614828" y="796548"/>
                          <a:pt x="790513" y="620954"/>
                          <a:pt x="796706" y="401371"/>
                        </a:cubicBezTo>
                        <a:cubicBezTo>
                          <a:pt x="796706" y="181878"/>
                          <a:pt x="621112" y="0"/>
                          <a:pt x="401529" y="0"/>
                        </a:cubicBezTo>
                        <a:cubicBezTo>
                          <a:pt x="181945" y="0"/>
                          <a:pt x="158" y="175594"/>
                          <a:pt x="158" y="395177"/>
                        </a:cubicBezTo>
                        <a:cubicBezTo>
                          <a:pt x="-6126" y="614670"/>
                          <a:pt x="175752" y="790355"/>
                          <a:pt x="395335" y="796548"/>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54" name="Freeform: Shape 52">
                    <a:extLst>
                      <a:ext uri="{FF2B5EF4-FFF2-40B4-BE49-F238E27FC236}">
                        <a16:creationId xmlns:a16="http://schemas.microsoft.com/office/drawing/2014/main" id="{BA168A64-69A8-6378-19BD-68357D388936}"/>
                      </a:ext>
                    </a:extLst>
                  </p:cNvPr>
                  <p:cNvSpPr/>
                  <p:nvPr/>
                </p:nvSpPr>
                <p:spPr>
                  <a:xfrm>
                    <a:off x="5124404" y="1928892"/>
                    <a:ext cx="9107" cy="33151"/>
                  </a:xfrm>
                  <a:custGeom>
                    <a:avLst/>
                    <a:gdLst>
                      <a:gd name="connsiteX0" fmla="*/ 0 w 9107"/>
                      <a:gd name="connsiteY0" fmla="*/ 33152 h 33151"/>
                      <a:gd name="connsiteX1" fmla="*/ 0 w 9107"/>
                      <a:gd name="connsiteY1" fmla="*/ 13297 h 33151"/>
                      <a:gd name="connsiteX2" fmla="*/ 0 w 9107"/>
                      <a:gd name="connsiteY2" fmla="*/ 0 h 33151"/>
                      <a:gd name="connsiteX3" fmla="*/ 0 w 9107"/>
                      <a:gd name="connsiteY3" fmla="*/ 33152 h 33151"/>
                    </a:gdLst>
                    <a:ahLst/>
                    <a:cxnLst>
                      <a:cxn ang="0">
                        <a:pos x="connsiteX0" y="connsiteY0"/>
                      </a:cxn>
                      <a:cxn ang="0">
                        <a:pos x="connsiteX1" y="connsiteY1"/>
                      </a:cxn>
                      <a:cxn ang="0">
                        <a:pos x="connsiteX2" y="connsiteY2"/>
                      </a:cxn>
                      <a:cxn ang="0">
                        <a:pos x="connsiteX3" y="connsiteY3"/>
                      </a:cxn>
                    </a:cxnLst>
                    <a:rect l="l" t="t" r="r" b="b"/>
                    <a:pathLst>
                      <a:path w="9107" h="33151">
                        <a:moveTo>
                          <a:pt x="0" y="33152"/>
                        </a:moveTo>
                        <a:cubicBezTo>
                          <a:pt x="0" y="26594"/>
                          <a:pt x="0" y="19946"/>
                          <a:pt x="0" y="13297"/>
                        </a:cubicBezTo>
                        <a:cubicBezTo>
                          <a:pt x="0" y="8834"/>
                          <a:pt x="0" y="4372"/>
                          <a:pt x="0" y="0"/>
                        </a:cubicBezTo>
                        <a:lnTo>
                          <a:pt x="0" y="33152"/>
                        </a:ln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55" name="Freeform: Shape 53">
                    <a:extLst>
                      <a:ext uri="{FF2B5EF4-FFF2-40B4-BE49-F238E27FC236}">
                        <a16:creationId xmlns:a16="http://schemas.microsoft.com/office/drawing/2014/main" id="{A18DE672-FC04-3B26-0E4E-E7F859E550C0}"/>
                      </a:ext>
                    </a:extLst>
                  </p:cNvPr>
                  <p:cNvSpPr/>
                  <p:nvPr/>
                </p:nvSpPr>
                <p:spPr>
                  <a:xfrm>
                    <a:off x="5124404" y="1360718"/>
                    <a:ext cx="1947533" cy="788850"/>
                  </a:xfrm>
                  <a:custGeom>
                    <a:avLst/>
                    <a:gdLst>
                      <a:gd name="connsiteX0" fmla="*/ 1947381 w 1947533"/>
                      <a:gd name="connsiteY0" fmla="*/ 415804 h 788850"/>
                      <a:gd name="connsiteX1" fmla="*/ 1480071 w 1947533"/>
                      <a:gd name="connsiteY1" fmla="*/ 30645 h 788850"/>
                      <a:gd name="connsiteX2" fmla="*/ 1480071 w 1947533"/>
                      <a:gd name="connsiteY2" fmla="*/ 30645 h 788850"/>
                      <a:gd name="connsiteX3" fmla="*/ 457746 w 1947533"/>
                      <a:gd name="connsiteY3" fmla="*/ 30645 h 788850"/>
                      <a:gd name="connsiteX4" fmla="*/ 12477 w 1947533"/>
                      <a:gd name="connsiteY4" fmla="*/ 425823 h 788850"/>
                      <a:gd name="connsiteX5" fmla="*/ 0 w 1947533"/>
                      <a:gd name="connsiteY5" fmla="*/ 581562 h 788850"/>
                      <a:gd name="connsiteX6" fmla="*/ 12477 w 1947533"/>
                      <a:gd name="connsiteY6" fmla="*/ 687392 h 788850"/>
                      <a:gd name="connsiteX7" fmla="*/ 87979 w 1947533"/>
                      <a:gd name="connsiteY7" fmla="*/ 788851 h 788850"/>
                      <a:gd name="connsiteX8" fmla="*/ 1793736 w 1947533"/>
                      <a:gd name="connsiteY8" fmla="*/ 788851 h 788850"/>
                      <a:gd name="connsiteX9" fmla="*/ 1793736 w 1947533"/>
                      <a:gd name="connsiteY9" fmla="*/ 787849 h 788850"/>
                      <a:gd name="connsiteX10" fmla="*/ 1795922 w 1947533"/>
                      <a:gd name="connsiteY10" fmla="*/ 788851 h 788850"/>
                      <a:gd name="connsiteX11" fmla="*/ 1931715 w 1947533"/>
                      <a:gd name="connsiteY11" fmla="*/ 605879 h 788850"/>
                      <a:gd name="connsiteX12" fmla="*/ 1947381 w 1947533"/>
                      <a:gd name="connsiteY12" fmla="*/ 415804 h 788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47533" h="788850">
                        <a:moveTo>
                          <a:pt x="1947381" y="415804"/>
                        </a:moveTo>
                        <a:cubicBezTo>
                          <a:pt x="1884538" y="131831"/>
                          <a:pt x="1768599" y="68260"/>
                          <a:pt x="1480071" y="30645"/>
                        </a:cubicBezTo>
                        <a:lnTo>
                          <a:pt x="1480071" y="30645"/>
                        </a:lnTo>
                        <a:cubicBezTo>
                          <a:pt x="1141361" y="-13253"/>
                          <a:pt x="796457" y="-7060"/>
                          <a:pt x="457746" y="30645"/>
                        </a:cubicBezTo>
                        <a:cubicBezTo>
                          <a:pt x="206833" y="61975"/>
                          <a:pt x="62569" y="193671"/>
                          <a:pt x="12477" y="425823"/>
                        </a:cubicBezTo>
                        <a:cubicBezTo>
                          <a:pt x="1366" y="475732"/>
                          <a:pt x="91" y="530560"/>
                          <a:pt x="0" y="581562"/>
                        </a:cubicBezTo>
                        <a:cubicBezTo>
                          <a:pt x="182" y="615989"/>
                          <a:pt x="1457" y="654150"/>
                          <a:pt x="12477" y="687392"/>
                        </a:cubicBezTo>
                        <a:cubicBezTo>
                          <a:pt x="25046" y="725006"/>
                          <a:pt x="56649" y="769998"/>
                          <a:pt x="87979" y="788851"/>
                        </a:cubicBezTo>
                        <a:lnTo>
                          <a:pt x="1793736" y="788851"/>
                        </a:lnTo>
                        <a:lnTo>
                          <a:pt x="1793736" y="787849"/>
                        </a:lnTo>
                        <a:cubicBezTo>
                          <a:pt x="1794464" y="788213"/>
                          <a:pt x="1795193" y="788486"/>
                          <a:pt x="1795922" y="788851"/>
                        </a:cubicBezTo>
                        <a:cubicBezTo>
                          <a:pt x="1875977" y="750781"/>
                          <a:pt x="1929166" y="618175"/>
                          <a:pt x="1931715" y="605879"/>
                        </a:cubicBezTo>
                        <a:cubicBezTo>
                          <a:pt x="1940732" y="561343"/>
                          <a:pt x="1948747" y="526279"/>
                          <a:pt x="1947381" y="415804"/>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56" name="Freeform: Shape 54">
                    <a:extLst>
                      <a:ext uri="{FF2B5EF4-FFF2-40B4-BE49-F238E27FC236}">
                        <a16:creationId xmlns:a16="http://schemas.microsoft.com/office/drawing/2014/main" id="{2A0CF6DF-84BE-D83F-60E5-DA9CD19A5C23}"/>
                      </a:ext>
                    </a:extLst>
                  </p:cNvPr>
                  <p:cNvSpPr/>
                  <p:nvPr/>
                </p:nvSpPr>
                <p:spPr>
                  <a:xfrm>
                    <a:off x="8894597" y="469313"/>
                    <a:ext cx="796706" cy="796548"/>
                  </a:xfrm>
                  <a:custGeom>
                    <a:avLst/>
                    <a:gdLst>
                      <a:gd name="connsiteX0" fmla="*/ 395336 w 796706"/>
                      <a:gd name="connsiteY0" fmla="*/ 796548 h 796548"/>
                      <a:gd name="connsiteX1" fmla="*/ 796706 w 796706"/>
                      <a:gd name="connsiteY1" fmla="*/ 401371 h 796548"/>
                      <a:gd name="connsiteX2" fmla="*/ 401529 w 796706"/>
                      <a:gd name="connsiteY2" fmla="*/ 0 h 796548"/>
                      <a:gd name="connsiteX3" fmla="*/ 158 w 796706"/>
                      <a:gd name="connsiteY3" fmla="*/ 395177 h 796548"/>
                      <a:gd name="connsiteX4" fmla="*/ 395336 w 796706"/>
                      <a:gd name="connsiteY4" fmla="*/ 796548 h 796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6706" h="796548">
                        <a:moveTo>
                          <a:pt x="395336" y="796548"/>
                        </a:moveTo>
                        <a:cubicBezTo>
                          <a:pt x="614828" y="796548"/>
                          <a:pt x="790513" y="620954"/>
                          <a:pt x="796706" y="401371"/>
                        </a:cubicBezTo>
                        <a:cubicBezTo>
                          <a:pt x="796706" y="181878"/>
                          <a:pt x="621112" y="0"/>
                          <a:pt x="401529" y="0"/>
                        </a:cubicBezTo>
                        <a:cubicBezTo>
                          <a:pt x="181945" y="0"/>
                          <a:pt x="158" y="175594"/>
                          <a:pt x="158" y="395177"/>
                        </a:cubicBezTo>
                        <a:cubicBezTo>
                          <a:pt x="-6126" y="614670"/>
                          <a:pt x="175752" y="790355"/>
                          <a:pt x="395336" y="796548"/>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57" name="Freeform: Shape 55">
                    <a:extLst>
                      <a:ext uri="{FF2B5EF4-FFF2-40B4-BE49-F238E27FC236}">
                        <a16:creationId xmlns:a16="http://schemas.microsoft.com/office/drawing/2014/main" id="{9B2AE245-EB14-2181-46D3-3124DE707C98}"/>
                      </a:ext>
                    </a:extLst>
                  </p:cNvPr>
                  <p:cNvSpPr/>
                  <p:nvPr/>
                </p:nvSpPr>
                <p:spPr>
                  <a:xfrm>
                    <a:off x="8324076" y="1928892"/>
                    <a:ext cx="9107" cy="33151"/>
                  </a:xfrm>
                  <a:custGeom>
                    <a:avLst/>
                    <a:gdLst>
                      <a:gd name="connsiteX0" fmla="*/ 0 w 9107"/>
                      <a:gd name="connsiteY0" fmla="*/ 33152 h 33151"/>
                      <a:gd name="connsiteX1" fmla="*/ 0 w 9107"/>
                      <a:gd name="connsiteY1" fmla="*/ 13297 h 33151"/>
                      <a:gd name="connsiteX2" fmla="*/ 0 w 9107"/>
                      <a:gd name="connsiteY2" fmla="*/ 0 h 33151"/>
                      <a:gd name="connsiteX3" fmla="*/ 0 w 9107"/>
                      <a:gd name="connsiteY3" fmla="*/ 33152 h 33151"/>
                    </a:gdLst>
                    <a:ahLst/>
                    <a:cxnLst>
                      <a:cxn ang="0">
                        <a:pos x="connsiteX0" y="connsiteY0"/>
                      </a:cxn>
                      <a:cxn ang="0">
                        <a:pos x="connsiteX1" y="connsiteY1"/>
                      </a:cxn>
                      <a:cxn ang="0">
                        <a:pos x="connsiteX2" y="connsiteY2"/>
                      </a:cxn>
                      <a:cxn ang="0">
                        <a:pos x="connsiteX3" y="connsiteY3"/>
                      </a:cxn>
                    </a:cxnLst>
                    <a:rect l="l" t="t" r="r" b="b"/>
                    <a:pathLst>
                      <a:path w="9107" h="33151">
                        <a:moveTo>
                          <a:pt x="0" y="33152"/>
                        </a:moveTo>
                        <a:cubicBezTo>
                          <a:pt x="0" y="26594"/>
                          <a:pt x="0" y="19946"/>
                          <a:pt x="0" y="13297"/>
                        </a:cubicBezTo>
                        <a:cubicBezTo>
                          <a:pt x="0" y="8834"/>
                          <a:pt x="0" y="4372"/>
                          <a:pt x="0" y="0"/>
                        </a:cubicBezTo>
                        <a:lnTo>
                          <a:pt x="0" y="33152"/>
                        </a:ln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58" name="Freeform: Shape 56">
                    <a:extLst>
                      <a:ext uri="{FF2B5EF4-FFF2-40B4-BE49-F238E27FC236}">
                        <a16:creationId xmlns:a16="http://schemas.microsoft.com/office/drawing/2014/main" id="{3BD3B800-AAEF-339E-71D3-7F29ADC3A147}"/>
                      </a:ext>
                    </a:extLst>
                  </p:cNvPr>
                  <p:cNvSpPr/>
                  <p:nvPr/>
                </p:nvSpPr>
                <p:spPr>
                  <a:xfrm>
                    <a:off x="8324076" y="1360718"/>
                    <a:ext cx="1947533" cy="788850"/>
                  </a:xfrm>
                  <a:custGeom>
                    <a:avLst/>
                    <a:gdLst>
                      <a:gd name="connsiteX0" fmla="*/ 1947381 w 1947533"/>
                      <a:gd name="connsiteY0" fmla="*/ 415804 h 788850"/>
                      <a:gd name="connsiteX1" fmla="*/ 1480071 w 1947533"/>
                      <a:gd name="connsiteY1" fmla="*/ 30645 h 788850"/>
                      <a:gd name="connsiteX2" fmla="*/ 1480071 w 1947533"/>
                      <a:gd name="connsiteY2" fmla="*/ 30645 h 788850"/>
                      <a:gd name="connsiteX3" fmla="*/ 457747 w 1947533"/>
                      <a:gd name="connsiteY3" fmla="*/ 30645 h 788850"/>
                      <a:gd name="connsiteX4" fmla="*/ 12477 w 1947533"/>
                      <a:gd name="connsiteY4" fmla="*/ 425823 h 788850"/>
                      <a:gd name="connsiteX5" fmla="*/ 0 w 1947533"/>
                      <a:gd name="connsiteY5" fmla="*/ 581562 h 788850"/>
                      <a:gd name="connsiteX6" fmla="*/ 12477 w 1947533"/>
                      <a:gd name="connsiteY6" fmla="*/ 687392 h 788850"/>
                      <a:gd name="connsiteX7" fmla="*/ 87979 w 1947533"/>
                      <a:gd name="connsiteY7" fmla="*/ 788851 h 788850"/>
                      <a:gd name="connsiteX8" fmla="*/ 1793736 w 1947533"/>
                      <a:gd name="connsiteY8" fmla="*/ 788851 h 788850"/>
                      <a:gd name="connsiteX9" fmla="*/ 1793736 w 1947533"/>
                      <a:gd name="connsiteY9" fmla="*/ 787849 h 788850"/>
                      <a:gd name="connsiteX10" fmla="*/ 1795922 w 1947533"/>
                      <a:gd name="connsiteY10" fmla="*/ 788851 h 788850"/>
                      <a:gd name="connsiteX11" fmla="*/ 1931715 w 1947533"/>
                      <a:gd name="connsiteY11" fmla="*/ 605879 h 788850"/>
                      <a:gd name="connsiteX12" fmla="*/ 1947381 w 1947533"/>
                      <a:gd name="connsiteY12" fmla="*/ 415804 h 788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47533" h="788850">
                        <a:moveTo>
                          <a:pt x="1947381" y="415804"/>
                        </a:moveTo>
                        <a:cubicBezTo>
                          <a:pt x="1884538" y="131831"/>
                          <a:pt x="1768599" y="68260"/>
                          <a:pt x="1480071" y="30645"/>
                        </a:cubicBezTo>
                        <a:lnTo>
                          <a:pt x="1480071" y="30645"/>
                        </a:lnTo>
                        <a:cubicBezTo>
                          <a:pt x="1141361" y="-13253"/>
                          <a:pt x="796457" y="-7060"/>
                          <a:pt x="457747" y="30645"/>
                        </a:cubicBezTo>
                        <a:cubicBezTo>
                          <a:pt x="206833" y="61975"/>
                          <a:pt x="62569" y="193671"/>
                          <a:pt x="12477" y="425823"/>
                        </a:cubicBezTo>
                        <a:cubicBezTo>
                          <a:pt x="1366" y="475732"/>
                          <a:pt x="91" y="530560"/>
                          <a:pt x="0" y="581562"/>
                        </a:cubicBezTo>
                        <a:cubicBezTo>
                          <a:pt x="182" y="615989"/>
                          <a:pt x="1457" y="654150"/>
                          <a:pt x="12477" y="687392"/>
                        </a:cubicBezTo>
                        <a:cubicBezTo>
                          <a:pt x="25046" y="725006"/>
                          <a:pt x="56649" y="769998"/>
                          <a:pt x="87979" y="788851"/>
                        </a:cubicBezTo>
                        <a:lnTo>
                          <a:pt x="1793736" y="788851"/>
                        </a:lnTo>
                        <a:lnTo>
                          <a:pt x="1793736" y="787849"/>
                        </a:lnTo>
                        <a:cubicBezTo>
                          <a:pt x="1794464" y="788213"/>
                          <a:pt x="1795193" y="788486"/>
                          <a:pt x="1795922" y="788851"/>
                        </a:cubicBezTo>
                        <a:cubicBezTo>
                          <a:pt x="1875977" y="750781"/>
                          <a:pt x="1929166" y="618175"/>
                          <a:pt x="1931715" y="605879"/>
                        </a:cubicBezTo>
                        <a:cubicBezTo>
                          <a:pt x="1940732" y="561343"/>
                          <a:pt x="1948747" y="526279"/>
                          <a:pt x="1947381" y="415804"/>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grpSp>
        </p:grpSp>
        <p:grpSp>
          <p:nvGrpSpPr>
            <p:cNvPr id="12" name="Group 11">
              <a:extLst>
                <a:ext uri="{FF2B5EF4-FFF2-40B4-BE49-F238E27FC236}">
                  <a16:creationId xmlns:a16="http://schemas.microsoft.com/office/drawing/2014/main" id="{6D52DA8F-B60A-570A-CF75-51390487B8EB}"/>
                </a:ext>
              </a:extLst>
            </p:cNvPr>
            <p:cNvGrpSpPr/>
            <p:nvPr/>
          </p:nvGrpSpPr>
          <p:grpSpPr>
            <a:xfrm>
              <a:off x="2180967" y="6545098"/>
              <a:ext cx="1512435" cy="392652"/>
              <a:chOff x="2232003" y="5922358"/>
              <a:chExt cx="1512435" cy="392652"/>
            </a:xfrm>
          </p:grpSpPr>
          <p:sp>
            <p:nvSpPr>
              <p:cNvPr id="17" name="Rectangle 16">
                <a:extLst>
                  <a:ext uri="{FF2B5EF4-FFF2-40B4-BE49-F238E27FC236}">
                    <a16:creationId xmlns:a16="http://schemas.microsoft.com/office/drawing/2014/main" id="{77F0864A-2C91-E8AD-3567-C9FA47F63CB9}"/>
                  </a:ext>
                </a:extLst>
              </p:cNvPr>
              <p:cNvSpPr/>
              <p:nvPr/>
            </p:nvSpPr>
            <p:spPr>
              <a:xfrm>
                <a:off x="2605445" y="5960556"/>
                <a:ext cx="1138993" cy="3162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Roboto"/>
                    <a:ea typeface="+mn-ea"/>
                    <a:cs typeface="+mn-cs"/>
                  </a:rPr>
                  <a:t>Branch teams </a:t>
                </a:r>
                <a:br>
                  <a:rPr kumimoji="0" lang="en-GB" sz="1100" b="0" i="0" u="none" strike="noStrike" kern="1200" cap="none" spc="0" normalizeH="0" baseline="0" noProof="0">
                    <a:ln>
                      <a:noFill/>
                    </a:ln>
                    <a:solidFill>
                      <a:prstClr val="black"/>
                    </a:solidFill>
                    <a:effectLst/>
                    <a:uLnTx/>
                    <a:uFillTx/>
                    <a:latin typeface="Roboto"/>
                    <a:ea typeface="+mn-ea"/>
                    <a:cs typeface="+mn-cs"/>
                  </a:rPr>
                </a:br>
                <a:r>
                  <a:rPr kumimoji="0" lang="en-GB" sz="1100" b="0" i="0" u="none" strike="noStrike" kern="1200" cap="none" spc="0" normalizeH="0" baseline="0" noProof="0">
                    <a:ln>
                      <a:noFill/>
                    </a:ln>
                    <a:solidFill>
                      <a:prstClr val="black"/>
                    </a:solidFill>
                    <a:effectLst/>
                    <a:uLnTx/>
                    <a:uFillTx/>
                    <a:latin typeface="Roboto"/>
                    <a:ea typeface="+mn-ea"/>
                    <a:cs typeface="+mn-cs"/>
                  </a:rPr>
                  <a:t>at the heart</a:t>
                </a:r>
              </a:p>
            </p:txBody>
          </p:sp>
          <p:grpSp>
            <p:nvGrpSpPr>
              <p:cNvPr id="18" name="Group 17">
                <a:extLst>
                  <a:ext uri="{FF2B5EF4-FFF2-40B4-BE49-F238E27FC236}">
                    <a16:creationId xmlns:a16="http://schemas.microsoft.com/office/drawing/2014/main" id="{03A292F6-8689-89F1-E29F-E86FECFB8EA5}"/>
                  </a:ext>
                </a:extLst>
              </p:cNvPr>
              <p:cNvGrpSpPr/>
              <p:nvPr/>
            </p:nvGrpSpPr>
            <p:grpSpPr>
              <a:xfrm>
                <a:off x="2232003" y="5922358"/>
                <a:ext cx="340028" cy="392652"/>
                <a:chOff x="2253666" y="5947373"/>
                <a:chExt cx="296702" cy="342621"/>
              </a:xfrm>
            </p:grpSpPr>
            <p:sp>
              <p:nvSpPr>
                <p:cNvPr id="19" name="Graphic 18">
                  <a:extLst>
                    <a:ext uri="{FF2B5EF4-FFF2-40B4-BE49-F238E27FC236}">
                      <a16:creationId xmlns:a16="http://schemas.microsoft.com/office/drawing/2014/main" id="{D29AAE01-1BC4-8BB0-4783-608BCD1C4560}"/>
                    </a:ext>
                  </a:extLst>
                </p:cNvPr>
                <p:cNvSpPr/>
                <p:nvPr/>
              </p:nvSpPr>
              <p:spPr>
                <a:xfrm>
                  <a:off x="2253666" y="5947373"/>
                  <a:ext cx="296702" cy="342621"/>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grpSp>
              <p:nvGrpSpPr>
                <p:cNvPr id="20" name="Group 19">
                  <a:extLst>
                    <a:ext uri="{FF2B5EF4-FFF2-40B4-BE49-F238E27FC236}">
                      <a16:creationId xmlns:a16="http://schemas.microsoft.com/office/drawing/2014/main" id="{5498984D-3617-4C24-FF49-8170274CC578}"/>
                    </a:ext>
                  </a:extLst>
                </p:cNvPr>
                <p:cNvGrpSpPr/>
                <p:nvPr/>
              </p:nvGrpSpPr>
              <p:grpSpPr>
                <a:xfrm>
                  <a:off x="2263826" y="6018945"/>
                  <a:ext cx="269222" cy="144178"/>
                  <a:chOff x="1733550" y="1090612"/>
                  <a:chExt cx="8729441" cy="4674869"/>
                </a:xfrm>
                <a:solidFill>
                  <a:schemeClr val="bg1"/>
                </a:solidFill>
              </p:grpSpPr>
              <p:sp>
                <p:nvSpPr>
                  <p:cNvPr id="21" name="Freeform: Shape 66">
                    <a:extLst>
                      <a:ext uri="{FF2B5EF4-FFF2-40B4-BE49-F238E27FC236}">
                        <a16:creationId xmlns:a16="http://schemas.microsoft.com/office/drawing/2014/main" id="{47685E20-AF39-D1F4-1EAB-EE3D6840DD7C}"/>
                      </a:ext>
                    </a:extLst>
                  </p:cNvPr>
                  <p:cNvSpPr/>
                  <p:nvPr/>
                </p:nvSpPr>
                <p:spPr>
                  <a:xfrm>
                    <a:off x="5644540" y="1090612"/>
                    <a:ext cx="833221" cy="833056"/>
                  </a:xfrm>
                  <a:custGeom>
                    <a:avLst/>
                    <a:gdLst>
                      <a:gd name="connsiteX0" fmla="*/ 413455 w 833221"/>
                      <a:gd name="connsiteY0" fmla="*/ 833057 h 833056"/>
                      <a:gd name="connsiteX1" fmla="*/ 833222 w 833221"/>
                      <a:gd name="connsiteY1" fmla="*/ 419767 h 833056"/>
                      <a:gd name="connsiteX2" fmla="*/ 419932 w 833221"/>
                      <a:gd name="connsiteY2" fmla="*/ 0 h 833056"/>
                      <a:gd name="connsiteX3" fmla="*/ 165 w 833221"/>
                      <a:gd name="connsiteY3" fmla="*/ 413290 h 833056"/>
                      <a:gd name="connsiteX4" fmla="*/ 413455 w 833221"/>
                      <a:gd name="connsiteY4" fmla="*/ 833057 h 833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221" h="833056">
                        <a:moveTo>
                          <a:pt x="413455" y="833057"/>
                        </a:moveTo>
                        <a:cubicBezTo>
                          <a:pt x="643008" y="833057"/>
                          <a:pt x="826745" y="649415"/>
                          <a:pt x="833222" y="419767"/>
                        </a:cubicBezTo>
                        <a:cubicBezTo>
                          <a:pt x="833222" y="190214"/>
                          <a:pt x="649580" y="0"/>
                          <a:pt x="419932" y="0"/>
                        </a:cubicBezTo>
                        <a:cubicBezTo>
                          <a:pt x="190284" y="0"/>
                          <a:pt x="165" y="183642"/>
                          <a:pt x="165" y="413290"/>
                        </a:cubicBezTo>
                        <a:cubicBezTo>
                          <a:pt x="-6407" y="642842"/>
                          <a:pt x="183807" y="826580"/>
                          <a:pt x="413455" y="833057"/>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22" name="Freeform: Shape 67">
                    <a:extLst>
                      <a:ext uri="{FF2B5EF4-FFF2-40B4-BE49-F238E27FC236}">
                        <a16:creationId xmlns:a16="http://schemas.microsoft.com/office/drawing/2014/main" id="{F4B98CDD-DAE4-8D19-7AC5-4D7501726A07}"/>
                      </a:ext>
                    </a:extLst>
                  </p:cNvPr>
                  <p:cNvSpPr/>
                  <p:nvPr/>
                </p:nvSpPr>
                <p:spPr>
                  <a:xfrm>
                    <a:off x="5047868" y="2617088"/>
                    <a:ext cx="9525" cy="34670"/>
                  </a:xfrm>
                  <a:custGeom>
                    <a:avLst/>
                    <a:gdLst>
                      <a:gd name="connsiteX0" fmla="*/ 0 w 9525"/>
                      <a:gd name="connsiteY0" fmla="*/ 34671 h 34670"/>
                      <a:gd name="connsiteX1" fmla="*/ 0 w 9525"/>
                      <a:gd name="connsiteY1" fmla="*/ 13907 h 34670"/>
                      <a:gd name="connsiteX2" fmla="*/ 0 w 9525"/>
                      <a:gd name="connsiteY2" fmla="*/ 0 h 34670"/>
                      <a:gd name="connsiteX3" fmla="*/ 0 w 9525"/>
                      <a:gd name="connsiteY3" fmla="*/ 34671 h 34670"/>
                    </a:gdLst>
                    <a:ahLst/>
                    <a:cxnLst>
                      <a:cxn ang="0">
                        <a:pos x="connsiteX0" y="connsiteY0"/>
                      </a:cxn>
                      <a:cxn ang="0">
                        <a:pos x="connsiteX1" y="connsiteY1"/>
                      </a:cxn>
                      <a:cxn ang="0">
                        <a:pos x="connsiteX2" y="connsiteY2"/>
                      </a:cxn>
                      <a:cxn ang="0">
                        <a:pos x="connsiteX3" y="connsiteY3"/>
                      </a:cxn>
                    </a:cxnLst>
                    <a:rect l="l" t="t" r="r" b="b"/>
                    <a:pathLst>
                      <a:path w="9525" h="34670">
                        <a:moveTo>
                          <a:pt x="0" y="34671"/>
                        </a:moveTo>
                        <a:cubicBezTo>
                          <a:pt x="0" y="27813"/>
                          <a:pt x="0" y="20860"/>
                          <a:pt x="0" y="13907"/>
                        </a:cubicBezTo>
                        <a:cubicBezTo>
                          <a:pt x="0" y="9239"/>
                          <a:pt x="0" y="4572"/>
                          <a:pt x="0" y="0"/>
                        </a:cubicBezTo>
                        <a:lnTo>
                          <a:pt x="0" y="34671"/>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23" name="Freeform: Shape 70">
                    <a:extLst>
                      <a:ext uri="{FF2B5EF4-FFF2-40B4-BE49-F238E27FC236}">
                        <a16:creationId xmlns:a16="http://schemas.microsoft.com/office/drawing/2014/main" id="{D5CB5439-DBDC-D306-CDC0-E2C493580790}"/>
                      </a:ext>
                    </a:extLst>
                  </p:cNvPr>
                  <p:cNvSpPr/>
                  <p:nvPr/>
                </p:nvSpPr>
                <p:spPr>
                  <a:xfrm>
                    <a:off x="5047868" y="2022873"/>
                    <a:ext cx="2036795" cy="825006"/>
                  </a:xfrm>
                  <a:custGeom>
                    <a:avLst/>
                    <a:gdLst>
                      <a:gd name="connsiteX0" fmla="*/ 2036636 w 2036795"/>
                      <a:gd name="connsiteY0" fmla="*/ 434862 h 825006"/>
                      <a:gd name="connsiteX1" fmla="*/ 1547908 w 2036795"/>
                      <a:gd name="connsiteY1" fmla="*/ 32050 h 825006"/>
                      <a:gd name="connsiteX2" fmla="*/ 1547908 w 2036795"/>
                      <a:gd name="connsiteY2" fmla="*/ 32050 h 825006"/>
                      <a:gd name="connsiteX3" fmla="*/ 478727 w 2036795"/>
                      <a:gd name="connsiteY3" fmla="*/ 32050 h 825006"/>
                      <a:gd name="connsiteX4" fmla="*/ 13049 w 2036795"/>
                      <a:gd name="connsiteY4" fmla="*/ 445340 h 825006"/>
                      <a:gd name="connsiteX5" fmla="*/ 0 w 2036795"/>
                      <a:gd name="connsiteY5" fmla="*/ 608217 h 825006"/>
                      <a:gd name="connsiteX6" fmla="*/ 13049 w 2036795"/>
                      <a:gd name="connsiteY6" fmla="*/ 718898 h 825006"/>
                      <a:gd name="connsiteX7" fmla="*/ 92012 w 2036795"/>
                      <a:gd name="connsiteY7" fmla="*/ 825006 h 825006"/>
                      <a:gd name="connsiteX8" fmla="*/ 1875949 w 2036795"/>
                      <a:gd name="connsiteY8" fmla="*/ 825006 h 825006"/>
                      <a:gd name="connsiteX9" fmla="*/ 1875949 w 2036795"/>
                      <a:gd name="connsiteY9" fmla="*/ 823959 h 825006"/>
                      <a:gd name="connsiteX10" fmla="*/ 1878235 w 2036795"/>
                      <a:gd name="connsiteY10" fmla="*/ 825006 h 825006"/>
                      <a:gd name="connsiteX11" fmla="*/ 2020253 w 2036795"/>
                      <a:gd name="connsiteY11" fmla="*/ 633649 h 825006"/>
                      <a:gd name="connsiteX12" fmla="*/ 2036636 w 2036795"/>
                      <a:gd name="connsiteY12" fmla="*/ 434862 h 82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6795" h="825006">
                        <a:moveTo>
                          <a:pt x="2036636" y="434862"/>
                        </a:moveTo>
                        <a:cubicBezTo>
                          <a:pt x="1970913" y="137873"/>
                          <a:pt x="1849660" y="71388"/>
                          <a:pt x="1547908" y="32050"/>
                        </a:cubicBezTo>
                        <a:lnTo>
                          <a:pt x="1547908" y="32050"/>
                        </a:lnTo>
                        <a:cubicBezTo>
                          <a:pt x="1193673" y="-13861"/>
                          <a:pt x="832961" y="-7384"/>
                          <a:pt x="478727" y="32050"/>
                        </a:cubicBezTo>
                        <a:cubicBezTo>
                          <a:pt x="216313" y="64816"/>
                          <a:pt x="65437" y="202547"/>
                          <a:pt x="13049" y="445340"/>
                        </a:cubicBezTo>
                        <a:cubicBezTo>
                          <a:pt x="1429" y="497537"/>
                          <a:pt x="95" y="554877"/>
                          <a:pt x="0" y="608217"/>
                        </a:cubicBezTo>
                        <a:cubicBezTo>
                          <a:pt x="191" y="644222"/>
                          <a:pt x="1524" y="684131"/>
                          <a:pt x="13049" y="718898"/>
                        </a:cubicBezTo>
                        <a:cubicBezTo>
                          <a:pt x="26194" y="758236"/>
                          <a:pt x="59246" y="805289"/>
                          <a:pt x="92012" y="825006"/>
                        </a:cubicBezTo>
                        <a:lnTo>
                          <a:pt x="1875949" y="825006"/>
                        </a:lnTo>
                        <a:lnTo>
                          <a:pt x="1875949" y="823959"/>
                        </a:lnTo>
                        <a:cubicBezTo>
                          <a:pt x="1876711" y="824339"/>
                          <a:pt x="1877473" y="824625"/>
                          <a:pt x="1878235" y="825006"/>
                        </a:cubicBezTo>
                        <a:cubicBezTo>
                          <a:pt x="1961960" y="785192"/>
                          <a:pt x="2017586" y="646508"/>
                          <a:pt x="2020253" y="633649"/>
                        </a:cubicBezTo>
                        <a:cubicBezTo>
                          <a:pt x="2029682" y="587072"/>
                          <a:pt x="2038064" y="550401"/>
                          <a:pt x="2036636" y="434862"/>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24" name="Freeform: Shape 71">
                    <a:extLst>
                      <a:ext uri="{FF2B5EF4-FFF2-40B4-BE49-F238E27FC236}">
                        <a16:creationId xmlns:a16="http://schemas.microsoft.com/office/drawing/2014/main" id="{92F623D7-2763-2C57-C4CF-B392489338F4}"/>
                      </a:ext>
                    </a:extLst>
                  </p:cNvPr>
                  <p:cNvSpPr/>
                  <p:nvPr/>
                </p:nvSpPr>
                <p:spPr>
                  <a:xfrm>
                    <a:off x="2330221" y="4008214"/>
                    <a:ext cx="833221" cy="833056"/>
                  </a:xfrm>
                  <a:custGeom>
                    <a:avLst/>
                    <a:gdLst>
                      <a:gd name="connsiteX0" fmla="*/ 413455 w 833221"/>
                      <a:gd name="connsiteY0" fmla="*/ 833056 h 833056"/>
                      <a:gd name="connsiteX1" fmla="*/ 833222 w 833221"/>
                      <a:gd name="connsiteY1" fmla="*/ 419767 h 833056"/>
                      <a:gd name="connsiteX2" fmla="*/ 419932 w 833221"/>
                      <a:gd name="connsiteY2" fmla="*/ 0 h 833056"/>
                      <a:gd name="connsiteX3" fmla="*/ 165 w 833221"/>
                      <a:gd name="connsiteY3" fmla="*/ 413290 h 833056"/>
                      <a:gd name="connsiteX4" fmla="*/ 413455 w 833221"/>
                      <a:gd name="connsiteY4" fmla="*/ 833056 h 833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221" h="833056">
                        <a:moveTo>
                          <a:pt x="413455" y="833056"/>
                        </a:moveTo>
                        <a:cubicBezTo>
                          <a:pt x="643008" y="833056"/>
                          <a:pt x="826745" y="649414"/>
                          <a:pt x="833222" y="419767"/>
                        </a:cubicBezTo>
                        <a:cubicBezTo>
                          <a:pt x="833222" y="190214"/>
                          <a:pt x="649580" y="0"/>
                          <a:pt x="419932" y="0"/>
                        </a:cubicBezTo>
                        <a:cubicBezTo>
                          <a:pt x="190284" y="0"/>
                          <a:pt x="165" y="183642"/>
                          <a:pt x="165" y="413290"/>
                        </a:cubicBezTo>
                        <a:cubicBezTo>
                          <a:pt x="-6407" y="642842"/>
                          <a:pt x="183807" y="826580"/>
                          <a:pt x="413455" y="833056"/>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25" name="Freeform: Shape 72">
                    <a:extLst>
                      <a:ext uri="{FF2B5EF4-FFF2-40B4-BE49-F238E27FC236}">
                        <a16:creationId xmlns:a16="http://schemas.microsoft.com/office/drawing/2014/main" id="{8763A12E-0127-104C-3699-3DB2379A2D1B}"/>
                      </a:ext>
                    </a:extLst>
                  </p:cNvPr>
                  <p:cNvSpPr/>
                  <p:nvPr/>
                </p:nvSpPr>
                <p:spPr>
                  <a:xfrm>
                    <a:off x="1733550" y="5534691"/>
                    <a:ext cx="9525" cy="34670"/>
                  </a:xfrm>
                  <a:custGeom>
                    <a:avLst/>
                    <a:gdLst>
                      <a:gd name="connsiteX0" fmla="*/ 0 w 9525"/>
                      <a:gd name="connsiteY0" fmla="*/ 34671 h 34670"/>
                      <a:gd name="connsiteX1" fmla="*/ 0 w 9525"/>
                      <a:gd name="connsiteY1" fmla="*/ 13906 h 34670"/>
                      <a:gd name="connsiteX2" fmla="*/ 0 w 9525"/>
                      <a:gd name="connsiteY2" fmla="*/ 0 h 34670"/>
                      <a:gd name="connsiteX3" fmla="*/ 0 w 9525"/>
                      <a:gd name="connsiteY3" fmla="*/ 34671 h 34670"/>
                    </a:gdLst>
                    <a:ahLst/>
                    <a:cxnLst>
                      <a:cxn ang="0">
                        <a:pos x="connsiteX0" y="connsiteY0"/>
                      </a:cxn>
                      <a:cxn ang="0">
                        <a:pos x="connsiteX1" y="connsiteY1"/>
                      </a:cxn>
                      <a:cxn ang="0">
                        <a:pos x="connsiteX2" y="connsiteY2"/>
                      </a:cxn>
                      <a:cxn ang="0">
                        <a:pos x="connsiteX3" y="connsiteY3"/>
                      </a:cxn>
                    </a:cxnLst>
                    <a:rect l="l" t="t" r="r" b="b"/>
                    <a:pathLst>
                      <a:path w="9525" h="34670">
                        <a:moveTo>
                          <a:pt x="0" y="34671"/>
                        </a:moveTo>
                        <a:cubicBezTo>
                          <a:pt x="0" y="27813"/>
                          <a:pt x="0" y="20860"/>
                          <a:pt x="0" y="13906"/>
                        </a:cubicBezTo>
                        <a:cubicBezTo>
                          <a:pt x="0" y="9239"/>
                          <a:pt x="0" y="4572"/>
                          <a:pt x="0" y="0"/>
                        </a:cubicBezTo>
                        <a:lnTo>
                          <a:pt x="0" y="34671"/>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26" name="Freeform: Shape 74">
                    <a:extLst>
                      <a:ext uri="{FF2B5EF4-FFF2-40B4-BE49-F238E27FC236}">
                        <a16:creationId xmlns:a16="http://schemas.microsoft.com/office/drawing/2014/main" id="{8B4427E3-6C09-D410-1C16-8367713CE3AE}"/>
                      </a:ext>
                    </a:extLst>
                  </p:cNvPr>
                  <p:cNvSpPr/>
                  <p:nvPr/>
                </p:nvSpPr>
                <p:spPr>
                  <a:xfrm>
                    <a:off x="1733550" y="4940475"/>
                    <a:ext cx="2036795" cy="824911"/>
                  </a:xfrm>
                  <a:custGeom>
                    <a:avLst/>
                    <a:gdLst>
                      <a:gd name="connsiteX0" fmla="*/ 2036636 w 2036795"/>
                      <a:gd name="connsiteY0" fmla="*/ 434862 h 824911"/>
                      <a:gd name="connsiteX1" fmla="*/ 1547908 w 2036795"/>
                      <a:gd name="connsiteY1" fmla="*/ 32050 h 824911"/>
                      <a:gd name="connsiteX2" fmla="*/ 1547908 w 2036795"/>
                      <a:gd name="connsiteY2" fmla="*/ 32050 h 824911"/>
                      <a:gd name="connsiteX3" fmla="*/ 478726 w 2036795"/>
                      <a:gd name="connsiteY3" fmla="*/ 32050 h 824911"/>
                      <a:gd name="connsiteX4" fmla="*/ 13049 w 2036795"/>
                      <a:gd name="connsiteY4" fmla="*/ 445340 h 824911"/>
                      <a:gd name="connsiteX5" fmla="*/ 0 w 2036795"/>
                      <a:gd name="connsiteY5" fmla="*/ 608122 h 824911"/>
                      <a:gd name="connsiteX6" fmla="*/ 13049 w 2036795"/>
                      <a:gd name="connsiteY6" fmla="*/ 718802 h 824911"/>
                      <a:gd name="connsiteX7" fmla="*/ 92012 w 2036795"/>
                      <a:gd name="connsiteY7" fmla="*/ 824911 h 824911"/>
                      <a:gd name="connsiteX8" fmla="*/ 1875949 w 2036795"/>
                      <a:gd name="connsiteY8" fmla="*/ 824911 h 824911"/>
                      <a:gd name="connsiteX9" fmla="*/ 1875949 w 2036795"/>
                      <a:gd name="connsiteY9" fmla="*/ 823863 h 824911"/>
                      <a:gd name="connsiteX10" fmla="*/ 1878235 w 2036795"/>
                      <a:gd name="connsiteY10" fmla="*/ 824911 h 824911"/>
                      <a:gd name="connsiteX11" fmla="*/ 2020253 w 2036795"/>
                      <a:gd name="connsiteY11" fmla="*/ 633554 h 824911"/>
                      <a:gd name="connsiteX12" fmla="*/ 2036636 w 2036795"/>
                      <a:gd name="connsiteY12" fmla="*/ 434767 h 824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6795" h="824911">
                        <a:moveTo>
                          <a:pt x="2036636" y="434862"/>
                        </a:moveTo>
                        <a:cubicBezTo>
                          <a:pt x="1970913" y="137873"/>
                          <a:pt x="1849660" y="71388"/>
                          <a:pt x="1547908" y="32050"/>
                        </a:cubicBezTo>
                        <a:lnTo>
                          <a:pt x="1547908" y="32050"/>
                        </a:lnTo>
                        <a:cubicBezTo>
                          <a:pt x="1193673" y="-13860"/>
                          <a:pt x="832961" y="-7384"/>
                          <a:pt x="478726" y="32050"/>
                        </a:cubicBezTo>
                        <a:cubicBezTo>
                          <a:pt x="216313" y="64816"/>
                          <a:pt x="65437" y="202548"/>
                          <a:pt x="13049" y="445340"/>
                        </a:cubicBezTo>
                        <a:cubicBezTo>
                          <a:pt x="1524" y="497441"/>
                          <a:pt x="191" y="554782"/>
                          <a:pt x="0" y="608122"/>
                        </a:cubicBezTo>
                        <a:cubicBezTo>
                          <a:pt x="191" y="644126"/>
                          <a:pt x="1524" y="684036"/>
                          <a:pt x="13049" y="718802"/>
                        </a:cubicBezTo>
                        <a:cubicBezTo>
                          <a:pt x="26194" y="758141"/>
                          <a:pt x="59245" y="805194"/>
                          <a:pt x="92012" y="824911"/>
                        </a:cubicBezTo>
                        <a:lnTo>
                          <a:pt x="1875949" y="824911"/>
                        </a:lnTo>
                        <a:lnTo>
                          <a:pt x="1875949" y="823863"/>
                        </a:lnTo>
                        <a:cubicBezTo>
                          <a:pt x="1876711" y="824244"/>
                          <a:pt x="1877473" y="824530"/>
                          <a:pt x="1878235" y="824911"/>
                        </a:cubicBezTo>
                        <a:cubicBezTo>
                          <a:pt x="1961960" y="785096"/>
                          <a:pt x="2017586" y="646412"/>
                          <a:pt x="2020253" y="633554"/>
                        </a:cubicBezTo>
                        <a:cubicBezTo>
                          <a:pt x="2029682" y="586976"/>
                          <a:pt x="2038064" y="550305"/>
                          <a:pt x="2036636" y="434767"/>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27" name="Freeform: Shape 75">
                    <a:extLst>
                      <a:ext uri="{FF2B5EF4-FFF2-40B4-BE49-F238E27FC236}">
                        <a16:creationId xmlns:a16="http://schemas.microsoft.com/office/drawing/2014/main" id="{84386247-FA3C-1709-8849-FCE3FA377474}"/>
                      </a:ext>
                    </a:extLst>
                  </p:cNvPr>
                  <p:cNvSpPr/>
                  <p:nvPr/>
                </p:nvSpPr>
                <p:spPr>
                  <a:xfrm>
                    <a:off x="5676544" y="4008214"/>
                    <a:ext cx="833221" cy="833056"/>
                  </a:xfrm>
                  <a:custGeom>
                    <a:avLst/>
                    <a:gdLst>
                      <a:gd name="connsiteX0" fmla="*/ 413455 w 833221"/>
                      <a:gd name="connsiteY0" fmla="*/ 833056 h 833056"/>
                      <a:gd name="connsiteX1" fmla="*/ 833222 w 833221"/>
                      <a:gd name="connsiteY1" fmla="*/ 419767 h 833056"/>
                      <a:gd name="connsiteX2" fmla="*/ 419932 w 833221"/>
                      <a:gd name="connsiteY2" fmla="*/ 0 h 833056"/>
                      <a:gd name="connsiteX3" fmla="*/ 165 w 833221"/>
                      <a:gd name="connsiteY3" fmla="*/ 413290 h 833056"/>
                      <a:gd name="connsiteX4" fmla="*/ 413455 w 833221"/>
                      <a:gd name="connsiteY4" fmla="*/ 833056 h 833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221" h="833056">
                        <a:moveTo>
                          <a:pt x="413455" y="833056"/>
                        </a:moveTo>
                        <a:cubicBezTo>
                          <a:pt x="643008" y="833056"/>
                          <a:pt x="826745" y="649414"/>
                          <a:pt x="833222" y="419767"/>
                        </a:cubicBezTo>
                        <a:cubicBezTo>
                          <a:pt x="833222" y="190214"/>
                          <a:pt x="649580" y="0"/>
                          <a:pt x="419932" y="0"/>
                        </a:cubicBezTo>
                        <a:cubicBezTo>
                          <a:pt x="190284" y="0"/>
                          <a:pt x="165" y="183642"/>
                          <a:pt x="165" y="413290"/>
                        </a:cubicBezTo>
                        <a:cubicBezTo>
                          <a:pt x="-6407" y="642842"/>
                          <a:pt x="183807" y="826580"/>
                          <a:pt x="413455" y="833056"/>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30" name="Freeform: Shape 76">
                    <a:extLst>
                      <a:ext uri="{FF2B5EF4-FFF2-40B4-BE49-F238E27FC236}">
                        <a16:creationId xmlns:a16="http://schemas.microsoft.com/office/drawing/2014/main" id="{65237DC2-5550-04D1-2972-511BF5D9BBE9}"/>
                      </a:ext>
                    </a:extLst>
                  </p:cNvPr>
                  <p:cNvSpPr/>
                  <p:nvPr/>
                </p:nvSpPr>
                <p:spPr>
                  <a:xfrm>
                    <a:off x="5079873" y="5534691"/>
                    <a:ext cx="9525" cy="34670"/>
                  </a:xfrm>
                  <a:custGeom>
                    <a:avLst/>
                    <a:gdLst>
                      <a:gd name="connsiteX0" fmla="*/ 0 w 9525"/>
                      <a:gd name="connsiteY0" fmla="*/ 34671 h 34670"/>
                      <a:gd name="connsiteX1" fmla="*/ 0 w 9525"/>
                      <a:gd name="connsiteY1" fmla="*/ 13906 h 34670"/>
                      <a:gd name="connsiteX2" fmla="*/ 0 w 9525"/>
                      <a:gd name="connsiteY2" fmla="*/ 0 h 34670"/>
                      <a:gd name="connsiteX3" fmla="*/ 0 w 9525"/>
                      <a:gd name="connsiteY3" fmla="*/ 34671 h 34670"/>
                    </a:gdLst>
                    <a:ahLst/>
                    <a:cxnLst>
                      <a:cxn ang="0">
                        <a:pos x="connsiteX0" y="connsiteY0"/>
                      </a:cxn>
                      <a:cxn ang="0">
                        <a:pos x="connsiteX1" y="connsiteY1"/>
                      </a:cxn>
                      <a:cxn ang="0">
                        <a:pos x="connsiteX2" y="connsiteY2"/>
                      </a:cxn>
                      <a:cxn ang="0">
                        <a:pos x="connsiteX3" y="connsiteY3"/>
                      </a:cxn>
                    </a:cxnLst>
                    <a:rect l="l" t="t" r="r" b="b"/>
                    <a:pathLst>
                      <a:path w="9525" h="34670">
                        <a:moveTo>
                          <a:pt x="0" y="34671"/>
                        </a:moveTo>
                        <a:cubicBezTo>
                          <a:pt x="0" y="27813"/>
                          <a:pt x="0" y="20860"/>
                          <a:pt x="0" y="13906"/>
                        </a:cubicBezTo>
                        <a:cubicBezTo>
                          <a:pt x="0" y="9239"/>
                          <a:pt x="0" y="4572"/>
                          <a:pt x="0" y="0"/>
                        </a:cubicBezTo>
                        <a:lnTo>
                          <a:pt x="0" y="34671"/>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31" name="Freeform: Shape 77">
                    <a:extLst>
                      <a:ext uri="{FF2B5EF4-FFF2-40B4-BE49-F238E27FC236}">
                        <a16:creationId xmlns:a16="http://schemas.microsoft.com/office/drawing/2014/main" id="{276DACA0-00A6-E3C0-11DE-76353E5FFFA3}"/>
                      </a:ext>
                    </a:extLst>
                  </p:cNvPr>
                  <p:cNvSpPr/>
                  <p:nvPr/>
                </p:nvSpPr>
                <p:spPr>
                  <a:xfrm>
                    <a:off x="5079873" y="4940475"/>
                    <a:ext cx="2036795" cy="825006"/>
                  </a:xfrm>
                  <a:custGeom>
                    <a:avLst/>
                    <a:gdLst>
                      <a:gd name="connsiteX0" fmla="*/ 2036636 w 2036795"/>
                      <a:gd name="connsiteY0" fmla="*/ 434862 h 825006"/>
                      <a:gd name="connsiteX1" fmla="*/ 1547908 w 2036795"/>
                      <a:gd name="connsiteY1" fmla="*/ 32050 h 825006"/>
                      <a:gd name="connsiteX2" fmla="*/ 1547908 w 2036795"/>
                      <a:gd name="connsiteY2" fmla="*/ 32050 h 825006"/>
                      <a:gd name="connsiteX3" fmla="*/ 478726 w 2036795"/>
                      <a:gd name="connsiteY3" fmla="*/ 32050 h 825006"/>
                      <a:gd name="connsiteX4" fmla="*/ 13049 w 2036795"/>
                      <a:gd name="connsiteY4" fmla="*/ 445340 h 825006"/>
                      <a:gd name="connsiteX5" fmla="*/ 0 w 2036795"/>
                      <a:gd name="connsiteY5" fmla="*/ 608217 h 825006"/>
                      <a:gd name="connsiteX6" fmla="*/ 13049 w 2036795"/>
                      <a:gd name="connsiteY6" fmla="*/ 718898 h 825006"/>
                      <a:gd name="connsiteX7" fmla="*/ 92012 w 2036795"/>
                      <a:gd name="connsiteY7" fmla="*/ 825006 h 825006"/>
                      <a:gd name="connsiteX8" fmla="*/ 1875949 w 2036795"/>
                      <a:gd name="connsiteY8" fmla="*/ 825006 h 825006"/>
                      <a:gd name="connsiteX9" fmla="*/ 1875949 w 2036795"/>
                      <a:gd name="connsiteY9" fmla="*/ 823958 h 825006"/>
                      <a:gd name="connsiteX10" fmla="*/ 1878235 w 2036795"/>
                      <a:gd name="connsiteY10" fmla="*/ 825006 h 825006"/>
                      <a:gd name="connsiteX11" fmla="*/ 2020252 w 2036795"/>
                      <a:gd name="connsiteY11" fmla="*/ 633649 h 825006"/>
                      <a:gd name="connsiteX12" fmla="*/ 2036636 w 2036795"/>
                      <a:gd name="connsiteY12" fmla="*/ 434862 h 82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6795" h="825006">
                        <a:moveTo>
                          <a:pt x="2036636" y="434862"/>
                        </a:moveTo>
                        <a:cubicBezTo>
                          <a:pt x="1970913" y="137873"/>
                          <a:pt x="1849660" y="71388"/>
                          <a:pt x="1547908" y="32050"/>
                        </a:cubicBezTo>
                        <a:lnTo>
                          <a:pt x="1547908" y="32050"/>
                        </a:lnTo>
                        <a:cubicBezTo>
                          <a:pt x="1193673" y="-13860"/>
                          <a:pt x="832961" y="-7384"/>
                          <a:pt x="478726" y="32050"/>
                        </a:cubicBezTo>
                        <a:cubicBezTo>
                          <a:pt x="216313" y="64816"/>
                          <a:pt x="65437" y="202548"/>
                          <a:pt x="13049" y="445340"/>
                        </a:cubicBezTo>
                        <a:cubicBezTo>
                          <a:pt x="1429" y="497537"/>
                          <a:pt x="95" y="554877"/>
                          <a:pt x="0" y="608217"/>
                        </a:cubicBezTo>
                        <a:cubicBezTo>
                          <a:pt x="190" y="644222"/>
                          <a:pt x="1524" y="684132"/>
                          <a:pt x="13049" y="718898"/>
                        </a:cubicBezTo>
                        <a:cubicBezTo>
                          <a:pt x="26194" y="758236"/>
                          <a:pt x="59246" y="805290"/>
                          <a:pt x="92012" y="825006"/>
                        </a:cubicBezTo>
                        <a:lnTo>
                          <a:pt x="1875949" y="825006"/>
                        </a:lnTo>
                        <a:lnTo>
                          <a:pt x="1875949" y="823958"/>
                        </a:lnTo>
                        <a:cubicBezTo>
                          <a:pt x="1876711" y="824340"/>
                          <a:pt x="1877473" y="824625"/>
                          <a:pt x="1878235" y="825006"/>
                        </a:cubicBezTo>
                        <a:cubicBezTo>
                          <a:pt x="1961959" y="785192"/>
                          <a:pt x="2017586" y="646508"/>
                          <a:pt x="2020252" y="633649"/>
                        </a:cubicBezTo>
                        <a:cubicBezTo>
                          <a:pt x="2029682" y="587072"/>
                          <a:pt x="2038064" y="550400"/>
                          <a:pt x="2036636" y="434862"/>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32" name="Freeform: Shape 79">
                    <a:extLst>
                      <a:ext uri="{FF2B5EF4-FFF2-40B4-BE49-F238E27FC236}">
                        <a16:creationId xmlns:a16="http://schemas.microsoft.com/office/drawing/2014/main" id="{9C75A0C6-6D80-B133-D091-DA5D60D29C56}"/>
                      </a:ext>
                    </a:extLst>
                  </p:cNvPr>
                  <p:cNvSpPr/>
                  <p:nvPr/>
                </p:nvSpPr>
                <p:spPr>
                  <a:xfrm>
                    <a:off x="9022867" y="4008214"/>
                    <a:ext cx="833222" cy="833056"/>
                  </a:xfrm>
                  <a:custGeom>
                    <a:avLst/>
                    <a:gdLst>
                      <a:gd name="connsiteX0" fmla="*/ 413455 w 833222"/>
                      <a:gd name="connsiteY0" fmla="*/ 833056 h 833056"/>
                      <a:gd name="connsiteX1" fmla="*/ 833222 w 833222"/>
                      <a:gd name="connsiteY1" fmla="*/ 419767 h 833056"/>
                      <a:gd name="connsiteX2" fmla="*/ 419932 w 833222"/>
                      <a:gd name="connsiteY2" fmla="*/ 0 h 833056"/>
                      <a:gd name="connsiteX3" fmla="*/ 165 w 833222"/>
                      <a:gd name="connsiteY3" fmla="*/ 413290 h 833056"/>
                      <a:gd name="connsiteX4" fmla="*/ 413455 w 833222"/>
                      <a:gd name="connsiteY4" fmla="*/ 833056 h 833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222" h="833056">
                        <a:moveTo>
                          <a:pt x="413455" y="833056"/>
                        </a:moveTo>
                        <a:cubicBezTo>
                          <a:pt x="643008" y="833056"/>
                          <a:pt x="826745" y="649414"/>
                          <a:pt x="833222" y="419767"/>
                        </a:cubicBezTo>
                        <a:cubicBezTo>
                          <a:pt x="833222" y="190214"/>
                          <a:pt x="649580" y="0"/>
                          <a:pt x="419932" y="0"/>
                        </a:cubicBezTo>
                        <a:cubicBezTo>
                          <a:pt x="190285" y="0"/>
                          <a:pt x="165" y="183642"/>
                          <a:pt x="165" y="413290"/>
                        </a:cubicBezTo>
                        <a:cubicBezTo>
                          <a:pt x="-6407" y="642842"/>
                          <a:pt x="183808" y="826580"/>
                          <a:pt x="413455" y="833056"/>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33" name="Freeform: Shape 80">
                    <a:extLst>
                      <a:ext uri="{FF2B5EF4-FFF2-40B4-BE49-F238E27FC236}">
                        <a16:creationId xmlns:a16="http://schemas.microsoft.com/office/drawing/2014/main" id="{1C2F3CB9-392E-0627-9F16-33276F9B0181}"/>
                      </a:ext>
                    </a:extLst>
                  </p:cNvPr>
                  <p:cNvSpPr/>
                  <p:nvPr/>
                </p:nvSpPr>
                <p:spPr>
                  <a:xfrm>
                    <a:off x="8426196" y="5534691"/>
                    <a:ext cx="9525" cy="34670"/>
                  </a:xfrm>
                  <a:custGeom>
                    <a:avLst/>
                    <a:gdLst>
                      <a:gd name="connsiteX0" fmla="*/ 0 w 9525"/>
                      <a:gd name="connsiteY0" fmla="*/ 34671 h 34670"/>
                      <a:gd name="connsiteX1" fmla="*/ 0 w 9525"/>
                      <a:gd name="connsiteY1" fmla="*/ 13906 h 34670"/>
                      <a:gd name="connsiteX2" fmla="*/ 0 w 9525"/>
                      <a:gd name="connsiteY2" fmla="*/ 0 h 34670"/>
                      <a:gd name="connsiteX3" fmla="*/ 0 w 9525"/>
                      <a:gd name="connsiteY3" fmla="*/ 34671 h 34670"/>
                    </a:gdLst>
                    <a:ahLst/>
                    <a:cxnLst>
                      <a:cxn ang="0">
                        <a:pos x="connsiteX0" y="connsiteY0"/>
                      </a:cxn>
                      <a:cxn ang="0">
                        <a:pos x="connsiteX1" y="connsiteY1"/>
                      </a:cxn>
                      <a:cxn ang="0">
                        <a:pos x="connsiteX2" y="connsiteY2"/>
                      </a:cxn>
                      <a:cxn ang="0">
                        <a:pos x="connsiteX3" y="connsiteY3"/>
                      </a:cxn>
                    </a:cxnLst>
                    <a:rect l="l" t="t" r="r" b="b"/>
                    <a:pathLst>
                      <a:path w="9525" h="34670">
                        <a:moveTo>
                          <a:pt x="0" y="34671"/>
                        </a:moveTo>
                        <a:cubicBezTo>
                          <a:pt x="0" y="27813"/>
                          <a:pt x="0" y="20860"/>
                          <a:pt x="0" y="13906"/>
                        </a:cubicBezTo>
                        <a:cubicBezTo>
                          <a:pt x="0" y="9239"/>
                          <a:pt x="0" y="4572"/>
                          <a:pt x="0" y="0"/>
                        </a:cubicBezTo>
                        <a:lnTo>
                          <a:pt x="0" y="34671"/>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34" name="Freeform: Shape 81">
                    <a:extLst>
                      <a:ext uri="{FF2B5EF4-FFF2-40B4-BE49-F238E27FC236}">
                        <a16:creationId xmlns:a16="http://schemas.microsoft.com/office/drawing/2014/main" id="{41C5152E-5A26-4318-2BA1-B8C5A0223218}"/>
                      </a:ext>
                    </a:extLst>
                  </p:cNvPr>
                  <p:cNvSpPr/>
                  <p:nvPr/>
                </p:nvSpPr>
                <p:spPr>
                  <a:xfrm>
                    <a:off x="8426196" y="4940475"/>
                    <a:ext cx="2036795" cy="825006"/>
                  </a:xfrm>
                  <a:custGeom>
                    <a:avLst/>
                    <a:gdLst>
                      <a:gd name="connsiteX0" fmla="*/ 2036636 w 2036795"/>
                      <a:gd name="connsiteY0" fmla="*/ 434862 h 825006"/>
                      <a:gd name="connsiteX1" fmla="*/ 1547908 w 2036795"/>
                      <a:gd name="connsiteY1" fmla="*/ 32050 h 825006"/>
                      <a:gd name="connsiteX2" fmla="*/ 1547908 w 2036795"/>
                      <a:gd name="connsiteY2" fmla="*/ 32050 h 825006"/>
                      <a:gd name="connsiteX3" fmla="*/ 478727 w 2036795"/>
                      <a:gd name="connsiteY3" fmla="*/ 32050 h 825006"/>
                      <a:gd name="connsiteX4" fmla="*/ 13049 w 2036795"/>
                      <a:gd name="connsiteY4" fmla="*/ 445340 h 825006"/>
                      <a:gd name="connsiteX5" fmla="*/ 0 w 2036795"/>
                      <a:gd name="connsiteY5" fmla="*/ 608217 h 825006"/>
                      <a:gd name="connsiteX6" fmla="*/ 13049 w 2036795"/>
                      <a:gd name="connsiteY6" fmla="*/ 718898 h 825006"/>
                      <a:gd name="connsiteX7" fmla="*/ 92011 w 2036795"/>
                      <a:gd name="connsiteY7" fmla="*/ 825006 h 825006"/>
                      <a:gd name="connsiteX8" fmla="*/ 1875949 w 2036795"/>
                      <a:gd name="connsiteY8" fmla="*/ 825006 h 825006"/>
                      <a:gd name="connsiteX9" fmla="*/ 1875949 w 2036795"/>
                      <a:gd name="connsiteY9" fmla="*/ 823958 h 825006"/>
                      <a:gd name="connsiteX10" fmla="*/ 1878235 w 2036795"/>
                      <a:gd name="connsiteY10" fmla="*/ 825006 h 825006"/>
                      <a:gd name="connsiteX11" fmla="*/ 2020252 w 2036795"/>
                      <a:gd name="connsiteY11" fmla="*/ 633649 h 825006"/>
                      <a:gd name="connsiteX12" fmla="*/ 2036636 w 2036795"/>
                      <a:gd name="connsiteY12" fmla="*/ 434862 h 82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6795" h="825006">
                        <a:moveTo>
                          <a:pt x="2036636" y="434862"/>
                        </a:moveTo>
                        <a:cubicBezTo>
                          <a:pt x="1970913" y="137873"/>
                          <a:pt x="1849660" y="71388"/>
                          <a:pt x="1547908" y="32050"/>
                        </a:cubicBezTo>
                        <a:lnTo>
                          <a:pt x="1547908" y="32050"/>
                        </a:lnTo>
                        <a:cubicBezTo>
                          <a:pt x="1193673" y="-13860"/>
                          <a:pt x="832961" y="-7384"/>
                          <a:pt x="478727" y="32050"/>
                        </a:cubicBezTo>
                        <a:cubicBezTo>
                          <a:pt x="216312" y="64816"/>
                          <a:pt x="65437" y="202548"/>
                          <a:pt x="13049" y="445340"/>
                        </a:cubicBezTo>
                        <a:cubicBezTo>
                          <a:pt x="1428" y="497537"/>
                          <a:pt x="95" y="554877"/>
                          <a:pt x="0" y="608217"/>
                        </a:cubicBezTo>
                        <a:cubicBezTo>
                          <a:pt x="190" y="644222"/>
                          <a:pt x="1524" y="684132"/>
                          <a:pt x="13049" y="718898"/>
                        </a:cubicBezTo>
                        <a:cubicBezTo>
                          <a:pt x="26194" y="758236"/>
                          <a:pt x="59245" y="805290"/>
                          <a:pt x="92011" y="825006"/>
                        </a:cubicBezTo>
                        <a:lnTo>
                          <a:pt x="1875949" y="825006"/>
                        </a:lnTo>
                        <a:lnTo>
                          <a:pt x="1875949" y="823958"/>
                        </a:lnTo>
                        <a:cubicBezTo>
                          <a:pt x="1876711" y="824340"/>
                          <a:pt x="1877473" y="824625"/>
                          <a:pt x="1878235" y="825006"/>
                        </a:cubicBezTo>
                        <a:cubicBezTo>
                          <a:pt x="1961959" y="785192"/>
                          <a:pt x="2017586" y="646508"/>
                          <a:pt x="2020252" y="633649"/>
                        </a:cubicBezTo>
                        <a:cubicBezTo>
                          <a:pt x="2029682" y="587072"/>
                          <a:pt x="2038064" y="550400"/>
                          <a:pt x="2036636" y="434862"/>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35" name="Freeform: Shape 82">
                    <a:extLst>
                      <a:ext uri="{FF2B5EF4-FFF2-40B4-BE49-F238E27FC236}">
                        <a16:creationId xmlns:a16="http://schemas.microsoft.com/office/drawing/2014/main" id="{BC0767D9-022C-EC15-6C7C-F8BC93EBF76C}"/>
                      </a:ext>
                    </a:extLst>
                  </p:cNvPr>
                  <p:cNvSpPr/>
                  <p:nvPr/>
                </p:nvSpPr>
                <p:spPr>
                  <a:xfrm>
                    <a:off x="3993667" y="2624422"/>
                    <a:ext cx="833221" cy="833056"/>
                  </a:xfrm>
                  <a:custGeom>
                    <a:avLst/>
                    <a:gdLst>
                      <a:gd name="connsiteX0" fmla="*/ 413455 w 833221"/>
                      <a:gd name="connsiteY0" fmla="*/ 833057 h 833056"/>
                      <a:gd name="connsiteX1" fmla="*/ 833222 w 833221"/>
                      <a:gd name="connsiteY1" fmla="*/ 419767 h 833056"/>
                      <a:gd name="connsiteX2" fmla="*/ 419932 w 833221"/>
                      <a:gd name="connsiteY2" fmla="*/ 0 h 833056"/>
                      <a:gd name="connsiteX3" fmla="*/ 165 w 833221"/>
                      <a:gd name="connsiteY3" fmla="*/ 413290 h 833056"/>
                      <a:gd name="connsiteX4" fmla="*/ 413455 w 833221"/>
                      <a:gd name="connsiteY4" fmla="*/ 833057 h 833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221" h="833056">
                        <a:moveTo>
                          <a:pt x="413455" y="833057"/>
                        </a:moveTo>
                        <a:cubicBezTo>
                          <a:pt x="643008" y="833057"/>
                          <a:pt x="826745" y="649415"/>
                          <a:pt x="833222" y="419767"/>
                        </a:cubicBezTo>
                        <a:cubicBezTo>
                          <a:pt x="833222" y="190214"/>
                          <a:pt x="649580" y="0"/>
                          <a:pt x="419932" y="0"/>
                        </a:cubicBezTo>
                        <a:cubicBezTo>
                          <a:pt x="190284" y="0"/>
                          <a:pt x="165" y="183642"/>
                          <a:pt x="165" y="413290"/>
                        </a:cubicBezTo>
                        <a:cubicBezTo>
                          <a:pt x="-6407" y="642842"/>
                          <a:pt x="183807" y="826580"/>
                          <a:pt x="413455" y="833057"/>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36" name="Freeform: Shape 83">
                    <a:extLst>
                      <a:ext uri="{FF2B5EF4-FFF2-40B4-BE49-F238E27FC236}">
                        <a16:creationId xmlns:a16="http://schemas.microsoft.com/office/drawing/2014/main" id="{2D4C9D99-467B-0A51-B314-549E8015931A}"/>
                      </a:ext>
                    </a:extLst>
                  </p:cNvPr>
                  <p:cNvSpPr/>
                  <p:nvPr/>
                </p:nvSpPr>
                <p:spPr>
                  <a:xfrm>
                    <a:off x="3396995" y="4150899"/>
                    <a:ext cx="9525" cy="34670"/>
                  </a:xfrm>
                  <a:custGeom>
                    <a:avLst/>
                    <a:gdLst>
                      <a:gd name="connsiteX0" fmla="*/ 0 w 9525"/>
                      <a:gd name="connsiteY0" fmla="*/ 34671 h 34670"/>
                      <a:gd name="connsiteX1" fmla="*/ 0 w 9525"/>
                      <a:gd name="connsiteY1" fmla="*/ 13906 h 34670"/>
                      <a:gd name="connsiteX2" fmla="*/ 0 w 9525"/>
                      <a:gd name="connsiteY2" fmla="*/ 0 h 34670"/>
                      <a:gd name="connsiteX3" fmla="*/ 0 w 9525"/>
                      <a:gd name="connsiteY3" fmla="*/ 34671 h 34670"/>
                    </a:gdLst>
                    <a:ahLst/>
                    <a:cxnLst>
                      <a:cxn ang="0">
                        <a:pos x="connsiteX0" y="connsiteY0"/>
                      </a:cxn>
                      <a:cxn ang="0">
                        <a:pos x="connsiteX1" y="connsiteY1"/>
                      </a:cxn>
                      <a:cxn ang="0">
                        <a:pos x="connsiteX2" y="connsiteY2"/>
                      </a:cxn>
                      <a:cxn ang="0">
                        <a:pos x="connsiteX3" y="connsiteY3"/>
                      </a:cxn>
                    </a:cxnLst>
                    <a:rect l="l" t="t" r="r" b="b"/>
                    <a:pathLst>
                      <a:path w="9525" h="34670">
                        <a:moveTo>
                          <a:pt x="0" y="34671"/>
                        </a:moveTo>
                        <a:cubicBezTo>
                          <a:pt x="0" y="27813"/>
                          <a:pt x="0" y="20860"/>
                          <a:pt x="0" y="13906"/>
                        </a:cubicBezTo>
                        <a:cubicBezTo>
                          <a:pt x="0" y="9239"/>
                          <a:pt x="0" y="4572"/>
                          <a:pt x="0" y="0"/>
                        </a:cubicBezTo>
                        <a:lnTo>
                          <a:pt x="0" y="34671"/>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38" name="Freeform: Shape 84">
                    <a:extLst>
                      <a:ext uri="{FF2B5EF4-FFF2-40B4-BE49-F238E27FC236}">
                        <a16:creationId xmlns:a16="http://schemas.microsoft.com/office/drawing/2014/main" id="{BA129C73-E1BF-F7CA-4DE5-E3E10A9149BD}"/>
                      </a:ext>
                    </a:extLst>
                  </p:cNvPr>
                  <p:cNvSpPr/>
                  <p:nvPr/>
                </p:nvSpPr>
                <p:spPr>
                  <a:xfrm>
                    <a:off x="3396995" y="3556683"/>
                    <a:ext cx="2036795" cy="825006"/>
                  </a:xfrm>
                  <a:custGeom>
                    <a:avLst/>
                    <a:gdLst>
                      <a:gd name="connsiteX0" fmla="*/ 2036635 w 2036795"/>
                      <a:gd name="connsiteY0" fmla="*/ 434862 h 825006"/>
                      <a:gd name="connsiteX1" fmla="*/ 1547908 w 2036795"/>
                      <a:gd name="connsiteY1" fmla="*/ 32050 h 825006"/>
                      <a:gd name="connsiteX2" fmla="*/ 1547908 w 2036795"/>
                      <a:gd name="connsiteY2" fmla="*/ 32050 h 825006"/>
                      <a:gd name="connsiteX3" fmla="*/ 478726 w 2036795"/>
                      <a:gd name="connsiteY3" fmla="*/ 32050 h 825006"/>
                      <a:gd name="connsiteX4" fmla="*/ 13049 w 2036795"/>
                      <a:gd name="connsiteY4" fmla="*/ 445340 h 825006"/>
                      <a:gd name="connsiteX5" fmla="*/ 0 w 2036795"/>
                      <a:gd name="connsiteY5" fmla="*/ 608217 h 825006"/>
                      <a:gd name="connsiteX6" fmla="*/ 13049 w 2036795"/>
                      <a:gd name="connsiteY6" fmla="*/ 718898 h 825006"/>
                      <a:gd name="connsiteX7" fmla="*/ 92012 w 2036795"/>
                      <a:gd name="connsiteY7" fmla="*/ 825006 h 825006"/>
                      <a:gd name="connsiteX8" fmla="*/ 1875949 w 2036795"/>
                      <a:gd name="connsiteY8" fmla="*/ 825006 h 825006"/>
                      <a:gd name="connsiteX9" fmla="*/ 1875949 w 2036795"/>
                      <a:gd name="connsiteY9" fmla="*/ 823958 h 825006"/>
                      <a:gd name="connsiteX10" fmla="*/ 1878235 w 2036795"/>
                      <a:gd name="connsiteY10" fmla="*/ 825006 h 825006"/>
                      <a:gd name="connsiteX11" fmla="*/ 2020252 w 2036795"/>
                      <a:gd name="connsiteY11" fmla="*/ 633649 h 825006"/>
                      <a:gd name="connsiteX12" fmla="*/ 2036635 w 2036795"/>
                      <a:gd name="connsiteY12" fmla="*/ 434862 h 82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6795" h="825006">
                        <a:moveTo>
                          <a:pt x="2036635" y="434862"/>
                        </a:moveTo>
                        <a:cubicBezTo>
                          <a:pt x="1970913" y="137873"/>
                          <a:pt x="1849660" y="71388"/>
                          <a:pt x="1547908" y="32050"/>
                        </a:cubicBezTo>
                        <a:lnTo>
                          <a:pt x="1547908" y="32050"/>
                        </a:lnTo>
                        <a:cubicBezTo>
                          <a:pt x="1193673" y="-13860"/>
                          <a:pt x="832961" y="-7384"/>
                          <a:pt x="478726" y="32050"/>
                        </a:cubicBezTo>
                        <a:cubicBezTo>
                          <a:pt x="216313" y="64816"/>
                          <a:pt x="65437" y="202548"/>
                          <a:pt x="13049" y="445340"/>
                        </a:cubicBezTo>
                        <a:cubicBezTo>
                          <a:pt x="1429" y="497537"/>
                          <a:pt x="95" y="554877"/>
                          <a:pt x="0" y="608217"/>
                        </a:cubicBezTo>
                        <a:cubicBezTo>
                          <a:pt x="191" y="644222"/>
                          <a:pt x="1524" y="684132"/>
                          <a:pt x="13049" y="718898"/>
                        </a:cubicBezTo>
                        <a:cubicBezTo>
                          <a:pt x="26194" y="758236"/>
                          <a:pt x="59246" y="805290"/>
                          <a:pt x="92012" y="825006"/>
                        </a:cubicBezTo>
                        <a:lnTo>
                          <a:pt x="1875949" y="825006"/>
                        </a:lnTo>
                        <a:lnTo>
                          <a:pt x="1875949" y="823958"/>
                        </a:lnTo>
                        <a:cubicBezTo>
                          <a:pt x="1876711" y="824340"/>
                          <a:pt x="1877473" y="824625"/>
                          <a:pt x="1878235" y="825006"/>
                        </a:cubicBezTo>
                        <a:cubicBezTo>
                          <a:pt x="1961960" y="785192"/>
                          <a:pt x="2017585" y="646508"/>
                          <a:pt x="2020252" y="633649"/>
                        </a:cubicBezTo>
                        <a:cubicBezTo>
                          <a:pt x="2029682" y="587072"/>
                          <a:pt x="2038064" y="550400"/>
                          <a:pt x="2036635" y="434862"/>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39" name="Freeform: Shape 85">
                    <a:extLst>
                      <a:ext uri="{FF2B5EF4-FFF2-40B4-BE49-F238E27FC236}">
                        <a16:creationId xmlns:a16="http://schemas.microsoft.com/office/drawing/2014/main" id="{A7D4A0EB-952C-5E2E-3B5D-058C3CCA1E32}"/>
                      </a:ext>
                    </a:extLst>
                  </p:cNvPr>
                  <p:cNvSpPr/>
                  <p:nvPr/>
                </p:nvSpPr>
                <p:spPr>
                  <a:xfrm>
                    <a:off x="7339990" y="2624422"/>
                    <a:ext cx="833222" cy="833056"/>
                  </a:xfrm>
                  <a:custGeom>
                    <a:avLst/>
                    <a:gdLst>
                      <a:gd name="connsiteX0" fmla="*/ 413455 w 833222"/>
                      <a:gd name="connsiteY0" fmla="*/ 833057 h 833056"/>
                      <a:gd name="connsiteX1" fmla="*/ 833222 w 833222"/>
                      <a:gd name="connsiteY1" fmla="*/ 419767 h 833056"/>
                      <a:gd name="connsiteX2" fmla="*/ 419932 w 833222"/>
                      <a:gd name="connsiteY2" fmla="*/ 0 h 833056"/>
                      <a:gd name="connsiteX3" fmla="*/ 165 w 833222"/>
                      <a:gd name="connsiteY3" fmla="*/ 413290 h 833056"/>
                      <a:gd name="connsiteX4" fmla="*/ 413455 w 833222"/>
                      <a:gd name="connsiteY4" fmla="*/ 833057 h 833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222" h="833056">
                        <a:moveTo>
                          <a:pt x="413455" y="833057"/>
                        </a:moveTo>
                        <a:cubicBezTo>
                          <a:pt x="643008" y="833057"/>
                          <a:pt x="826745" y="649415"/>
                          <a:pt x="833222" y="419767"/>
                        </a:cubicBezTo>
                        <a:cubicBezTo>
                          <a:pt x="833222" y="190214"/>
                          <a:pt x="649580" y="0"/>
                          <a:pt x="419932" y="0"/>
                        </a:cubicBezTo>
                        <a:cubicBezTo>
                          <a:pt x="190285" y="0"/>
                          <a:pt x="165" y="183642"/>
                          <a:pt x="165" y="413290"/>
                        </a:cubicBezTo>
                        <a:cubicBezTo>
                          <a:pt x="-6407" y="642842"/>
                          <a:pt x="183808" y="826580"/>
                          <a:pt x="413455" y="833057"/>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0" name="Freeform: Shape 91">
                    <a:extLst>
                      <a:ext uri="{FF2B5EF4-FFF2-40B4-BE49-F238E27FC236}">
                        <a16:creationId xmlns:a16="http://schemas.microsoft.com/office/drawing/2014/main" id="{FB05817C-FDFD-E4BF-478C-1DD27251B6B3}"/>
                      </a:ext>
                    </a:extLst>
                  </p:cNvPr>
                  <p:cNvSpPr/>
                  <p:nvPr/>
                </p:nvSpPr>
                <p:spPr>
                  <a:xfrm>
                    <a:off x="6743319" y="4150899"/>
                    <a:ext cx="9525" cy="34670"/>
                  </a:xfrm>
                  <a:custGeom>
                    <a:avLst/>
                    <a:gdLst>
                      <a:gd name="connsiteX0" fmla="*/ 0 w 9525"/>
                      <a:gd name="connsiteY0" fmla="*/ 34671 h 34670"/>
                      <a:gd name="connsiteX1" fmla="*/ 0 w 9525"/>
                      <a:gd name="connsiteY1" fmla="*/ 13906 h 34670"/>
                      <a:gd name="connsiteX2" fmla="*/ 0 w 9525"/>
                      <a:gd name="connsiteY2" fmla="*/ 0 h 34670"/>
                      <a:gd name="connsiteX3" fmla="*/ 0 w 9525"/>
                      <a:gd name="connsiteY3" fmla="*/ 34671 h 34670"/>
                    </a:gdLst>
                    <a:ahLst/>
                    <a:cxnLst>
                      <a:cxn ang="0">
                        <a:pos x="connsiteX0" y="connsiteY0"/>
                      </a:cxn>
                      <a:cxn ang="0">
                        <a:pos x="connsiteX1" y="connsiteY1"/>
                      </a:cxn>
                      <a:cxn ang="0">
                        <a:pos x="connsiteX2" y="connsiteY2"/>
                      </a:cxn>
                      <a:cxn ang="0">
                        <a:pos x="connsiteX3" y="connsiteY3"/>
                      </a:cxn>
                    </a:cxnLst>
                    <a:rect l="l" t="t" r="r" b="b"/>
                    <a:pathLst>
                      <a:path w="9525" h="34670">
                        <a:moveTo>
                          <a:pt x="0" y="34671"/>
                        </a:moveTo>
                        <a:cubicBezTo>
                          <a:pt x="0" y="27813"/>
                          <a:pt x="0" y="20860"/>
                          <a:pt x="0" y="13906"/>
                        </a:cubicBezTo>
                        <a:cubicBezTo>
                          <a:pt x="0" y="9239"/>
                          <a:pt x="0" y="4572"/>
                          <a:pt x="0" y="0"/>
                        </a:cubicBezTo>
                        <a:lnTo>
                          <a:pt x="0" y="34671"/>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1" name="Freeform: Shape 92">
                    <a:extLst>
                      <a:ext uri="{FF2B5EF4-FFF2-40B4-BE49-F238E27FC236}">
                        <a16:creationId xmlns:a16="http://schemas.microsoft.com/office/drawing/2014/main" id="{F7BD0DD0-37B7-B51D-0FA8-970ADBE669E5}"/>
                      </a:ext>
                    </a:extLst>
                  </p:cNvPr>
                  <p:cNvSpPr/>
                  <p:nvPr/>
                </p:nvSpPr>
                <p:spPr>
                  <a:xfrm>
                    <a:off x="6743319" y="3556683"/>
                    <a:ext cx="2036795" cy="825006"/>
                  </a:xfrm>
                  <a:custGeom>
                    <a:avLst/>
                    <a:gdLst>
                      <a:gd name="connsiteX0" fmla="*/ 2036636 w 2036795"/>
                      <a:gd name="connsiteY0" fmla="*/ 434862 h 825006"/>
                      <a:gd name="connsiteX1" fmla="*/ 1547907 w 2036795"/>
                      <a:gd name="connsiteY1" fmla="*/ 32050 h 825006"/>
                      <a:gd name="connsiteX2" fmla="*/ 1547907 w 2036795"/>
                      <a:gd name="connsiteY2" fmla="*/ 32050 h 825006"/>
                      <a:gd name="connsiteX3" fmla="*/ 478726 w 2036795"/>
                      <a:gd name="connsiteY3" fmla="*/ 32050 h 825006"/>
                      <a:gd name="connsiteX4" fmla="*/ 13049 w 2036795"/>
                      <a:gd name="connsiteY4" fmla="*/ 445340 h 825006"/>
                      <a:gd name="connsiteX5" fmla="*/ 0 w 2036795"/>
                      <a:gd name="connsiteY5" fmla="*/ 608217 h 825006"/>
                      <a:gd name="connsiteX6" fmla="*/ 13049 w 2036795"/>
                      <a:gd name="connsiteY6" fmla="*/ 718898 h 825006"/>
                      <a:gd name="connsiteX7" fmla="*/ 92011 w 2036795"/>
                      <a:gd name="connsiteY7" fmla="*/ 825006 h 825006"/>
                      <a:gd name="connsiteX8" fmla="*/ 1875948 w 2036795"/>
                      <a:gd name="connsiteY8" fmla="*/ 825006 h 825006"/>
                      <a:gd name="connsiteX9" fmla="*/ 1875948 w 2036795"/>
                      <a:gd name="connsiteY9" fmla="*/ 823958 h 825006"/>
                      <a:gd name="connsiteX10" fmla="*/ 1878235 w 2036795"/>
                      <a:gd name="connsiteY10" fmla="*/ 825006 h 825006"/>
                      <a:gd name="connsiteX11" fmla="*/ 2020252 w 2036795"/>
                      <a:gd name="connsiteY11" fmla="*/ 633649 h 825006"/>
                      <a:gd name="connsiteX12" fmla="*/ 2036636 w 2036795"/>
                      <a:gd name="connsiteY12" fmla="*/ 434862 h 82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6795" h="825006">
                        <a:moveTo>
                          <a:pt x="2036636" y="434862"/>
                        </a:moveTo>
                        <a:cubicBezTo>
                          <a:pt x="1970913" y="137873"/>
                          <a:pt x="1849660" y="71388"/>
                          <a:pt x="1547907" y="32050"/>
                        </a:cubicBezTo>
                        <a:lnTo>
                          <a:pt x="1547907" y="32050"/>
                        </a:lnTo>
                        <a:cubicBezTo>
                          <a:pt x="1193673" y="-13860"/>
                          <a:pt x="832961" y="-7384"/>
                          <a:pt x="478726" y="32050"/>
                        </a:cubicBezTo>
                        <a:cubicBezTo>
                          <a:pt x="216312" y="64816"/>
                          <a:pt x="65437" y="202548"/>
                          <a:pt x="13049" y="445340"/>
                        </a:cubicBezTo>
                        <a:cubicBezTo>
                          <a:pt x="1428" y="497537"/>
                          <a:pt x="95" y="554877"/>
                          <a:pt x="0" y="608217"/>
                        </a:cubicBezTo>
                        <a:cubicBezTo>
                          <a:pt x="190" y="644222"/>
                          <a:pt x="1524" y="684132"/>
                          <a:pt x="13049" y="718898"/>
                        </a:cubicBezTo>
                        <a:cubicBezTo>
                          <a:pt x="26194" y="758236"/>
                          <a:pt x="59245" y="805290"/>
                          <a:pt x="92011" y="825006"/>
                        </a:cubicBezTo>
                        <a:lnTo>
                          <a:pt x="1875948" y="825006"/>
                        </a:lnTo>
                        <a:lnTo>
                          <a:pt x="1875948" y="823958"/>
                        </a:lnTo>
                        <a:cubicBezTo>
                          <a:pt x="1876711" y="824340"/>
                          <a:pt x="1877473" y="824625"/>
                          <a:pt x="1878235" y="825006"/>
                        </a:cubicBezTo>
                        <a:cubicBezTo>
                          <a:pt x="1961959" y="785192"/>
                          <a:pt x="2017586" y="646508"/>
                          <a:pt x="2020252" y="633649"/>
                        </a:cubicBezTo>
                        <a:cubicBezTo>
                          <a:pt x="2029682" y="587072"/>
                          <a:pt x="2038064" y="550400"/>
                          <a:pt x="2036636" y="434862"/>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grpSp>
        </p:grpSp>
        <p:grpSp>
          <p:nvGrpSpPr>
            <p:cNvPr id="13" name="Group 12">
              <a:extLst>
                <a:ext uri="{FF2B5EF4-FFF2-40B4-BE49-F238E27FC236}">
                  <a16:creationId xmlns:a16="http://schemas.microsoft.com/office/drawing/2014/main" id="{E6519AC9-39B9-BE00-FA7B-2A3CF86EEBBC}"/>
                </a:ext>
              </a:extLst>
            </p:cNvPr>
            <p:cNvGrpSpPr/>
            <p:nvPr/>
          </p:nvGrpSpPr>
          <p:grpSpPr>
            <a:xfrm>
              <a:off x="6972285" y="6547439"/>
              <a:ext cx="1520200" cy="392652"/>
              <a:chOff x="614988" y="5922358"/>
              <a:chExt cx="1520200" cy="392652"/>
            </a:xfrm>
          </p:grpSpPr>
          <p:sp>
            <p:nvSpPr>
              <p:cNvPr id="14" name="Rectangle 13">
                <a:extLst>
                  <a:ext uri="{FF2B5EF4-FFF2-40B4-BE49-F238E27FC236}">
                    <a16:creationId xmlns:a16="http://schemas.microsoft.com/office/drawing/2014/main" id="{FB014CFC-7F96-2032-D06B-AB7CC642734C}"/>
                  </a:ext>
                </a:extLst>
              </p:cNvPr>
              <p:cNvSpPr/>
              <p:nvPr/>
            </p:nvSpPr>
            <p:spPr>
              <a:xfrm>
                <a:off x="996195" y="5960556"/>
                <a:ext cx="1138993" cy="3162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Roboto"/>
                    <a:ea typeface="+mn-ea"/>
                    <a:cs typeface="+mn-cs"/>
                  </a:rPr>
                  <a:t>Complete range for the job</a:t>
                </a:r>
              </a:p>
            </p:txBody>
          </p:sp>
          <p:sp>
            <p:nvSpPr>
              <p:cNvPr id="15" name="Graphic 18">
                <a:extLst>
                  <a:ext uri="{FF2B5EF4-FFF2-40B4-BE49-F238E27FC236}">
                    <a16:creationId xmlns:a16="http://schemas.microsoft.com/office/drawing/2014/main" id="{8CD4E2FA-C27E-7256-C0A4-3F7B6A70CC6C}"/>
                  </a:ext>
                </a:extLst>
              </p:cNvPr>
              <p:cNvSpPr/>
              <p:nvPr/>
            </p:nvSpPr>
            <p:spPr>
              <a:xfrm>
                <a:off x="614988" y="5922358"/>
                <a:ext cx="340028" cy="392652"/>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pic>
            <p:nvPicPr>
              <p:cNvPr id="16" name="Graphic 15">
                <a:extLst>
                  <a:ext uri="{FF2B5EF4-FFF2-40B4-BE49-F238E27FC236}">
                    <a16:creationId xmlns:a16="http://schemas.microsoft.com/office/drawing/2014/main" id="{FDFC923B-95A2-DE5C-AD9D-72702BB62020}"/>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8326" y="6004382"/>
                <a:ext cx="228593" cy="228593"/>
              </a:xfrm>
              <a:prstGeom prst="rect">
                <a:avLst/>
              </a:prstGeom>
            </p:spPr>
          </p:pic>
        </p:grpSp>
      </p:grpSp>
      <p:grpSp>
        <p:nvGrpSpPr>
          <p:cNvPr id="448" name="Group 447">
            <a:extLst>
              <a:ext uri="{FF2B5EF4-FFF2-40B4-BE49-F238E27FC236}">
                <a16:creationId xmlns:a16="http://schemas.microsoft.com/office/drawing/2014/main" id="{A58897A1-0085-C9D7-538B-FDEF7A09D492}"/>
              </a:ext>
            </a:extLst>
          </p:cNvPr>
          <p:cNvGrpSpPr/>
          <p:nvPr/>
        </p:nvGrpSpPr>
        <p:grpSpPr>
          <a:xfrm rot="10800000">
            <a:off x="1556251" y="2400085"/>
            <a:ext cx="176283" cy="674187"/>
            <a:chOff x="982713" y="2785138"/>
            <a:chExt cx="139179" cy="532267"/>
          </a:xfrm>
        </p:grpSpPr>
        <p:cxnSp>
          <p:nvCxnSpPr>
            <p:cNvPr id="449" name="Straight Connector 448">
              <a:extLst>
                <a:ext uri="{FF2B5EF4-FFF2-40B4-BE49-F238E27FC236}">
                  <a16:creationId xmlns:a16="http://schemas.microsoft.com/office/drawing/2014/main" id="{0D670078-82B7-55E5-D7A0-DE4173ACC724}"/>
                </a:ext>
              </a:extLst>
            </p:cNvPr>
            <p:cNvCxnSpPr>
              <a:cxnSpLocks/>
            </p:cNvCxnSpPr>
            <p:nvPr/>
          </p:nvCxnSpPr>
          <p:spPr>
            <a:xfrm rot="10800000" flipH="1">
              <a:off x="1053793" y="2785138"/>
              <a:ext cx="4295" cy="478964"/>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450" name="Oval 449">
              <a:extLst>
                <a:ext uri="{FF2B5EF4-FFF2-40B4-BE49-F238E27FC236}">
                  <a16:creationId xmlns:a16="http://schemas.microsoft.com/office/drawing/2014/main" id="{FC329869-0458-569D-D537-88A7B8CDE849}"/>
                </a:ext>
              </a:extLst>
            </p:cNvPr>
            <p:cNvSpPr/>
            <p:nvPr/>
          </p:nvSpPr>
          <p:spPr>
            <a:xfrm>
              <a:off x="982713" y="3178228"/>
              <a:ext cx="139179" cy="139177"/>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a:ea typeface="+mn-ea"/>
                <a:cs typeface="+mn-cs"/>
              </a:endParaRPr>
            </a:p>
          </p:txBody>
        </p:sp>
      </p:grpSp>
      <p:grpSp>
        <p:nvGrpSpPr>
          <p:cNvPr id="483" name="Group 482">
            <a:extLst>
              <a:ext uri="{FF2B5EF4-FFF2-40B4-BE49-F238E27FC236}">
                <a16:creationId xmlns:a16="http://schemas.microsoft.com/office/drawing/2014/main" id="{FDDAE15C-55EF-4B87-D369-44C92AB1EE92}"/>
              </a:ext>
            </a:extLst>
          </p:cNvPr>
          <p:cNvGrpSpPr/>
          <p:nvPr/>
        </p:nvGrpSpPr>
        <p:grpSpPr>
          <a:xfrm rot="10800000">
            <a:off x="3639943" y="2406133"/>
            <a:ext cx="176283" cy="674187"/>
            <a:chOff x="982713" y="2785138"/>
            <a:chExt cx="139179" cy="532267"/>
          </a:xfrm>
        </p:grpSpPr>
        <p:cxnSp>
          <p:nvCxnSpPr>
            <p:cNvPr id="484" name="Straight Connector 483">
              <a:extLst>
                <a:ext uri="{FF2B5EF4-FFF2-40B4-BE49-F238E27FC236}">
                  <a16:creationId xmlns:a16="http://schemas.microsoft.com/office/drawing/2014/main" id="{F9F9F64E-BEA2-FC93-19F9-086B3F7ECF9E}"/>
                </a:ext>
              </a:extLst>
            </p:cNvPr>
            <p:cNvCxnSpPr>
              <a:cxnSpLocks/>
            </p:cNvCxnSpPr>
            <p:nvPr/>
          </p:nvCxnSpPr>
          <p:spPr>
            <a:xfrm rot="10800000" flipH="1">
              <a:off x="1053793" y="2785138"/>
              <a:ext cx="4295" cy="478964"/>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485" name="Oval 484">
              <a:extLst>
                <a:ext uri="{FF2B5EF4-FFF2-40B4-BE49-F238E27FC236}">
                  <a16:creationId xmlns:a16="http://schemas.microsoft.com/office/drawing/2014/main" id="{5EDFB728-01A5-4645-3F59-9D1D4E8E56A7}"/>
                </a:ext>
              </a:extLst>
            </p:cNvPr>
            <p:cNvSpPr/>
            <p:nvPr/>
          </p:nvSpPr>
          <p:spPr>
            <a:xfrm>
              <a:off x="982713" y="3178228"/>
              <a:ext cx="139179" cy="139177"/>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a:ea typeface="+mn-ea"/>
                <a:cs typeface="+mn-cs"/>
              </a:endParaRPr>
            </a:p>
          </p:txBody>
        </p:sp>
      </p:grpSp>
      <p:sp>
        <p:nvSpPr>
          <p:cNvPr id="486" name="Rectangle 485">
            <a:extLst>
              <a:ext uri="{FF2B5EF4-FFF2-40B4-BE49-F238E27FC236}">
                <a16:creationId xmlns:a16="http://schemas.microsoft.com/office/drawing/2014/main" id="{A5B4802F-83EB-6DB1-44E8-CEFACC9CE06E}"/>
              </a:ext>
            </a:extLst>
          </p:cNvPr>
          <p:cNvSpPr/>
          <p:nvPr/>
        </p:nvSpPr>
        <p:spPr>
          <a:xfrm>
            <a:off x="3258495" y="4384351"/>
            <a:ext cx="1839864" cy="780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Roboto"/>
                <a:ea typeface="+mn-ea"/>
                <a:cs typeface="+mn-cs"/>
              </a:rPr>
              <a:t>Feb 2024 </a:t>
            </a:r>
            <a:endParaRPr kumimoji="0" lang="en-GB" sz="1200" b="0" i="0" u="none" strike="noStrike" kern="1200" cap="none" spc="0" normalizeH="0" baseline="0" noProof="0">
              <a:ln>
                <a:noFill/>
              </a:ln>
              <a:solidFill>
                <a:srgbClr val="000000"/>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Roboto"/>
                <a:ea typeface="+mn-ea"/>
                <a:cs typeface="+mn-cs"/>
              </a:rPr>
              <a:t>New strategic propositions for Landscaping</a:t>
            </a:r>
          </a:p>
        </p:txBody>
      </p:sp>
      <p:grpSp>
        <p:nvGrpSpPr>
          <p:cNvPr id="487" name="Group 486">
            <a:extLst>
              <a:ext uri="{FF2B5EF4-FFF2-40B4-BE49-F238E27FC236}">
                <a16:creationId xmlns:a16="http://schemas.microsoft.com/office/drawing/2014/main" id="{43C7DDD9-4C9B-94D5-9F3E-7FCCDA72E367}"/>
              </a:ext>
            </a:extLst>
          </p:cNvPr>
          <p:cNvGrpSpPr/>
          <p:nvPr/>
        </p:nvGrpSpPr>
        <p:grpSpPr>
          <a:xfrm>
            <a:off x="3428378" y="3810990"/>
            <a:ext cx="462728" cy="534342"/>
            <a:chOff x="7738482" y="1535374"/>
            <a:chExt cx="462728" cy="534342"/>
          </a:xfrm>
        </p:grpSpPr>
        <p:sp>
          <p:nvSpPr>
            <p:cNvPr id="488" name="Graphic 18">
              <a:extLst>
                <a:ext uri="{FF2B5EF4-FFF2-40B4-BE49-F238E27FC236}">
                  <a16:creationId xmlns:a16="http://schemas.microsoft.com/office/drawing/2014/main" id="{7C2FEA96-41F5-A34B-C215-BDF7B0AD62C0}"/>
                </a:ext>
              </a:extLst>
            </p:cNvPr>
            <p:cNvSpPr/>
            <p:nvPr/>
          </p:nvSpPr>
          <p:spPr>
            <a:xfrm>
              <a:off x="7738482" y="1535374"/>
              <a:ext cx="462728" cy="534342"/>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pic>
          <p:nvPicPr>
            <p:cNvPr id="489" name="Graphic 488">
              <a:extLst>
                <a:ext uri="{FF2B5EF4-FFF2-40B4-BE49-F238E27FC236}">
                  <a16:creationId xmlns:a16="http://schemas.microsoft.com/office/drawing/2014/main" id="{7C962660-ED3E-7112-5804-AB98475B16A0}"/>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824634" y="1629754"/>
              <a:ext cx="340731" cy="340731"/>
            </a:xfrm>
            <a:prstGeom prst="rect">
              <a:avLst/>
            </a:prstGeom>
          </p:spPr>
        </p:pic>
      </p:grpSp>
      <p:grpSp>
        <p:nvGrpSpPr>
          <p:cNvPr id="490" name="Group 489">
            <a:extLst>
              <a:ext uri="{FF2B5EF4-FFF2-40B4-BE49-F238E27FC236}">
                <a16:creationId xmlns:a16="http://schemas.microsoft.com/office/drawing/2014/main" id="{B363261A-4A40-83D5-3E3A-CC942D8FDD44}"/>
              </a:ext>
            </a:extLst>
          </p:cNvPr>
          <p:cNvGrpSpPr/>
          <p:nvPr/>
        </p:nvGrpSpPr>
        <p:grpSpPr>
          <a:xfrm>
            <a:off x="3984329" y="3480743"/>
            <a:ext cx="176289" cy="388791"/>
            <a:chOff x="982713" y="3010457"/>
            <a:chExt cx="139179" cy="306948"/>
          </a:xfrm>
        </p:grpSpPr>
        <p:cxnSp>
          <p:nvCxnSpPr>
            <p:cNvPr id="491" name="Straight Connector 490">
              <a:extLst>
                <a:ext uri="{FF2B5EF4-FFF2-40B4-BE49-F238E27FC236}">
                  <a16:creationId xmlns:a16="http://schemas.microsoft.com/office/drawing/2014/main" id="{FCC1A3A1-E1AC-DA6E-7D6C-CA1C90689272}"/>
                </a:ext>
              </a:extLst>
            </p:cNvPr>
            <p:cNvCxnSpPr>
              <a:cxnSpLocks/>
            </p:cNvCxnSpPr>
            <p:nvPr/>
          </p:nvCxnSpPr>
          <p:spPr>
            <a:xfrm flipH="1" flipV="1">
              <a:off x="1052303" y="3010457"/>
              <a:ext cx="1489" cy="242074"/>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492" name="Oval 491">
              <a:extLst>
                <a:ext uri="{FF2B5EF4-FFF2-40B4-BE49-F238E27FC236}">
                  <a16:creationId xmlns:a16="http://schemas.microsoft.com/office/drawing/2014/main" id="{18B21B98-F5E1-80D7-F442-9E1134730188}"/>
                </a:ext>
              </a:extLst>
            </p:cNvPr>
            <p:cNvSpPr/>
            <p:nvPr/>
          </p:nvSpPr>
          <p:spPr>
            <a:xfrm>
              <a:off x="982713" y="3178228"/>
              <a:ext cx="139179" cy="139177"/>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a:ea typeface="+mn-ea"/>
                <a:cs typeface="+mn-cs"/>
              </a:endParaRPr>
            </a:p>
          </p:txBody>
        </p:sp>
      </p:grpSp>
      <p:grpSp>
        <p:nvGrpSpPr>
          <p:cNvPr id="493" name="Group 492">
            <a:extLst>
              <a:ext uri="{FF2B5EF4-FFF2-40B4-BE49-F238E27FC236}">
                <a16:creationId xmlns:a16="http://schemas.microsoft.com/office/drawing/2014/main" id="{E7AE7B63-D2D1-2967-9A07-8E8A7EFF54B5}"/>
              </a:ext>
            </a:extLst>
          </p:cNvPr>
          <p:cNvGrpSpPr/>
          <p:nvPr/>
        </p:nvGrpSpPr>
        <p:grpSpPr>
          <a:xfrm>
            <a:off x="5300909" y="1729799"/>
            <a:ext cx="462728" cy="534342"/>
            <a:chOff x="7738482" y="1535374"/>
            <a:chExt cx="462728" cy="534342"/>
          </a:xfrm>
        </p:grpSpPr>
        <p:sp>
          <p:nvSpPr>
            <p:cNvPr id="494" name="Graphic 18">
              <a:extLst>
                <a:ext uri="{FF2B5EF4-FFF2-40B4-BE49-F238E27FC236}">
                  <a16:creationId xmlns:a16="http://schemas.microsoft.com/office/drawing/2014/main" id="{D52E5675-B6BE-A82B-F9D7-5686B44E1BEA}"/>
                </a:ext>
              </a:extLst>
            </p:cNvPr>
            <p:cNvSpPr/>
            <p:nvPr/>
          </p:nvSpPr>
          <p:spPr>
            <a:xfrm>
              <a:off x="7738482" y="1535374"/>
              <a:ext cx="462728" cy="534342"/>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pic>
          <p:nvPicPr>
            <p:cNvPr id="495" name="Graphic 494">
              <a:extLst>
                <a:ext uri="{FF2B5EF4-FFF2-40B4-BE49-F238E27FC236}">
                  <a16:creationId xmlns:a16="http://schemas.microsoft.com/office/drawing/2014/main" id="{58027DA6-3366-A879-D352-DAC645E7EF21}"/>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824634" y="1629754"/>
              <a:ext cx="340731" cy="340731"/>
            </a:xfrm>
            <a:prstGeom prst="rect">
              <a:avLst/>
            </a:prstGeom>
          </p:spPr>
        </p:pic>
      </p:grpSp>
      <p:grpSp>
        <p:nvGrpSpPr>
          <p:cNvPr id="496" name="Group 495">
            <a:extLst>
              <a:ext uri="{FF2B5EF4-FFF2-40B4-BE49-F238E27FC236}">
                <a16:creationId xmlns:a16="http://schemas.microsoft.com/office/drawing/2014/main" id="{CAA161FB-8B70-4837-2BEE-AB0B5B5B0890}"/>
              </a:ext>
            </a:extLst>
          </p:cNvPr>
          <p:cNvGrpSpPr/>
          <p:nvPr/>
        </p:nvGrpSpPr>
        <p:grpSpPr>
          <a:xfrm rot="10800000">
            <a:off x="5453291" y="2400085"/>
            <a:ext cx="176283" cy="674187"/>
            <a:chOff x="982713" y="2785138"/>
            <a:chExt cx="139179" cy="532267"/>
          </a:xfrm>
        </p:grpSpPr>
        <p:cxnSp>
          <p:nvCxnSpPr>
            <p:cNvPr id="497" name="Straight Connector 496">
              <a:extLst>
                <a:ext uri="{FF2B5EF4-FFF2-40B4-BE49-F238E27FC236}">
                  <a16:creationId xmlns:a16="http://schemas.microsoft.com/office/drawing/2014/main" id="{83A9282A-16B7-7F58-E343-DAE2D776B7CC}"/>
                </a:ext>
              </a:extLst>
            </p:cNvPr>
            <p:cNvCxnSpPr>
              <a:cxnSpLocks/>
            </p:cNvCxnSpPr>
            <p:nvPr/>
          </p:nvCxnSpPr>
          <p:spPr>
            <a:xfrm rot="10800000" flipH="1">
              <a:off x="1053793" y="2785138"/>
              <a:ext cx="4295" cy="478964"/>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498" name="Oval 497">
              <a:extLst>
                <a:ext uri="{FF2B5EF4-FFF2-40B4-BE49-F238E27FC236}">
                  <a16:creationId xmlns:a16="http://schemas.microsoft.com/office/drawing/2014/main" id="{4602DECA-FCC0-8616-13B7-04A097DF6133}"/>
                </a:ext>
              </a:extLst>
            </p:cNvPr>
            <p:cNvSpPr/>
            <p:nvPr/>
          </p:nvSpPr>
          <p:spPr>
            <a:xfrm>
              <a:off x="982713" y="3178228"/>
              <a:ext cx="139179" cy="139177"/>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a:ea typeface="+mn-ea"/>
                <a:cs typeface="+mn-cs"/>
              </a:endParaRPr>
            </a:p>
          </p:txBody>
        </p:sp>
      </p:grpSp>
      <p:sp>
        <p:nvSpPr>
          <p:cNvPr id="499" name="Rectangle 498">
            <a:extLst>
              <a:ext uri="{FF2B5EF4-FFF2-40B4-BE49-F238E27FC236}">
                <a16:creationId xmlns:a16="http://schemas.microsoft.com/office/drawing/2014/main" id="{D69B80D6-8DDF-CFC2-2F56-037CE5A79063}"/>
              </a:ext>
            </a:extLst>
          </p:cNvPr>
          <p:cNvSpPr/>
          <p:nvPr/>
        </p:nvSpPr>
        <p:spPr>
          <a:xfrm>
            <a:off x="5880366" y="1802020"/>
            <a:ext cx="1839864" cy="7802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Roboto"/>
                <a:ea typeface="+mn-ea"/>
                <a:cs typeface="+mn-cs"/>
              </a:rPr>
              <a:t>Feb 2024 </a:t>
            </a:r>
            <a:endParaRPr kumimoji="0" lang="en-GB" sz="1200" b="0" i="0" u="none" strike="noStrike" kern="1200" cap="none" spc="0" normalizeH="0" baseline="0" noProof="0">
              <a:ln>
                <a:noFill/>
              </a:ln>
              <a:solidFill>
                <a:srgbClr val="000000"/>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Roboto"/>
                <a:ea typeface="+mn-ea"/>
                <a:cs typeface="+mn-cs"/>
              </a:rPr>
              <a:t>New strategic propositions for Doors</a:t>
            </a:r>
          </a:p>
        </p:txBody>
      </p:sp>
      <p:sp>
        <p:nvSpPr>
          <p:cNvPr id="500" name="Rectangle 499">
            <a:extLst>
              <a:ext uri="{FF2B5EF4-FFF2-40B4-BE49-F238E27FC236}">
                <a16:creationId xmlns:a16="http://schemas.microsoft.com/office/drawing/2014/main" id="{E93097FC-818B-8A36-1697-E75292210B98}"/>
              </a:ext>
            </a:extLst>
          </p:cNvPr>
          <p:cNvSpPr/>
          <p:nvPr/>
        </p:nvSpPr>
        <p:spPr>
          <a:xfrm>
            <a:off x="11286319" y="1802020"/>
            <a:ext cx="891275" cy="5474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Roboto"/>
                <a:ea typeface="+mn-ea"/>
                <a:cs typeface="+mn-cs"/>
              </a:rPr>
              <a:t>Apr 2024</a:t>
            </a:r>
            <a:endParaRPr kumimoji="0" lang="en-GB" sz="1200" b="0" i="0" u="none" strike="noStrike" kern="1200" cap="none" spc="0" normalizeH="0" baseline="0" noProof="0">
              <a:ln>
                <a:noFill/>
              </a:ln>
              <a:solidFill>
                <a:srgbClr val="000000"/>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Roboto"/>
                <a:ea typeface="+mn-ea"/>
                <a:cs typeface="+mn-cs"/>
              </a:rPr>
              <a:t>Fixings &amp; Ironmongery</a:t>
            </a:r>
          </a:p>
        </p:txBody>
      </p:sp>
      <p:grpSp>
        <p:nvGrpSpPr>
          <p:cNvPr id="501" name="Group 500">
            <a:extLst>
              <a:ext uri="{FF2B5EF4-FFF2-40B4-BE49-F238E27FC236}">
                <a16:creationId xmlns:a16="http://schemas.microsoft.com/office/drawing/2014/main" id="{473D436B-7098-29E6-3FAF-FF3D18D28536}"/>
              </a:ext>
            </a:extLst>
          </p:cNvPr>
          <p:cNvGrpSpPr/>
          <p:nvPr/>
        </p:nvGrpSpPr>
        <p:grpSpPr>
          <a:xfrm>
            <a:off x="10692227" y="1729799"/>
            <a:ext cx="462728" cy="534342"/>
            <a:chOff x="7738482" y="1535374"/>
            <a:chExt cx="462728" cy="534342"/>
          </a:xfrm>
        </p:grpSpPr>
        <p:sp>
          <p:nvSpPr>
            <p:cNvPr id="502" name="Graphic 18">
              <a:extLst>
                <a:ext uri="{FF2B5EF4-FFF2-40B4-BE49-F238E27FC236}">
                  <a16:creationId xmlns:a16="http://schemas.microsoft.com/office/drawing/2014/main" id="{1B7FF3A2-06D9-2A4B-0BF2-EC74D44D9EE8}"/>
                </a:ext>
              </a:extLst>
            </p:cNvPr>
            <p:cNvSpPr/>
            <p:nvPr/>
          </p:nvSpPr>
          <p:spPr>
            <a:xfrm>
              <a:off x="7738482" y="1535374"/>
              <a:ext cx="462728" cy="534342"/>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pic>
          <p:nvPicPr>
            <p:cNvPr id="503" name="Graphic 502">
              <a:extLst>
                <a:ext uri="{FF2B5EF4-FFF2-40B4-BE49-F238E27FC236}">
                  <a16:creationId xmlns:a16="http://schemas.microsoft.com/office/drawing/2014/main" id="{11EBB81B-0E20-409D-7ED7-2882E8553B33}"/>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824634" y="1629754"/>
              <a:ext cx="340731" cy="340731"/>
            </a:xfrm>
            <a:prstGeom prst="rect">
              <a:avLst/>
            </a:prstGeom>
          </p:spPr>
        </p:pic>
      </p:grpSp>
      <p:grpSp>
        <p:nvGrpSpPr>
          <p:cNvPr id="504" name="Group 503">
            <a:extLst>
              <a:ext uri="{FF2B5EF4-FFF2-40B4-BE49-F238E27FC236}">
                <a16:creationId xmlns:a16="http://schemas.microsoft.com/office/drawing/2014/main" id="{BD69D42E-6755-5A1D-F478-6DD00DF0766E}"/>
              </a:ext>
            </a:extLst>
          </p:cNvPr>
          <p:cNvGrpSpPr/>
          <p:nvPr/>
        </p:nvGrpSpPr>
        <p:grpSpPr>
          <a:xfrm rot="10800000">
            <a:off x="11648669" y="2400085"/>
            <a:ext cx="176289" cy="674187"/>
            <a:chOff x="982713" y="2785138"/>
            <a:chExt cx="139179" cy="532267"/>
          </a:xfrm>
        </p:grpSpPr>
        <p:cxnSp>
          <p:nvCxnSpPr>
            <p:cNvPr id="505" name="Straight Connector 504">
              <a:extLst>
                <a:ext uri="{FF2B5EF4-FFF2-40B4-BE49-F238E27FC236}">
                  <a16:creationId xmlns:a16="http://schemas.microsoft.com/office/drawing/2014/main" id="{167B46BD-23CE-9311-B117-F167B3C8D54A}"/>
                </a:ext>
              </a:extLst>
            </p:cNvPr>
            <p:cNvCxnSpPr>
              <a:cxnSpLocks/>
            </p:cNvCxnSpPr>
            <p:nvPr/>
          </p:nvCxnSpPr>
          <p:spPr>
            <a:xfrm rot="10800000" flipH="1">
              <a:off x="1053793" y="2785138"/>
              <a:ext cx="4295" cy="478964"/>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506" name="Oval 505">
              <a:extLst>
                <a:ext uri="{FF2B5EF4-FFF2-40B4-BE49-F238E27FC236}">
                  <a16:creationId xmlns:a16="http://schemas.microsoft.com/office/drawing/2014/main" id="{0828629E-8A79-B625-5F1A-877F5538D116}"/>
                </a:ext>
              </a:extLst>
            </p:cNvPr>
            <p:cNvSpPr/>
            <p:nvPr/>
          </p:nvSpPr>
          <p:spPr>
            <a:xfrm>
              <a:off x="982713" y="3178228"/>
              <a:ext cx="139179" cy="139177"/>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a:ea typeface="+mn-ea"/>
                <a:cs typeface="+mn-cs"/>
              </a:endParaRPr>
            </a:p>
          </p:txBody>
        </p:sp>
      </p:grpSp>
    </p:spTree>
    <p:extLst>
      <p:ext uri="{BB962C8B-B14F-4D97-AF65-F5344CB8AC3E}">
        <p14:creationId xmlns:p14="http://schemas.microsoft.com/office/powerpoint/2010/main" val="1729847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8" name="Group 207">
            <a:extLst>
              <a:ext uri="{FF2B5EF4-FFF2-40B4-BE49-F238E27FC236}">
                <a16:creationId xmlns:a16="http://schemas.microsoft.com/office/drawing/2014/main" id="{40EE5C63-40A0-C131-003C-66E3CD6D1547}"/>
              </a:ext>
            </a:extLst>
          </p:cNvPr>
          <p:cNvGrpSpPr/>
          <p:nvPr/>
        </p:nvGrpSpPr>
        <p:grpSpPr>
          <a:xfrm>
            <a:off x="7068017" y="3068281"/>
            <a:ext cx="176289" cy="1881564"/>
            <a:chOff x="982713" y="2861924"/>
            <a:chExt cx="139179" cy="1485483"/>
          </a:xfrm>
        </p:grpSpPr>
        <p:cxnSp>
          <p:nvCxnSpPr>
            <p:cNvPr id="209" name="Straight Connector 208">
              <a:extLst>
                <a:ext uri="{FF2B5EF4-FFF2-40B4-BE49-F238E27FC236}">
                  <a16:creationId xmlns:a16="http://schemas.microsoft.com/office/drawing/2014/main" id="{6E01CDBC-1A45-D2B1-91EE-69CBC7E89CF8}"/>
                </a:ext>
              </a:extLst>
            </p:cNvPr>
            <p:cNvCxnSpPr>
              <a:cxnSpLocks/>
              <a:stCxn id="210" idx="0"/>
            </p:cNvCxnSpPr>
            <p:nvPr/>
          </p:nvCxnSpPr>
          <p:spPr>
            <a:xfrm flipV="1">
              <a:off x="1052303" y="2861924"/>
              <a:ext cx="0" cy="1346306"/>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10" name="Oval 209">
              <a:extLst>
                <a:ext uri="{FF2B5EF4-FFF2-40B4-BE49-F238E27FC236}">
                  <a16:creationId xmlns:a16="http://schemas.microsoft.com/office/drawing/2014/main" id="{FFC737E9-34C5-D2E3-53BC-E39F05CBF789}"/>
                </a:ext>
              </a:extLst>
            </p:cNvPr>
            <p:cNvSpPr/>
            <p:nvPr/>
          </p:nvSpPr>
          <p:spPr>
            <a:xfrm>
              <a:off x="982713" y="4208230"/>
              <a:ext cx="139179" cy="139177"/>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a:ea typeface="+mn-ea"/>
                <a:cs typeface="+mn-cs"/>
              </a:endParaRPr>
            </a:p>
          </p:txBody>
        </p:sp>
      </p:grpSp>
      <p:sp>
        <p:nvSpPr>
          <p:cNvPr id="211" name="Rectangle 210">
            <a:extLst>
              <a:ext uri="{FF2B5EF4-FFF2-40B4-BE49-F238E27FC236}">
                <a16:creationId xmlns:a16="http://schemas.microsoft.com/office/drawing/2014/main" id="{7CEF389A-A923-0B22-3051-6318592CE82C}"/>
              </a:ext>
            </a:extLst>
          </p:cNvPr>
          <p:cNvSpPr/>
          <p:nvPr/>
        </p:nvSpPr>
        <p:spPr>
          <a:xfrm>
            <a:off x="5581650" y="3305440"/>
            <a:ext cx="5671122" cy="1304435"/>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Roboto"/>
              <a:ea typeface="+mn-ea"/>
              <a:cs typeface="+mn-cs"/>
            </a:endParaRPr>
          </a:p>
        </p:txBody>
      </p:sp>
      <p:graphicFrame>
        <p:nvGraphicFramePr>
          <p:cNvPr id="28" name="think-cell data - do not delete" hidden="1">
            <a:extLst>
              <a:ext uri="{FF2B5EF4-FFF2-40B4-BE49-F238E27FC236}">
                <a16:creationId xmlns:a16="http://schemas.microsoft.com/office/drawing/2014/main" id="{02D1F26A-B012-9A07-C213-72ACFF2FE5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8" name="think-cell data - do not delete" hidden="1">
                        <a:extLst>
                          <a:ext uri="{FF2B5EF4-FFF2-40B4-BE49-F238E27FC236}">
                            <a16:creationId xmlns:a16="http://schemas.microsoft.com/office/drawing/2014/main" id="{02D1F26A-B012-9A07-C213-72ACFF2FE5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3" name="Title 8">
            <a:extLst>
              <a:ext uri="{FF2B5EF4-FFF2-40B4-BE49-F238E27FC236}">
                <a16:creationId xmlns:a16="http://schemas.microsoft.com/office/drawing/2014/main" id="{0174D30B-20D6-BAD7-2D82-75099C24576E}"/>
              </a:ext>
            </a:extLst>
          </p:cNvPr>
          <p:cNvSpPr>
            <a:spLocks noGrp="1"/>
          </p:cNvSpPr>
          <p:nvPr>
            <p:ph type="title"/>
          </p:nvPr>
        </p:nvSpPr>
        <p:spPr>
          <a:xfrm>
            <a:off x="514801" y="333375"/>
            <a:ext cx="11131100" cy="554400"/>
          </a:xfrm>
        </p:spPr>
        <p:txBody>
          <a:bodyPr>
            <a:normAutofit fontScale="90000"/>
          </a:bodyPr>
          <a:lstStyle/>
          <a:p>
            <a:r>
              <a:rPr lang="cy-GB" sz="3600" b="1" err="1">
                <a:solidFill>
                  <a:srgbClr val="002060"/>
                </a:solidFill>
                <a:latin typeface="Roboto Condensed"/>
                <a:ea typeface="Roboto Condensed"/>
                <a:cs typeface="Roboto Condensed"/>
              </a:rPr>
              <a:t>Our</a:t>
            </a:r>
            <a:r>
              <a:rPr lang="cy-GB" sz="3600" b="1">
                <a:solidFill>
                  <a:srgbClr val="002060"/>
                </a:solidFill>
                <a:latin typeface="Roboto Condensed"/>
                <a:ea typeface="Roboto Condensed"/>
                <a:cs typeface="Roboto Condensed"/>
              </a:rPr>
              <a:t> plan to</a:t>
            </a:r>
            <a:r>
              <a:rPr lang="cy-GB" sz="3600" b="1">
                <a:solidFill>
                  <a:schemeClr val="accent2"/>
                </a:solidFill>
                <a:latin typeface="Roboto Condensed"/>
                <a:ea typeface="Roboto Condensed"/>
                <a:cs typeface="Roboto Condensed"/>
              </a:rPr>
              <a:t> 2027 </a:t>
            </a:r>
            <a:r>
              <a:rPr lang="cy-GB" sz="3600" b="1">
                <a:solidFill>
                  <a:srgbClr val="002060"/>
                </a:solidFill>
                <a:latin typeface="Roboto Condensed"/>
                <a:ea typeface="Roboto Condensed"/>
                <a:cs typeface="Roboto Condensed"/>
              </a:rPr>
              <a:t>  </a:t>
            </a:r>
            <a:r>
              <a:rPr lang="cy-GB" sz="3600">
                <a:solidFill>
                  <a:schemeClr val="accent3"/>
                </a:solidFill>
                <a:latin typeface="Roboto Condensed"/>
                <a:ea typeface="Roboto Condensed"/>
                <a:cs typeface="Roboto Condensed"/>
              </a:rPr>
              <a:t>	</a:t>
            </a:r>
            <a:r>
              <a:rPr lang="cy-GB" sz="3600">
                <a:latin typeface="Roboto Condensed"/>
                <a:ea typeface="Roboto Condensed"/>
                <a:cs typeface="Roboto Condensed"/>
              </a:rPr>
              <a:t>							</a:t>
            </a:r>
            <a:endParaRPr lang="en-GB" sz="3600">
              <a:latin typeface="Roboto Condensed"/>
              <a:ea typeface="Roboto Condensed"/>
              <a:cs typeface="Roboto Condensed"/>
            </a:endParaRPr>
          </a:p>
        </p:txBody>
      </p:sp>
      <p:sp>
        <p:nvSpPr>
          <p:cNvPr id="71" name="Rectangle 70">
            <a:extLst>
              <a:ext uri="{FF2B5EF4-FFF2-40B4-BE49-F238E27FC236}">
                <a16:creationId xmlns:a16="http://schemas.microsoft.com/office/drawing/2014/main" id="{2299A82C-83F5-8CB0-6E0B-B2BE13CF7C72}"/>
              </a:ext>
            </a:extLst>
          </p:cNvPr>
          <p:cNvSpPr/>
          <p:nvPr/>
        </p:nvSpPr>
        <p:spPr>
          <a:xfrm>
            <a:off x="10471185" y="4000630"/>
            <a:ext cx="717692" cy="551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002060"/>
              </a:solidFill>
              <a:effectLst/>
              <a:uLnTx/>
              <a:uFillTx/>
              <a:latin typeface="Roboto Condense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2060"/>
                </a:solidFill>
                <a:effectLst/>
                <a:uLnTx/>
                <a:uFillTx/>
                <a:latin typeface="Roboto Condensed"/>
                <a:ea typeface="+mn-ea"/>
                <a:cs typeface="+mn-cs"/>
              </a:rPr>
              <a:t>TOOL HIRE GROWTH</a:t>
            </a:r>
          </a:p>
        </p:txBody>
      </p:sp>
      <p:sp>
        <p:nvSpPr>
          <p:cNvPr id="77" name="Rectangle 76">
            <a:extLst>
              <a:ext uri="{FF2B5EF4-FFF2-40B4-BE49-F238E27FC236}">
                <a16:creationId xmlns:a16="http://schemas.microsoft.com/office/drawing/2014/main" id="{2ECC73D9-5C62-AC61-DFE0-9B33374B2233}"/>
              </a:ext>
            </a:extLst>
          </p:cNvPr>
          <p:cNvSpPr/>
          <p:nvPr/>
        </p:nvSpPr>
        <p:spPr>
          <a:xfrm>
            <a:off x="7306392" y="3473725"/>
            <a:ext cx="1031281" cy="9676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Roboto"/>
                <a:ea typeface="+mn-ea"/>
                <a:cs typeface="+mn-cs"/>
              </a:rPr>
              <a:t>Sep 2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Roboto"/>
                <a:ea typeface="+mn-ea"/>
                <a:cs typeface="+mn-cs"/>
              </a:rPr>
              <a:t>Offline pricing guidance for own hire and re-hire</a:t>
            </a:r>
          </a:p>
        </p:txBody>
      </p:sp>
      <p:sp>
        <p:nvSpPr>
          <p:cNvPr id="78" name="Rectangle 77">
            <a:extLst>
              <a:ext uri="{FF2B5EF4-FFF2-40B4-BE49-F238E27FC236}">
                <a16:creationId xmlns:a16="http://schemas.microsoft.com/office/drawing/2014/main" id="{1AFBA69A-C7EF-BDF3-C248-DD1DD4474654}"/>
              </a:ext>
            </a:extLst>
          </p:cNvPr>
          <p:cNvSpPr/>
          <p:nvPr/>
        </p:nvSpPr>
        <p:spPr>
          <a:xfrm>
            <a:off x="5703262" y="3473725"/>
            <a:ext cx="1233156" cy="9676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Roboto"/>
                <a:ea typeface="+mn-ea"/>
                <a:cs typeface="+mn-cs"/>
              </a:rPr>
              <a:t>Mar-Sep 2024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Roboto"/>
                <a:ea typeface="+mn-ea"/>
                <a:cs typeface="+mn-cs"/>
              </a:rPr>
              <a:t>Improved ranging including Autumn &amp; Winter and Landscaping</a:t>
            </a:r>
          </a:p>
        </p:txBody>
      </p:sp>
      <p:sp>
        <p:nvSpPr>
          <p:cNvPr id="79" name="Rectangle 78">
            <a:extLst>
              <a:ext uri="{FF2B5EF4-FFF2-40B4-BE49-F238E27FC236}">
                <a16:creationId xmlns:a16="http://schemas.microsoft.com/office/drawing/2014/main" id="{FFE5C6D3-B57F-C921-F9BF-0864D76B310E}"/>
              </a:ext>
            </a:extLst>
          </p:cNvPr>
          <p:cNvSpPr/>
          <p:nvPr/>
        </p:nvSpPr>
        <p:spPr>
          <a:xfrm>
            <a:off x="8379524" y="3473725"/>
            <a:ext cx="732801" cy="9676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Roboto"/>
                <a:ea typeface="+mn-ea"/>
                <a:cs typeface="+mn-cs"/>
              </a:rPr>
              <a:t>Mar 2025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Roboto"/>
                <a:ea typeface="+mn-ea"/>
                <a:cs typeface="+mn-cs"/>
              </a:rPr>
              <a:t>Five new Tool Hire hub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Roboto"/>
              <a:ea typeface="+mn-ea"/>
              <a:cs typeface="+mn-cs"/>
            </a:endParaRPr>
          </a:p>
        </p:txBody>
      </p:sp>
      <p:sp>
        <p:nvSpPr>
          <p:cNvPr id="84" name="Rectangle 83">
            <a:extLst>
              <a:ext uri="{FF2B5EF4-FFF2-40B4-BE49-F238E27FC236}">
                <a16:creationId xmlns:a16="http://schemas.microsoft.com/office/drawing/2014/main" id="{5FE63B61-8C76-FE6F-4D07-040F555A85AF}"/>
              </a:ext>
            </a:extLst>
          </p:cNvPr>
          <p:cNvSpPr/>
          <p:nvPr/>
        </p:nvSpPr>
        <p:spPr>
          <a:xfrm>
            <a:off x="7436377" y="5363706"/>
            <a:ext cx="926290" cy="551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002060"/>
              </a:solidFill>
              <a:effectLst/>
              <a:uLnTx/>
              <a:uFillTx/>
              <a:latin typeface="Roboto Condense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2060"/>
                </a:solidFill>
                <a:effectLst/>
                <a:uLnTx/>
                <a:uFillTx/>
                <a:latin typeface="Roboto Condensed"/>
                <a:ea typeface="+mn-ea"/>
                <a:cs typeface="+mn-cs"/>
              </a:rPr>
              <a:t>TRUSTED DELIVERIES</a:t>
            </a:r>
          </a:p>
        </p:txBody>
      </p:sp>
      <p:sp>
        <p:nvSpPr>
          <p:cNvPr id="93" name="Rectangle 92">
            <a:extLst>
              <a:ext uri="{FF2B5EF4-FFF2-40B4-BE49-F238E27FC236}">
                <a16:creationId xmlns:a16="http://schemas.microsoft.com/office/drawing/2014/main" id="{C241F8D5-3E79-8547-6062-C60848F31555}"/>
              </a:ext>
            </a:extLst>
          </p:cNvPr>
          <p:cNvSpPr/>
          <p:nvPr/>
        </p:nvSpPr>
        <p:spPr>
          <a:xfrm>
            <a:off x="8216130" y="5000847"/>
            <a:ext cx="1164995" cy="9676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Roboto"/>
                <a:ea typeface="+mn-ea"/>
                <a:cs typeface="+mn-cs"/>
              </a:rPr>
              <a:t>Nov 2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Roboto"/>
                <a:ea typeface="+mn-ea"/>
                <a:cs typeface="+mn-cs"/>
              </a:rPr>
              <a:t>Rollout of new devices and delivery tracking system</a:t>
            </a:r>
          </a:p>
        </p:txBody>
      </p:sp>
      <p:sp>
        <p:nvSpPr>
          <p:cNvPr id="168" name="Rectangle 167">
            <a:extLst>
              <a:ext uri="{FF2B5EF4-FFF2-40B4-BE49-F238E27FC236}">
                <a16:creationId xmlns:a16="http://schemas.microsoft.com/office/drawing/2014/main" id="{AF1149A3-C19C-0A7A-2DD8-AB38C297C4C6}"/>
              </a:ext>
            </a:extLst>
          </p:cNvPr>
          <p:cNvSpPr/>
          <p:nvPr/>
        </p:nvSpPr>
        <p:spPr>
          <a:xfrm>
            <a:off x="8156694" y="1681155"/>
            <a:ext cx="641934" cy="3943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2060"/>
                </a:solidFill>
                <a:effectLst/>
                <a:uLnTx/>
                <a:uFillTx/>
                <a:latin typeface="Roboto Condensed"/>
                <a:ea typeface="+mn-ea"/>
                <a:cs typeface="+mn-cs"/>
              </a:rPr>
              <a:t>ALWAYS IN STOCK</a:t>
            </a:r>
          </a:p>
        </p:txBody>
      </p:sp>
      <p:sp>
        <p:nvSpPr>
          <p:cNvPr id="169" name="Rectangle 168">
            <a:extLst>
              <a:ext uri="{FF2B5EF4-FFF2-40B4-BE49-F238E27FC236}">
                <a16:creationId xmlns:a16="http://schemas.microsoft.com/office/drawing/2014/main" id="{7AD8CCCA-C8DD-7E9D-EE36-196E0D271D8D}"/>
              </a:ext>
            </a:extLst>
          </p:cNvPr>
          <p:cNvSpPr/>
          <p:nvPr/>
        </p:nvSpPr>
        <p:spPr>
          <a:xfrm>
            <a:off x="8962391" y="1082966"/>
            <a:ext cx="999501" cy="9676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Roboto"/>
                <a:ea typeface="+mn-ea"/>
                <a:cs typeface="+mn-cs"/>
              </a:rPr>
              <a:t>Apr 2025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Roboto"/>
                <a:ea typeface="+mn-ea"/>
                <a:cs typeface="+mn-cs"/>
              </a:rPr>
              <a:t>Automated forecasting system roll out completed</a:t>
            </a:r>
          </a:p>
        </p:txBody>
      </p:sp>
      <p:sp>
        <p:nvSpPr>
          <p:cNvPr id="171" name="Rectangle 170">
            <a:extLst>
              <a:ext uri="{FF2B5EF4-FFF2-40B4-BE49-F238E27FC236}">
                <a16:creationId xmlns:a16="http://schemas.microsoft.com/office/drawing/2014/main" id="{7AF34718-8F08-E1DC-50F4-72BDEA63340A}"/>
              </a:ext>
            </a:extLst>
          </p:cNvPr>
          <p:cNvSpPr/>
          <p:nvPr/>
        </p:nvSpPr>
        <p:spPr>
          <a:xfrm>
            <a:off x="10044571" y="1082966"/>
            <a:ext cx="999505" cy="9676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Roboto"/>
                <a:ea typeface="+mn-ea"/>
                <a:cs typeface="+mn-cs"/>
              </a:rPr>
              <a:t>Ongo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Roboto"/>
                <a:ea typeface="+mn-ea"/>
                <a:cs typeface="+mn-cs"/>
              </a:rPr>
              <a:t>Distribution Centre service restructur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Roboto"/>
              <a:ea typeface="+mn-ea"/>
              <a:cs typeface="+mn-cs"/>
            </a:endParaRPr>
          </a:p>
        </p:txBody>
      </p:sp>
      <p:sp>
        <p:nvSpPr>
          <p:cNvPr id="97" name="Rectangle 96">
            <a:extLst>
              <a:ext uri="{FF2B5EF4-FFF2-40B4-BE49-F238E27FC236}">
                <a16:creationId xmlns:a16="http://schemas.microsoft.com/office/drawing/2014/main" id="{5BFB82AD-2EB2-3D3D-5CE6-12C322D165EC}"/>
              </a:ext>
            </a:extLst>
          </p:cNvPr>
          <p:cNvSpPr/>
          <p:nvPr/>
        </p:nvSpPr>
        <p:spPr>
          <a:xfrm>
            <a:off x="229885" y="1744655"/>
            <a:ext cx="879177" cy="4942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2060"/>
                </a:solidFill>
                <a:effectLst/>
                <a:uLnTx/>
                <a:uFillTx/>
                <a:latin typeface="Roboto Condensed"/>
                <a:ea typeface="+mn-ea"/>
                <a:cs typeface="+mn-cs"/>
              </a:rPr>
              <a:t>BETTER BRANCHES</a:t>
            </a:r>
          </a:p>
        </p:txBody>
      </p:sp>
      <p:sp>
        <p:nvSpPr>
          <p:cNvPr id="101" name="Rectangle 100">
            <a:extLst>
              <a:ext uri="{FF2B5EF4-FFF2-40B4-BE49-F238E27FC236}">
                <a16:creationId xmlns:a16="http://schemas.microsoft.com/office/drawing/2014/main" id="{15BD3BF2-9244-9C2B-01EB-C40E99BD708C}"/>
              </a:ext>
            </a:extLst>
          </p:cNvPr>
          <p:cNvSpPr/>
          <p:nvPr/>
        </p:nvSpPr>
        <p:spPr>
          <a:xfrm>
            <a:off x="1170657" y="1082966"/>
            <a:ext cx="1270550" cy="9387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Roboto"/>
                <a:ea typeface="+mn-ea"/>
                <a:cs typeface="+mn-cs"/>
              </a:rPr>
              <a:t>Ongo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Roboto"/>
                <a:ea typeface="+mn-ea"/>
                <a:cs typeface="+mn-cs"/>
              </a:rPr>
              <a:t>Investment in branches and network optimisation</a:t>
            </a:r>
          </a:p>
        </p:txBody>
      </p:sp>
      <p:sp>
        <p:nvSpPr>
          <p:cNvPr id="112" name="Rectangle 111">
            <a:extLst>
              <a:ext uri="{FF2B5EF4-FFF2-40B4-BE49-F238E27FC236}">
                <a16:creationId xmlns:a16="http://schemas.microsoft.com/office/drawing/2014/main" id="{7DF14917-1848-7A77-76C4-E84925BD19E8}"/>
              </a:ext>
            </a:extLst>
          </p:cNvPr>
          <p:cNvSpPr/>
          <p:nvPr/>
        </p:nvSpPr>
        <p:spPr>
          <a:xfrm>
            <a:off x="5587471" y="5537542"/>
            <a:ext cx="651207" cy="551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2060"/>
                </a:solidFill>
                <a:effectLst/>
                <a:uLnTx/>
                <a:uFillTx/>
                <a:latin typeface="Roboto Condensed"/>
                <a:ea typeface="+mn-ea"/>
                <a:cs typeface="+mn-cs"/>
              </a:rPr>
              <a:t>BRANCH OF THE FUTURE</a:t>
            </a:r>
          </a:p>
        </p:txBody>
      </p:sp>
      <p:sp>
        <p:nvSpPr>
          <p:cNvPr id="113" name="Rectangle 112">
            <a:extLst>
              <a:ext uri="{FF2B5EF4-FFF2-40B4-BE49-F238E27FC236}">
                <a16:creationId xmlns:a16="http://schemas.microsoft.com/office/drawing/2014/main" id="{D46E6010-3763-0DE7-BBCB-13F63021C5C1}"/>
              </a:ext>
            </a:extLst>
          </p:cNvPr>
          <p:cNvSpPr/>
          <p:nvPr/>
        </p:nvSpPr>
        <p:spPr>
          <a:xfrm>
            <a:off x="6283482" y="5000847"/>
            <a:ext cx="1017808" cy="9676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Roboto"/>
                <a:ea typeface="Roboto"/>
                <a:cs typeface="Roboto"/>
              </a:rPr>
              <a:t>Aug </a:t>
            </a:r>
            <a:r>
              <a:rPr kumimoji="0" lang="en-GB" sz="1200" b="1" i="0" u="none" strike="noStrike" kern="1200" cap="none" spc="0" normalizeH="0" baseline="0" noProof="0">
                <a:ln>
                  <a:noFill/>
                </a:ln>
                <a:solidFill>
                  <a:srgbClr val="000000"/>
                </a:solidFill>
                <a:effectLst/>
                <a:uLnTx/>
                <a:uFillTx/>
                <a:latin typeface="Roboto"/>
                <a:ea typeface="+mn-ea"/>
                <a:cs typeface="+mn-cs"/>
              </a:rPr>
              <a:t>2024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Roboto"/>
                <a:ea typeface="+mn-ea"/>
                <a:cs typeface="+mn-cs"/>
              </a:rPr>
              <a:t>First branch </a:t>
            </a:r>
            <a:br>
              <a:rPr kumimoji="0" lang="en-GB" sz="1200" b="0" i="0" u="none" strike="noStrike" kern="1200" cap="none" spc="0" normalizeH="0" baseline="0" noProof="0">
                <a:ln>
                  <a:noFill/>
                </a:ln>
                <a:solidFill>
                  <a:srgbClr val="000000"/>
                </a:solidFill>
                <a:effectLst/>
                <a:uLnTx/>
                <a:uFillTx/>
                <a:latin typeface="Roboto"/>
                <a:ea typeface="+mn-ea"/>
                <a:cs typeface="+mn-cs"/>
              </a:rPr>
            </a:br>
            <a:r>
              <a:rPr kumimoji="0" lang="en-GB" sz="1200" b="0" i="0" u="none" strike="noStrike" kern="1200" cap="none" spc="0" normalizeH="0" baseline="0" noProof="0">
                <a:ln>
                  <a:noFill/>
                </a:ln>
                <a:solidFill>
                  <a:srgbClr val="000000"/>
                </a:solidFill>
                <a:effectLst/>
                <a:uLnTx/>
                <a:uFillTx/>
                <a:latin typeface="Roboto"/>
                <a:ea typeface="+mn-ea"/>
                <a:cs typeface="+mn-cs"/>
              </a:rPr>
              <a:t>of the future opens with more to come</a:t>
            </a:r>
          </a:p>
        </p:txBody>
      </p:sp>
      <p:sp>
        <p:nvSpPr>
          <p:cNvPr id="161" name="Rectangle 160">
            <a:extLst>
              <a:ext uri="{FF2B5EF4-FFF2-40B4-BE49-F238E27FC236}">
                <a16:creationId xmlns:a16="http://schemas.microsoft.com/office/drawing/2014/main" id="{9427D3D4-8B5D-BE01-CB91-D58C0C82E910}"/>
              </a:ext>
            </a:extLst>
          </p:cNvPr>
          <p:cNvSpPr/>
          <p:nvPr/>
        </p:nvSpPr>
        <p:spPr>
          <a:xfrm>
            <a:off x="5431746" y="1681155"/>
            <a:ext cx="773842" cy="551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2060"/>
                </a:solidFill>
                <a:effectLst/>
                <a:uLnTx/>
                <a:uFillTx/>
                <a:latin typeface="Roboto Condensed"/>
                <a:ea typeface="+mn-ea"/>
                <a:cs typeface="+mn-cs"/>
              </a:rPr>
              <a:t>BRANCH TEAMS AT THE HEART</a:t>
            </a:r>
          </a:p>
        </p:txBody>
      </p:sp>
      <p:sp>
        <p:nvSpPr>
          <p:cNvPr id="162" name="Rectangle 161">
            <a:extLst>
              <a:ext uri="{FF2B5EF4-FFF2-40B4-BE49-F238E27FC236}">
                <a16:creationId xmlns:a16="http://schemas.microsoft.com/office/drawing/2014/main" id="{D5A5397F-37A8-D317-FC8A-C08B691FA2A7}"/>
              </a:ext>
            </a:extLst>
          </p:cNvPr>
          <p:cNvSpPr/>
          <p:nvPr/>
        </p:nvSpPr>
        <p:spPr>
          <a:xfrm>
            <a:off x="5366891" y="1318686"/>
            <a:ext cx="1121006" cy="9676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Roboto"/>
              <a:ea typeface="+mn-ea"/>
              <a:cs typeface="+mn-cs"/>
            </a:endParaRPr>
          </a:p>
        </p:txBody>
      </p:sp>
      <p:sp>
        <p:nvSpPr>
          <p:cNvPr id="163" name="Rectangle 162">
            <a:extLst>
              <a:ext uri="{FF2B5EF4-FFF2-40B4-BE49-F238E27FC236}">
                <a16:creationId xmlns:a16="http://schemas.microsoft.com/office/drawing/2014/main" id="{5397F029-D57E-5C32-D97E-60520F2D7F9F}"/>
              </a:ext>
            </a:extLst>
          </p:cNvPr>
          <p:cNvSpPr/>
          <p:nvPr/>
        </p:nvSpPr>
        <p:spPr>
          <a:xfrm>
            <a:off x="6256562" y="1082966"/>
            <a:ext cx="1348121" cy="9676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Roboto"/>
                <a:ea typeface="+mn-ea"/>
                <a:cs typeface="+mn-cs"/>
              </a:rPr>
              <a:t>Jul 2024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Roboto"/>
                <a:ea typeface="+mn-ea"/>
                <a:cs typeface="+mn-cs"/>
              </a:rPr>
              <a:t>Launch of CRM system to support branch autonomy and accountability</a:t>
            </a:r>
            <a:endParaRPr kumimoji="0" lang="en-GB" sz="1200" b="0" i="0" u="none" strike="noStrike" kern="1200" cap="none" spc="0" normalizeH="0" baseline="0" noProof="0">
              <a:ln>
                <a:noFill/>
              </a:ln>
              <a:solidFill>
                <a:srgbClr val="000000"/>
              </a:solidFill>
              <a:effectLst/>
              <a:uLnTx/>
              <a:uFillTx/>
              <a:latin typeface="Roboto"/>
              <a:ea typeface="Roboto"/>
              <a:cs typeface="Roboto"/>
            </a:endParaRPr>
          </a:p>
        </p:txBody>
      </p:sp>
      <p:sp>
        <p:nvSpPr>
          <p:cNvPr id="165" name="Rectangle 164">
            <a:extLst>
              <a:ext uri="{FF2B5EF4-FFF2-40B4-BE49-F238E27FC236}">
                <a16:creationId xmlns:a16="http://schemas.microsoft.com/office/drawing/2014/main" id="{D5B3F6DC-E239-4565-9377-26CE67AF0E8E}"/>
              </a:ext>
            </a:extLst>
          </p:cNvPr>
          <p:cNvSpPr/>
          <p:nvPr/>
        </p:nvSpPr>
        <p:spPr>
          <a:xfrm>
            <a:off x="4140003" y="1318686"/>
            <a:ext cx="1168874" cy="9676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Roboto"/>
              <a:ea typeface="+mn-ea"/>
              <a:cs typeface="+mn-cs"/>
            </a:endParaRPr>
          </a:p>
        </p:txBody>
      </p:sp>
      <p:sp>
        <p:nvSpPr>
          <p:cNvPr id="120" name="Rectangle 119">
            <a:extLst>
              <a:ext uri="{FF2B5EF4-FFF2-40B4-BE49-F238E27FC236}">
                <a16:creationId xmlns:a16="http://schemas.microsoft.com/office/drawing/2014/main" id="{9BC7C643-66E4-1F20-41F5-A8BD50E9C540}"/>
              </a:ext>
            </a:extLst>
          </p:cNvPr>
          <p:cNvSpPr/>
          <p:nvPr/>
        </p:nvSpPr>
        <p:spPr>
          <a:xfrm>
            <a:off x="2731963" y="5537542"/>
            <a:ext cx="792134" cy="551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2060"/>
                </a:solidFill>
                <a:effectLst/>
                <a:uLnTx/>
                <a:uFillTx/>
                <a:latin typeface="Roboto Condensed"/>
                <a:ea typeface="+mn-ea"/>
                <a:cs typeface="+mn-cs"/>
              </a:rPr>
              <a:t>COMPLETE RANGE FOR THE JOB</a:t>
            </a:r>
          </a:p>
        </p:txBody>
      </p:sp>
      <p:sp>
        <p:nvSpPr>
          <p:cNvPr id="126" name="Rectangle 125">
            <a:extLst>
              <a:ext uri="{FF2B5EF4-FFF2-40B4-BE49-F238E27FC236}">
                <a16:creationId xmlns:a16="http://schemas.microsoft.com/office/drawing/2014/main" id="{25E9B97B-BD50-E9EA-FD1C-208A7D1FB914}"/>
              </a:ext>
            </a:extLst>
          </p:cNvPr>
          <p:cNvSpPr/>
          <p:nvPr/>
        </p:nvSpPr>
        <p:spPr>
          <a:xfrm>
            <a:off x="641051" y="5537542"/>
            <a:ext cx="983510" cy="551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2060"/>
                </a:solidFill>
                <a:effectLst/>
                <a:uLnTx/>
                <a:uFillTx/>
                <a:latin typeface="Roboto Condensed"/>
                <a:ea typeface="+mn-ea"/>
                <a:cs typeface="+mn-cs"/>
              </a:rPr>
              <a:t>STARK GROUP SOURCING POWER</a:t>
            </a:r>
          </a:p>
        </p:txBody>
      </p:sp>
      <p:sp>
        <p:nvSpPr>
          <p:cNvPr id="128" name="Rectangle 127">
            <a:extLst>
              <a:ext uri="{FF2B5EF4-FFF2-40B4-BE49-F238E27FC236}">
                <a16:creationId xmlns:a16="http://schemas.microsoft.com/office/drawing/2014/main" id="{C7553231-487F-5D32-CCC0-1EE6AE8735BF}"/>
              </a:ext>
            </a:extLst>
          </p:cNvPr>
          <p:cNvSpPr/>
          <p:nvPr/>
        </p:nvSpPr>
        <p:spPr>
          <a:xfrm>
            <a:off x="1644940" y="5204237"/>
            <a:ext cx="724297" cy="9676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Roboto"/>
                <a:ea typeface="+mn-ea"/>
                <a:cs typeface="+mn-cs"/>
              </a:rPr>
              <a:t>Oct 20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Roboto"/>
                <a:ea typeface="+mn-ea"/>
                <a:cs typeface="+mn-cs"/>
              </a:rPr>
              <a:t>Material cost price reduction</a:t>
            </a:r>
          </a:p>
        </p:txBody>
      </p:sp>
      <p:sp>
        <p:nvSpPr>
          <p:cNvPr id="131" name="Rectangle 130">
            <a:extLst>
              <a:ext uri="{FF2B5EF4-FFF2-40B4-BE49-F238E27FC236}">
                <a16:creationId xmlns:a16="http://schemas.microsoft.com/office/drawing/2014/main" id="{6019C0E9-5A69-BF70-C8E8-3ED0161C06E9}"/>
              </a:ext>
            </a:extLst>
          </p:cNvPr>
          <p:cNvSpPr/>
          <p:nvPr/>
        </p:nvSpPr>
        <p:spPr>
          <a:xfrm>
            <a:off x="3567422" y="5004396"/>
            <a:ext cx="1756772" cy="13063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Roboto"/>
                <a:ea typeface="+mn-ea"/>
                <a:cs typeface="+mn-cs"/>
              </a:rPr>
              <a:t>May 2024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Roboto"/>
                <a:ea typeface="+mn-ea"/>
                <a:cs typeface="+mn-cs"/>
              </a:rPr>
              <a:t>New strategic propositions and revised ranges for Decorating, Workwear &amp; Builders Metalwork</a:t>
            </a:r>
          </a:p>
        </p:txBody>
      </p:sp>
      <p:sp>
        <p:nvSpPr>
          <p:cNvPr id="134" name="Rectangle 133">
            <a:extLst>
              <a:ext uri="{FF2B5EF4-FFF2-40B4-BE49-F238E27FC236}">
                <a16:creationId xmlns:a16="http://schemas.microsoft.com/office/drawing/2014/main" id="{DAEF41BD-2D90-D025-3D55-CC5FE3818DF1}"/>
              </a:ext>
            </a:extLst>
          </p:cNvPr>
          <p:cNvSpPr/>
          <p:nvPr/>
        </p:nvSpPr>
        <p:spPr>
          <a:xfrm>
            <a:off x="9200470" y="3473725"/>
            <a:ext cx="1162730" cy="9676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Roboto"/>
                <a:ea typeface="+mn-ea"/>
                <a:cs typeface="+mn-cs"/>
              </a:rPr>
              <a:t>Jun 20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Roboto"/>
                <a:ea typeface="+mn-ea"/>
                <a:cs typeface="+mn-cs"/>
              </a:rPr>
              <a:t>Price guidance available in IC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0000"/>
              </a:solidFill>
              <a:effectLst/>
              <a:uLnTx/>
              <a:uFillTx/>
              <a:latin typeface="Roboto"/>
              <a:ea typeface="+mn-ea"/>
              <a:cs typeface="+mn-cs"/>
            </a:endParaRPr>
          </a:p>
        </p:txBody>
      </p:sp>
      <p:grpSp>
        <p:nvGrpSpPr>
          <p:cNvPr id="75" name="Group 74">
            <a:extLst>
              <a:ext uri="{FF2B5EF4-FFF2-40B4-BE49-F238E27FC236}">
                <a16:creationId xmlns:a16="http://schemas.microsoft.com/office/drawing/2014/main" id="{D9A44E42-622F-CE59-E363-F50676EA5A4B}"/>
              </a:ext>
            </a:extLst>
          </p:cNvPr>
          <p:cNvGrpSpPr/>
          <p:nvPr/>
        </p:nvGrpSpPr>
        <p:grpSpPr>
          <a:xfrm>
            <a:off x="10467030" y="3479241"/>
            <a:ext cx="577046" cy="666352"/>
            <a:chOff x="3825947" y="5928323"/>
            <a:chExt cx="296702" cy="342621"/>
          </a:xfrm>
        </p:grpSpPr>
        <p:sp>
          <p:nvSpPr>
            <p:cNvPr id="80" name="Graphic 18">
              <a:extLst>
                <a:ext uri="{FF2B5EF4-FFF2-40B4-BE49-F238E27FC236}">
                  <a16:creationId xmlns:a16="http://schemas.microsoft.com/office/drawing/2014/main" id="{9628961C-294E-4E65-E418-DC8A72A34EAF}"/>
                </a:ext>
              </a:extLst>
            </p:cNvPr>
            <p:cNvSpPr/>
            <p:nvPr/>
          </p:nvSpPr>
          <p:spPr>
            <a:xfrm>
              <a:off x="3825947" y="5928323"/>
              <a:ext cx="296702" cy="342621"/>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grpSp>
          <p:nvGrpSpPr>
            <p:cNvPr id="81" name="Graphic 12">
              <a:extLst>
                <a:ext uri="{FF2B5EF4-FFF2-40B4-BE49-F238E27FC236}">
                  <a16:creationId xmlns:a16="http://schemas.microsoft.com/office/drawing/2014/main" id="{977410D4-7CFC-192C-21D6-DC89B5927136}"/>
                </a:ext>
              </a:extLst>
            </p:cNvPr>
            <p:cNvGrpSpPr/>
            <p:nvPr/>
          </p:nvGrpSpPr>
          <p:grpSpPr>
            <a:xfrm>
              <a:off x="3875752" y="6000319"/>
              <a:ext cx="197093" cy="184902"/>
              <a:chOff x="2838464" y="370331"/>
              <a:chExt cx="6513365" cy="6110496"/>
            </a:xfrm>
            <a:solidFill>
              <a:schemeClr val="bg1"/>
            </a:solidFill>
          </p:grpSpPr>
          <p:sp>
            <p:nvSpPr>
              <p:cNvPr id="82" name="Freeform: Shape 81">
                <a:extLst>
                  <a:ext uri="{FF2B5EF4-FFF2-40B4-BE49-F238E27FC236}">
                    <a16:creationId xmlns:a16="http://schemas.microsoft.com/office/drawing/2014/main" id="{7EB6C5E8-80F6-DD5F-27ED-8DD6165D7E87}"/>
                  </a:ext>
                </a:extLst>
              </p:cNvPr>
              <p:cNvSpPr/>
              <p:nvPr/>
            </p:nvSpPr>
            <p:spPr>
              <a:xfrm>
                <a:off x="2838464" y="3408414"/>
                <a:ext cx="3024357" cy="3019229"/>
              </a:xfrm>
              <a:custGeom>
                <a:avLst/>
                <a:gdLst>
                  <a:gd name="connsiteX0" fmla="*/ 61713 w 3024357"/>
                  <a:gd name="connsiteY0" fmla="*/ 1940825 h 3019229"/>
                  <a:gd name="connsiteX1" fmla="*/ 61713 w 3024357"/>
                  <a:gd name="connsiteY1" fmla="*/ 2228850 h 3019229"/>
                  <a:gd name="connsiteX2" fmla="*/ 795519 w 3024357"/>
                  <a:gd name="connsiteY2" fmla="*/ 2962656 h 3019229"/>
                  <a:gd name="connsiteX3" fmla="*/ 1083544 w 3024357"/>
                  <a:gd name="connsiteY3" fmla="*/ 2962656 h 3019229"/>
                  <a:gd name="connsiteX4" fmla="*/ 3024358 w 3024357"/>
                  <a:gd name="connsiteY4" fmla="*/ 1021842 h 3019229"/>
                  <a:gd name="connsiteX5" fmla="*/ 2002516 w 3024357"/>
                  <a:gd name="connsiteY5" fmla="*/ 0 h 3019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24357" h="3019229">
                    <a:moveTo>
                      <a:pt x="61713" y="1940825"/>
                    </a:moveTo>
                    <a:cubicBezTo>
                      <a:pt x="-20571" y="2016258"/>
                      <a:pt x="-20571" y="2146565"/>
                      <a:pt x="61713" y="2228850"/>
                    </a:cubicBezTo>
                    <a:lnTo>
                      <a:pt x="795519" y="2962656"/>
                    </a:lnTo>
                    <a:cubicBezTo>
                      <a:pt x="870952" y="3038088"/>
                      <a:pt x="1001259" y="3038088"/>
                      <a:pt x="1083544" y="2962656"/>
                    </a:cubicBezTo>
                    <a:lnTo>
                      <a:pt x="3024358" y="1021842"/>
                    </a:lnTo>
                    <a:lnTo>
                      <a:pt x="2002516" y="0"/>
                    </a:ln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83" name="Freeform: Shape 82">
                <a:extLst>
                  <a:ext uri="{FF2B5EF4-FFF2-40B4-BE49-F238E27FC236}">
                    <a16:creationId xmlns:a16="http://schemas.microsoft.com/office/drawing/2014/main" id="{6056E2B4-E421-1477-23D1-8DF146FB167F}"/>
                  </a:ext>
                </a:extLst>
              </p:cNvPr>
              <p:cNvSpPr/>
              <p:nvPr/>
            </p:nvSpPr>
            <p:spPr>
              <a:xfrm>
                <a:off x="6342882" y="427758"/>
                <a:ext cx="3008947" cy="2500621"/>
              </a:xfrm>
              <a:custGeom>
                <a:avLst/>
                <a:gdLst>
                  <a:gd name="connsiteX0" fmla="*/ 2983236 w 3008947"/>
                  <a:gd name="connsiteY0" fmla="*/ 1396469 h 2500621"/>
                  <a:gd name="connsiteX1" fmla="*/ 2619751 w 3008947"/>
                  <a:gd name="connsiteY1" fmla="*/ 1032984 h 2500621"/>
                  <a:gd name="connsiteX2" fmla="*/ 2475739 w 3008947"/>
                  <a:gd name="connsiteY2" fmla="*/ 1032984 h 2500621"/>
                  <a:gd name="connsiteX3" fmla="*/ 2420865 w 3008947"/>
                  <a:gd name="connsiteY3" fmla="*/ 1087857 h 2500621"/>
                  <a:gd name="connsiteX4" fmla="*/ 1618479 w 3008947"/>
                  <a:gd name="connsiteY4" fmla="*/ 285471 h 2500621"/>
                  <a:gd name="connsiteX5" fmla="*/ 205731 w 3008947"/>
                  <a:gd name="connsiteY5" fmla="*/ 141458 h 2500621"/>
                  <a:gd name="connsiteX6" fmla="*/ 260604 w 3008947"/>
                  <a:gd name="connsiteY6" fmla="*/ 333494 h 2500621"/>
                  <a:gd name="connsiteX7" fmla="*/ 1145286 w 3008947"/>
                  <a:gd name="connsiteY7" fmla="*/ 902719 h 2500621"/>
                  <a:gd name="connsiteX8" fmla="*/ 0 w 3008947"/>
                  <a:gd name="connsiteY8" fmla="*/ 2041147 h 2500621"/>
                  <a:gd name="connsiteX9" fmla="*/ 459475 w 3008947"/>
                  <a:gd name="connsiteY9" fmla="*/ 2500622 h 2500621"/>
                  <a:gd name="connsiteX10" fmla="*/ 1563613 w 3008947"/>
                  <a:gd name="connsiteY10" fmla="*/ 1396484 h 2500621"/>
                  <a:gd name="connsiteX11" fmla="*/ 1824228 w 3008947"/>
                  <a:gd name="connsiteY11" fmla="*/ 1691389 h 2500621"/>
                  <a:gd name="connsiteX12" fmla="*/ 1762501 w 3008947"/>
                  <a:gd name="connsiteY12" fmla="*/ 1753117 h 2500621"/>
                  <a:gd name="connsiteX13" fmla="*/ 1762501 w 3008947"/>
                  <a:gd name="connsiteY13" fmla="*/ 1897129 h 2500621"/>
                  <a:gd name="connsiteX14" fmla="*/ 2125986 w 3008947"/>
                  <a:gd name="connsiteY14" fmla="*/ 2260615 h 2500621"/>
                  <a:gd name="connsiteX15" fmla="*/ 2269999 w 3008947"/>
                  <a:gd name="connsiteY15" fmla="*/ 2260615 h 2500621"/>
                  <a:gd name="connsiteX16" fmla="*/ 2983230 w 3008947"/>
                  <a:gd name="connsiteY16" fmla="*/ 1547383 h 2500621"/>
                  <a:gd name="connsiteX17" fmla="*/ 2983230 w 3008947"/>
                  <a:gd name="connsiteY17" fmla="*/ 1396495 h 2500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08947" h="2500621">
                    <a:moveTo>
                      <a:pt x="2983236" y="1396469"/>
                    </a:moveTo>
                    <a:lnTo>
                      <a:pt x="2619751" y="1032984"/>
                    </a:lnTo>
                    <a:cubicBezTo>
                      <a:pt x="2578607" y="991840"/>
                      <a:pt x="2516881" y="991840"/>
                      <a:pt x="2475739" y="1032984"/>
                    </a:cubicBezTo>
                    <a:lnTo>
                      <a:pt x="2420865" y="1087857"/>
                    </a:lnTo>
                    <a:cubicBezTo>
                      <a:pt x="2420865" y="1087857"/>
                      <a:pt x="1645911" y="312903"/>
                      <a:pt x="1618479" y="285471"/>
                    </a:cubicBezTo>
                    <a:cubicBezTo>
                      <a:pt x="1254994" y="-78015"/>
                      <a:pt x="528057" y="-57429"/>
                      <a:pt x="205731" y="141458"/>
                    </a:cubicBezTo>
                    <a:cubicBezTo>
                      <a:pt x="116566" y="196332"/>
                      <a:pt x="157734" y="333494"/>
                      <a:pt x="260604" y="333494"/>
                    </a:cubicBezTo>
                    <a:cubicBezTo>
                      <a:pt x="678936" y="354077"/>
                      <a:pt x="932688" y="648956"/>
                      <a:pt x="1145286" y="902719"/>
                    </a:cubicBezTo>
                    <a:lnTo>
                      <a:pt x="0" y="2041147"/>
                    </a:lnTo>
                    <a:lnTo>
                      <a:pt x="459475" y="2500622"/>
                    </a:lnTo>
                    <a:lnTo>
                      <a:pt x="1563613" y="1396484"/>
                    </a:lnTo>
                    <a:lnTo>
                      <a:pt x="1824228" y="1691389"/>
                    </a:lnTo>
                    <a:lnTo>
                      <a:pt x="1762501" y="1753117"/>
                    </a:lnTo>
                    <a:cubicBezTo>
                      <a:pt x="1721357" y="1794261"/>
                      <a:pt x="1721357" y="1855987"/>
                      <a:pt x="1762501" y="1897129"/>
                    </a:cubicBezTo>
                    <a:lnTo>
                      <a:pt x="2125986" y="2260615"/>
                    </a:lnTo>
                    <a:cubicBezTo>
                      <a:pt x="2167129" y="2301758"/>
                      <a:pt x="2228856" y="2301758"/>
                      <a:pt x="2269999" y="2260615"/>
                    </a:cubicBezTo>
                    <a:lnTo>
                      <a:pt x="2983230" y="1547383"/>
                    </a:lnTo>
                    <a:cubicBezTo>
                      <a:pt x="3017520" y="1506217"/>
                      <a:pt x="3017520" y="1437638"/>
                      <a:pt x="2983230" y="1396495"/>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85" name="Freeform: Shape 84">
                <a:extLst>
                  <a:ext uri="{FF2B5EF4-FFF2-40B4-BE49-F238E27FC236}">
                    <a16:creationId xmlns:a16="http://schemas.microsoft.com/office/drawing/2014/main" id="{65BCA62A-555E-4BD8-0376-750B1696FDAA}"/>
                  </a:ext>
                </a:extLst>
              </p:cNvPr>
              <p:cNvSpPr/>
              <p:nvPr/>
            </p:nvSpPr>
            <p:spPr>
              <a:xfrm>
                <a:off x="3030206" y="370331"/>
                <a:ext cx="6099335" cy="6110496"/>
              </a:xfrm>
              <a:custGeom>
                <a:avLst/>
                <a:gdLst>
                  <a:gd name="connsiteX0" fmla="*/ 4732287 w 6099335"/>
                  <a:gd name="connsiteY0" fmla="*/ 3902203 h 6110496"/>
                  <a:gd name="connsiteX1" fmla="*/ 2208543 w 6099335"/>
                  <a:gd name="connsiteY1" fmla="*/ 1378459 h 6110496"/>
                  <a:gd name="connsiteX2" fmla="*/ 1913638 w 6099335"/>
                  <a:gd name="connsiteY2" fmla="*/ 329185 h 6110496"/>
                  <a:gd name="connsiteX3" fmla="*/ 706630 w 6099335"/>
                  <a:gd name="connsiteY3" fmla="*/ 82303 h 6110496"/>
                  <a:gd name="connsiteX4" fmla="*/ 1268974 w 6099335"/>
                  <a:gd name="connsiteY4" fmla="*/ 644647 h 6110496"/>
                  <a:gd name="connsiteX5" fmla="*/ 1268974 w 6099335"/>
                  <a:gd name="connsiteY5" fmla="*/ 1268725 h 6110496"/>
                  <a:gd name="connsiteX6" fmla="*/ 644896 w 6099335"/>
                  <a:gd name="connsiteY6" fmla="*/ 1268725 h 6110496"/>
                  <a:gd name="connsiteX7" fmla="*/ 82552 w 6099335"/>
                  <a:gd name="connsiteY7" fmla="*/ 706381 h 6110496"/>
                  <a:gd name="connsiteX8" fmla="*/ 322582 w 6099335"/>
                  <a:gd name="connsiteY8" fmla="*/ 1913389 h 6110496"/>
                  <a:gd name="connsiteX9" fmla="*/ 1371856 w 6099335"/>
                  <a:gd name="connsiteY9" fmla="*/ 2208294 h 6110496"/>
                  <a:gd name="connsiteX10" fmla="*/ 3895600 w 6099335"/>
                  <a:gd name="connsiteY10" fmla="*/ 4732038 h 6110496"/>
                  <a:gd name="connsiteX11" fmla="*/ 4190505 w 6099335"/>
                  <a:gd name="connsiteY11" fmla="*/ 5781312 h 6110496"/>
                  <a:gd name="connsiteX12" fmla="*/ 5397513 w 6099335"/>
                  <a:gd name="connsiteY12" fmla="*/ 6028195 h 6110496"/>
                  <a:gd name="connsiteX13" fmla="*/ 4835169 w 6099335"/>
                  <a:gd name="connsiteY13" fmla="*/ 5465850 h 6110496"/>
                  <a:gd name="connsiteX14" fmla="*/ 4835169 w 6099335"/>
                  <a:gd name="connsiteY14" fmla="*/ 4841772 h 6110496"/>
                  <a:gd name="connsiteX15" fmla="*/ 5459247 w 6099335"/>
                  <a:gd name="connsiteY15" fmla="*/ 4841772 h 6110496"/>
                  <a:gd name="connsiteX16" fmla="*/ 6021591 w 6099335"/>
                  <a:gd name="connsiteY16" fmla="*/ 5404116 h 6110496"/>
                  <a:gd name="connsiteX17" fmla="*/ 5774709 w 6099335"/>
                  <a:gd name="connsiteY17" fmla="*/ 4197109 h 6110496"/>
                  <a:gd name="connsiteX18" fmla="*/ 4732293 w 6099335"/>
                  <a:gd name="connsiteY18" fmla="*/ 3902186 h 6110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9335" h="6110496">
                    <a:moveTo>
                      <a:pt x="4732287" y="3902203"/>
                    </a:moveTo>
                    <a:lnTo>
                      <a:pt x="2208543" y="1378459"/>
                    </a:lnTo>
                    <a:cubicBezTo>
                      <a:pt x="2297709" y="1014973"/>
                      <a:pt x="2194836" y="617221"/>
                      <a:pt x="1913638" y="329185"/>
                    </a:cubicBezTo>
                    <a:cubicBezTo>
                      <a:pt x="1584442" y="-11"/>
                      <a:pt x="1111252" y="-82295"/>
                      <a:pt x="706630" y="82303"/>
                    </a:cubicBezTo>
                    <a:lnTo>
                      <a:pt x="1268974" y="644647"/>
                    </a:lnTo>
                    <a:cubicBezTo>
                      <a:pt x="1440424" y="816097"/>
                      <a:pt x="1440424" y="1097270"/>
                      <a:pt x="1268974" y="1268725"/>
                    </a:cubicBezTo>
                    <a:cubicBezTo>
                      <a:pt x="1097524" y="1440181"/>
                      <a:pt x="816352" y="1440175"/>
                      <a:pt x="644896" y="1268725"/>
                    </a:cubicBezTo>
                    <a:lnTo>
                      <a:pt x="82552" y="706381"/>
                    </a:lnTo>
                    <a:cubicBezTo>
                      <a:pt x="-82046" y="1111008"/>
                      <a:pt x="267" y="1591063"/>
                      <a:pt x="322582" y="1913389"/>
                    </a:cubicBezTo>
                    <a:cubicBezTo>
                      <a:pt x="610606" y="2201413"/>
                      <a:pt x="1008382" y="2297431"/>
                      <a:pt x="1371856" y="2208294"/>
                    </a:cubicBezTo>
                    <a:lnTo>
                      <a:pt x="3895600" y="4732038"/>
                    </a:lnTo>
                    <a:cubicBezTo>
                      <a:pt x="3806435" y="5095524"/>
                      <a:pt x="3909307" y="5500134"/>
                      <a:pt x="4190505" y="5781312"/>
                    </a:cubicBezTo>
                    <a:cubicBezTo>
                      <a:pt x="4519701" y="6110508"/>
                      <a:pt x="4992892" y="6192792"/>
                      <a:pt x="5397513" y="6028195"/>
                    </a:cubicBezTo>
                    <a:lnTo>
                      <a:pt x="4835169" y="5465850"/>
                    </a:lnTo>
                    <a:cubicBezTo>
                      <a:pt x="4663719" y="5294400"/>
                      <a:pt x="4663719" y="5013228"/>
                      <a:pt x="4835169" y="4841772"/>
                    </a:cubicBezTo>
                    <a:cubicBezTo>
                      <a:pt x="5006619" y="4670316"/>
                      <a:pt x="5287791" y="4670322"/>
                      <a:pt x="5459247" y="4841772"/>
                    </a:cubicBezTo>
                    <a:lnTo>
                      <a:pt x="6021591" y="5404116"/>
                    </a:lnTo>
                    <a:cubicBezTo>
                      <a:pt x="6179337" y="4999489"/>
                      <a:pt x="6097024" y="4519434"/>
                      <a:pt x="5774709" y="4197109"/>
                    </a:cubicBezTo>
                    <a:cubicBezTo>
                      <a:pt x="5500366" y="3915890"/>
                      <a:pt x="5095767" y="3813020"/>
                      <a:pt x="4732293" y="3902186"/>
                    </a:cubicBezTo>
                    <a:close/>
                  </a:path>
                </a:pathLst>
              </a:custGeom>
              <a:grp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grpSp>
      <p:sp>
        <p:nvSpPr>
          <p:cNvPr id="90" name="Graphic 18">
            <a:extLst>
              <a:ext uri="{FF2B5EF4-FFF2-40B4-BE49-F238E27FC236}">
                <a16:creationId xmlns:a16="http://schemas.microsoft.com/office/drawing/2014/main" id="{A610C601-C2C9-0A5B-1508-63FC5D70281A}"/>
              </a:ext>
            </a:extLst>
          </p:cNvPr>
          <p:cNvSpPr/>
          <p:nvPr/>
        </p:nvSpPr>
        <p:spPr>
          <a:xfrm>
            <a:off x="5431746" y="996253"/>
            <a:ext cx="577046" cy="666352"/>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grpSp>
        <p:nvGrpSpPr>
          <p:cNvPr id="125" name="Group 124">
            <a:extLst>
              <a:ext uri="{FF2B5EF4-FFF2-40B4-BE49-F238E27FC236}">
                <a16:creationId xmlns:a16="http://schemas.microsoft.com/office/drawing/2014/main" id="{74A78B47-907F-FDF6-8D7B-B326CF02FC4E}"/>
              </a:ext>
            </a:extLst>
          </p:cNvPr>
          <p:cNvGrpSpPr/>
          <p:nvPr/>
        </p:nvGrpSpPr>
        <p:grpSpPr>
          <a:xfrm>
            <a:off x="666296" y="4808519"/>
            <a:ext cx="577046" cy="666352"/>
            <a:chOff x="636651" y="5521004"/>
            <a:chExt cx="296702" cy="342621"/>
          </a:xfrm>
        </p:grpSpPr>
        <p:sp>
          <p:nvSpPr>
            <p:cNvPr id="129" name="Graphic 18">
              <a:extLst>
                <a:ext uri="{FF2B5EF4-FFF2-40B4-BE49-F238E27FC236}">
                  <a16:creationId xmlns:a16="http://schemas.microsoft.com/office/drawing/2014/main" id="{75794691-50CE-D8E1-A608-9721E7E03413}"/>
                </a:ext>
              </a:extLst>
            </p:cNvPr>
            <p:cNvSpPr/>
            <p:nvPr/>
          </p:nvSpPr>
          <p:spPr>
            <a:xfrm>
              <a:off x="636651" y="5521004"/>
              <a:ext cx="296702" cy="342621"/>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pic>
          <p:nvPicPr>
            <p:cNvPr id="132" name="Graphic 131">
              <a:extLst>
                <a:ext uri="{FF2B5EF4-FFF2-40B4-BE49-F238E27FC236}">
                  <a16:creationId xmlns:a16="http://schemas.microsoft.com/office/drawing/2014/main" id="{D69B5591-45EF-8B33-A8B7-2BE5092D8787}"/>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81461" y="5598518"/>
              <a:ext cx="207083" cy="189159"/>
            </a:xfrm>
            <a:prstGeom prst="rect">
              <a:avLst/>
            </a:prstGeom>
          </p:spPr>
        </p:pic>
      </p:grpSp>
      <p:grpSp>
        <p:nvGrpSpPr>
          <p:cNvPr id="133" name="Group 132">
            <a:extLst>
              <a:ext uri="{FF2B5EF4-FFF2-40B4-BE49-F238E27FC236}">
                <a16:creationId xmlns:a16="http://schemas.microsoft.com/office/drawing/2014/main" id="{0C5B5B03-C0D7-D5D6-970B-4A9AA27C9AA3}"/>
              </a:ext>
            </a:extLst>
          </p:cNvPr>
          <p:cNvGrpSpPr/>
          <p:nvPr/>
        </p:nvGrpSpPr>
        <p:grpSpPr>
          <a:xfrm>
            <a:off x="342711" y="996253"/>
            <a:ext cx="577046" cy="666352"/>
            <a:chOff x="3825947" y="5521004"/>
            <a:chExt cx="296702" cy="342621"/>
          </a:xfrm>
        </p:grpSpPr>
        <p:sp>
          <p:nvSpPr>
            <p:cNvPr id="142" name="Graphic 18">
              <a:extLst>
                <a:ext uri="{FF2B5EF4-FFF2-40B4-BE49-F238E27FC236}">
                  <a16:creationId xmlns:a16="http://schemas.microsoft.com/office/drawing/2014/main" id="{1D21E66D-0C4A-6E22-129B-3D3557F627F4}"/>
                </a:ext>
              </a:extLst>
            </p:cNvPr>
            <p:cNvSpPr/>
            <p:nvPr/>
          </p:nvSpPr>
          <p:spPr>
            <a:xfrm>
              <a:off x="3825947" y="5521004"/>
              <a:ext cx="296702" cy="342621"/>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grpSp>
          <p:nvGrpSpPr>
            <p:cNvPr id="144" name="Group 143">
              <a:extLst>
                <a:ext uri="{FF2B5EF4-FFF2-40B4-BE49-F238E27FC236}">
                  <a16:creationId xmlns:a16="http://schemas.microsoft.com/office/drawing/2014/main" id="{36C35469-6A8F-C72A-FB99-BFE7476EA51F}"/>
                </a:ext>
              </a:extLst>
            </p:cNvPr>
            <p:cNvGrpSpPr/>
            <p:nvPr/>
          </p:nvGrpSpPr>
          <p:grpSpPr>
            <a:xfrm>
              <a:off x="3872452" y="5602876"/>
              <a:ext cx="203693" cy="221735"/>
              <a:chOff x="3864990" y="5602876"/>
              <a:chExt cx="203693" cy="221735"/>
            </a:xfrm>
          </p:grpSpPr>
          <p:sp>
            <p:nvSpPr>
              <p:cNvPr id="146" name="Freeform: Shape 145">
                <a:extLst>
                  <a:ext uri="{FF2B5EF4-FFF2-40B4-BE49-F238E27FC236}">
                    <a16:creationId xmlns:a16="http://schemas.microsoft.com/office/drawing/2014/main" id="{1E236070-99B8-EA5A-2E00-1E0BEC431EB1}"/>
                  </a:ext>
                </a:extLst>
              </p:cNvPr>
              <p:cNvSpPr/>
              <p:nvPr/>
            </p:nvSpPr>
            <p:spPr>
              <a:xfrm>
                <a:off x="3864990" y="5602876"/>
                <a:ext cx="90949" cy="90198"/>
              </a:xfrm>
              <a:custGeom>
                <a:avLst/>
                <a:gdLst>
                  <a:gd name="connsiteX0" fmla="*/ 1536225 w 1659654"/>
                  <a:gd name="connsiteY0" fmla="*/ 1645945 h 1645945"/>
                  <a:gd name="connsiteX1" fmla="*/ 1549932 w 1659654"/>
                  <a:gd name="connsiteY1" fmla="*/ 1639092 h 1645945"/>
                  <a:gd name="connsiteX2" fmla="*/ 1563639 w 1659654"/>
                  <a:gd name="connsiteY2" fmla="*/ 1632238 h 1645945"/>
                  <a:gd name="connsiteX3" fmla="*/ 1577346 w 1659654"/>
                  <a:gd name="connsiteY3" fmla="*/ 1625385 h 1645945"/>
                  <a:gd name="connsiteX4" fmla="*/ 1591053 w 1659654"/>
                  <a:gd name="connsiteY4" fmla="*/ 1618531 h 1645945"/>
                  <a:gd name="connsiteX5" fmla="*/ 1632196 w 1659654"/>
                  <a:gd name="connsiteY5" fmla="*/ 1577388 h 1645945"/>
                  <a:gd name="connsiteX6" fmla="*/ 1639049 w 1659654"/>
                  <a:gd name="connsiteY6" fmla="*/ 1570535 h 1645945"/>
                  <a:gd name="connsiteX7" fmla="*/ 1645903 w 1659654"/>
                  <a:gd name="connsiteY7" fmla="*/ 1556828 h 1645945"/>
                  <a:gd name="connsiteX8" fmla="*/ 1652756 w 1659654"/>
                  <a:gd name="connsiteY8" fmla="*/ 1543121 h 1645945"/>
                  <a:gd name="connsiteX9" fmla="*/ 1659610 w 1659654"/>
                  <a:gd name="connsiteY9" fmla="*/ 1529414 h 1645945"/>
                  <a:gd name="connsiteX10" fmla="*/ 1659610 w 1659654"/>
                  <a:gd name="connsiteY10" fmla="*/ 1501977 h 1645945"/>
                  <a:gd name="connsiteX11" fmla="*/ 1659654 w 1659654"/>
                  <a:gd name="connsiteY11" fmla="*/ 822978 h 1645945"/>
                  <a:gd name="connsiteX12" fmla="*/ 1522494 w 1659654"/>
                  <a:gd name="connsiteY12" fmla="*/ 685818 h 1645945"/>
                  <a:gd name="connsiteX13" fmla="*/ 1385334 w 1659654"/>
                  <a:gd name="connsiteY13" fmla="*/ 822978 h 1645945"/>
                  <a:gd name="connsiteX14" fmla="*/ 1385334 w 1659654"/>
                  <a:gd name="connsiteY14" fmla="*/ 1179583 h 1645945"/>
                  <a:gd name="connsiteX15" fmla="*/ 233190 w 1659654"/>
                  <a:gd name="connsiteY15" fmla="*/ 41155 h 1645945"/>
                  <a:gd name="connsiteX16" fmla="*/ 41155 w 1659654"/>
                  <a:gd name="connsiteY16" fmla="*/ 41155 h 1645945"/>
                  <a:gd name="connsiteX17" fmla="*/ 41155 w 1659654"/>
                  <a:gd name="connsiteY17" fmla="*/ 233190 h 1645945"/>
                  <a:gd name="connsiteX18" fmla="*/ 1179583 w 1659654"/>
                  <a:gd name="connsiteY18" fmla="*/ 1371618 h 1645945"/>
                  <a:gd name="connsiteX19" fmla="*/ 822978 w 1659654"/>
                  <a:gd name="connsiteY19" fmla="*/ 1371618 h 1645945"/>
                  <a:gd name="connsiteX20" fmla="*/ 685818 w 1659654"/>
                  <a:gd name="connsiteY20" fmla="*/ 1508778 h 1645945"/>
                  <a:gd name="connsiteX21" fmla="*/ 822978 w 1659654"/>
                  <a:gd name="connsiteY21" fmla="*/ 1645938 h 1645945"/>
                  <a:gd name="connsiteX22" fmla="*/ 1508779 w 1659654"/>
                  <a:gd name="connsiteY22" fmla="*/ 1645938 h 1645945"/>
                  <a:gd name="connsiteX23" fmla="*/ 1536215 w 1659654"/>
                  <a:gd name="connsiteY23" fmla="*/ 1645938 h 1645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59654" h="1645945">
                    <a:moveTo>
                      <a:pt x="1536225" y="1645945"/>
                    </a:moveTo>
                    <a:cubicBezTo>
                      <a:pt x="1543079" y="1645945"/>
                      <a:pt x="1543079" y="1645945"/>
                      <a:pt x="1549932" y="1639092"/>
                    </a:cubicBezTo>
                    <a:cubicBezTo>
                      <a:pt x="1556785" y="1639092"/>
                      <a:pt x="1556785" y="1639092"/>
                      <a:pt x="1563639" y="1632238"/>
                    </a:cubicBezTo>
                    <a:cubicBezTo>
                      <a:pt x="1570492" y="1632238"/>
                      <a:pt x="1570492" y="1625385"/>
                      <a:pt x="1577346" y="1625385"/>
                    </a:cubicBezTo>
                    <a:cubicBezTo>
                      <a:pt x="1584199" y="1625385"/>
                      <a:pt x="1584199" y="1618531"/>
                      <a:pt x="1591053" y="1618531"/>
                    </a:cubicBezTo>
                    <a:cubicBezTo>
                      <a:pt x="1604759" y="1611678"/>
                      <a:pt x="1618489" y="1597948"/>
                      <a:pt x="1632196" y="1577388"/>
                    </a:cubicBezTo>
                    <a:lnTo>
                      <a:pt x="1639049" y="1570535"/>
                    </a:lnTo>
                    <a:cubicBezTo>
                      <a:pt x="1639049" y="1563681"/>
                      <a:pt x="1645903" y="1563681"/>
                      <a:pt x="1645903" y="1556828"/>
                    </a:cubicBezTo>
                    <a:cubicBezTo>
                      <a:pt x="1645903" y="1549974"/>
                      <a:pt x="1645903" y="1549974"/>
                      <a:pt x="1652756" y="1543121"/>
                    </a:cubicBezTo>
                    <a:cubicBezTo>
                      <a:pt x="1652756" y="1536267"/>
                      <a:pt x="1652756" y="1536267"/>
                      <a:pt x="1659610" y="1529414"/>
                    </a:cubicBezTo>
                    <a:lnTo>
                      <a:pt x="1659610" y="1501977"/>
                    </a:lnTo>
                    <a:lnTo>
                      <a:pt x="1659654" y="822978"/>
                    </a:lnTo>
                    <a:cubicBezTo>
                      <a:pt x="1659654" y="747546"/>
                      <a:pt x="1597927" y="685818"/>
                      <a:pt x="1522494" y="685818"/>
                    </a:cubicBezTo>
                    <a:cubicBezTo>
                      <a:pt x="1447062" y="685818"/>
                      <a:pt x="1385334" y="747546"/>
                      <a:pt x="1385334" y="822978"/>
                    </a:cubicBezTo>
                    <a:lnTo>
                      <a:pt x="1385334" y="1179583"/>
                    </a:lnTo>
                    <a:lnTo>
                      <a:pt x="233190" y="41155"/>
                    </a:lnTo>
                    <a:cubicBezTo>
                      <a:pt x="178317" y="-13718"/>
                      <a:pt x="96030" y="-13718"/>
                      <a:pt x="41155" y="41155"/>
                    </a:cubicBezTo>
                    <a:cubicBezTo>
                      <a:pt x="-13718" y="96028"/>
                      <a:pt x="-13718" y="178315"/>
                      <a:pt x="41155" y="233190"/>
                    </a:cubicBezTo>
                    <a:lnTo>
                      <a:pt x="1179583" y="1371618"/>
                    </a:lnTo>
                    <a:lnTo>
                      <a:pt x="822978" y="1371618"/>
                    </a:lnTo>
                    <a:cubicBezTo>
                      <a:pt x="747546" y="1371618"/>
                      <a:pt x="685818" y="1433346"/>
                      <a:pt x="685818" y="1508778"/>
                    </a:cubicBezTo>
                    <a:cubicBezTo>
                      <a:pt x="685818" y="1584211"/>
                      <a:pt x="747546" y="1645938"/>
                      <a:pt x="822978" y="1645938"/>
                    </a:cubicBezTo>
                    <a:lnTo>
                      <a:pt x="1508779" y="1645938"/>
                    </a:lnTo>
                    <a:lnTo>
                      <a:pt x="1536215" y="1645938"/>
                    </a:lnTo>
                    <a:close/>
                  </a:path>
                </a:pathLst>
              </a:custGeom>
              <a:solidFill>
                <a:schemeClr val="bg1"/>
              </a:solid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149" name="Freeform: Shape 148">
                <a:extLst>
                  <a:ext uri="{FF2B5EF4-FFF2-40B4-BE49-F238E27FC236}">
                    <a16:creationId xmlns:a16="http://schemas.microsoft.com/office/drawing/2014/main" id="{16B354FE-A929-B388-22BA-73E254E3A5B0}"/>
                  </a:ext>
                </a:extLst>
              </p:cNvPr>
              <p:cNvSpPr/>
              <p:nvPr/>
            </p:nvSpPr>
            <p:spPr>
              <a:xfrm>
                <a:off x="3977737" y="5602922"/>
                <a:ext cx="90946" cy="90525"/>
              </a:xfrm>
              <a:custGeom>
                <a:avLst/>
                <a:gdLst>
                  <a:gd name="connsiteX0" fmla="*/ 1412748 w 1659599"/>
                  <a:gd name="connsiteY0" fmla="*/ 40325 h 1651916"/>
                  <a:gd name="connsiteX1" fmla="*/ 274320 w 1659599"/>
                  <a:gd name="connsiteY1" fmla="*/ 1178753 h 1651916"/>
                  <a:gd name="connsiteX2" fmla="*/ 274320 w 1659599"/>
                  <a:gd name="connsiteY2" fmla="*/ 822149 h 1651916"/>
                  <a:gd name="connsiteX3" fmla="*/ 137160 w 1659599"/>
                  <a:gd name="connsiteY3" fmla="*/ 684989 h 1651916"/>
                  <a:gd name="connsiteX4" fmla="*/ 0 w 1659599"/>
                  <a:gd name="connsiteY4" fmla="*/ 822149 h 1651916"/>
                  <a:gd name="connsiteX5" fmla="*/ 0 w 1659599"/>
                  <a:gd name="connsiteY5" fmla="*/ 1507949 h 1651916"/>
                  <a:gd name="connsiteX6" fmla="*/ 0 w 1659599"/>
                  <a:gd name="connsiteY6" fmla="*/ 1535385 h 1651916"/>
                  <a:gd name="connsiteX7" fmla="*/ 6854 w 1659599"/>
                  <a:gd name="connsiteY7" fmla="*/ 1549092 h 1651916"/>
                  <a:gd name="connsiteX8" fmla="*/ 13707 w 1659599"/>
                  <a:gd name="connsiteY8" fmla="*/ 1562799 h 1651916"/>
                  <a:gd name="connsiteX9" fmla="*/ 20560 w 1659599"/>
                  <a:gd name="connsiteY9" fmla="*/ 1576506 h 1651916"/>
                  <a:gd name="connsiteX10" fmla="*/ 27414 w 1659599"/>
                  <a:gd name="connsiteY10" fmla="*/ 1583359 h 1651916"/>
                  <a:gd name="connsiteX11" fmla="*/ 68557 w 1659599"/>
                  <a:gd name="connsiteY11" fmla="*/ 1624503 h 1651916"/>
                  <a:gd name="connsiteX12" fmla="*/ 82264 w 1659599"/>
                  <a:gd name="connsiteY12" fmla="*/ 1631356 h 1651916"/>
                  <a:gd name="connsiteX13" fmla="*/ 95971 w 1659599"/>
                  <a:gd name="connsiteY13" fmla="*/ 1638209 h 1651916"/>
                  <a:gd name="connsiteX14" fmla="*/ 109678 w 1659599"/>
                  <a:gd name="connsiteY14" fmla="*/ 1645063 h 1651916"/>
                  <a:gd name="connsiteX15" fmla="*/ 123385 w 1659599"/>
                  <a:gd name="connsiteY15" fmla="*/ 1651916 h 1651916"/>
                  <a:gd name="connsiteX16" fmla="*/ 150821 w 1659599"/>
                  <a:gd name="connsiteY16" fmla="*/ 1651916 h 1651916"/>
                  <a:gd name="connsiteX17" fmla="*/ 836621 w 1659599"/>
                  <a:gd name="connsiteY17" fmla="*/ 1651916 h 1651916"/>
                  <a:gd name="connsiteX18" fmla="*/ 973781 w 1659599"/>
                  <a:gd name="connsiteY18" fmla="*/ 1514756 h 1651916"/>
                  <a:gd name="connsiteX19" fmla="*/ 836621 w 1659599"/>
                  <a:gd name="connsiteY19" fmla="*/ 1377596 h 1651916"/>
                  <a:gd name="connsiteX20" fmla="*/ 480016 w 1659599"/>
                  <a:gd name="connsiteY20" fmla="*/ 1377596 h 1651916"/>
                  <a:gd name="connsiteX21" fmla="*/ 1618445 w 1659599"/>
                  <a:gd name="connsiteY21" fmla="*/ 239168 h 1651916"/>
                  <a:gd name="connsiteX22" fmla="*/ 1618445 w 1659599"/>
                  <a:gd name="connsiteY22" fmla="*/ 47133 h 1651916"/>
                  <a:gd name="connsiteX23" fmla="*/ 1412750 w 1659599"/>
                  <a:gd name="connsiteY23" fmla="*/ 40324 h 1651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59599" h="1651916">
                    <a:moveTo>
                      <a:pt x="1412748" y="40325"/>
                    </a:moveTo>
                    <a:lnTo>
                      <a:pt x="274320" y="1178753"/>
                    </a:lnTo>
                    <a:lnTo>
                      <a:pt x="274320" y="822149"/>
                    </a:lnTo>
                    <a:cubicBezTo>
                      <a:pt x="274320" y="746716"/>
                      <a:pt x="212592" y="684989"/>
                      <a:pt x="137160" y="684989"/>
                    </a:cubicBezTo>
                    <a:cubicBezTo>
                      <a:pt x="61728" y="684989"/>
                      <a:pt x="0" y="746716"/>
                      <a:pt x="0" y="822149"/>
                    </a:cubicBezTo>
                    <a:lnTo>
                      <a:pt x="0" y="1507949"/>
                    </a:lnTo>
                    <a:lnTo>
                      <a:pt x="0" y="1535385"/>
                    </a:lnTo>
                    <a:cubicBezTo>
                      <a:pt x="0" y="1542239"/>
                      <a:pt x="0" y="1542239"/>
                      <a:pt x="6854" y="1549092"/>
                    </a:cubicBezTo>
                    <a:cubicBezTo>
                      <a:pt x="6854" y="1555945"/>
                      <a:pt x="6854" y="1555945"/>
                      <a:pt x="13707" y="1562799"/>
                    </a:cubicBezTo>
                    <a:cubicBezTo>
                      <a:pt x="13707" y="1569652"/>
                      <a:pt x="20560" y="1569652"/>
                      <a:pt x="20560" y="1576506"/>
                    </a:cubicBezTo>
                    <a:cubicBezTo>
                      <a:pt x="20560" y="1576506"/>
                      <a:pt x="20560" y="1583359"/>
                      <a:pt x="27414" y="1583359"/>
                    </a:cubicBezTo>
                    <a:cubicBezTo>
                      <a:pt x="34267" y="1597066"/>
                      <a:pt x="47997" y="1610796"/>
                      <a:pt x="68557" y="1624503"/>
                    </a:cubicBezTo>
                    <a:cubicBezTo>
                      <a:pt x="68557" y="1624503"/>
                      <a:pt x="75411" y="1631356"/>
                      <a:pt x="82264" y="1631356"/>
                    </a:cubicBezTo>
                    <a:cubicBezTo>
                      <a:pt x="89118" y="1631356"/>
                      <a:pt x="89118" y="1638209"/>
                      <a:pt x="95971" y="1638209"/>
                    </a:cubicBezTo>
                    <a:cubicBezTo>
                      <a:pt x="102824" y="1638209"/>
                      <a:pt x="102824" y="1638209"/>
                      <a:pt x="109678" y="1645063"/>
                    </a:cubicBezTo>
                    <a:cubicBezTo>
                      <a:pt x="116531" y="1645063"/>
                      <a:pt x="116531" y="1645063"/>
                      <a:pt x="123385" y="1651916"/>
                    </a:cubicBezTo>
                    <a:lnTo>
                      <a:pt x="150821" y="1651916"/>
                    </a:lnTo>
                    <a:lnTo>
                      <a:pt x="836621" y="1651916"/>
                    </a:lnTo>
                    <a:cubicBezTo>
                      <a:pt x="912054" y="1651916"/>
                      <a:pt x="973781" y="1590189"/>
                      <a:pt x="973781" y="1514756"/>
                    </a:cubicBezTo>
                    <a:cubicBezTo>
                      <a:pt x="973781" y="1439324"/>
                      <a:pt x="912054" y="1377596"/>
                      <a:pt x="836621" y="1377596"/>
                    </a:cubicBezTo>
                    <a:lnTo>
                      <a:pt x="480016" y="1377596"/>
                    </a:lnTo>
                    <a:lnTo>
                      <a:pt x="1618445" y="239168"/>
                    </a:lnTo>
                    <a:cubicBezTo>
                      <a:pt x="1673318" y="184295"/>
                      <a:pt x="1673318" y="102008"/>
                      <a:pt x="1618445" y="47133"/>
                    </a:cubicBezTo>
                    <a:cubicBezTo>
                      <a:pt x="1549910" y="-14526"/>
                      <a:pt x="1467620" y="-14526"/>
                      <a:pt x="1412750" y="40324"/>
                    </a:cubicBezTo>
                    <a:close/>
                  </a:path>
                </a:pathLst>
              </a:custGeom>
              <a:solidFill>
                <a:schemeClr val="bg1"/>
              </a:solid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151" name="Freeform: Shape 150">
                <a:extLst>
                  <a:ext uri="{FF2B5EF4-FFF2-40B4-BE49-F238E27FC236}">
                    <a16:creationId xmlns:a16="http://schemas.microsoft.com/office/drawing/2014/main" id="{8DF28B05-33F6-9F61-A361-91CF79B248E8}"/>
                  </a:ext>
                </a:extLst>
              </p:cNvPr>
              <p:cNvSpPr/>
              <p:nvPr/>
            </p:nvSpPr>
            <p:spPr>
              <a:xfrm>
                <a:off x="3930010" y="5696551"/>
                <a:ext cx="71404" cy="128060"/>
              </a:xfrm>
              <a:custGeom>
                <a:avLst/>
                <a:gdLst>
                  <a:gd name="connsiteX0" fmla="*/ 761199 w 1303000"/>
                  <a:gd name="connsiteY0" fmla="*/ 46284 h 2336872"/>
                  <a:gd name="connsiteX1" fmla="*/ 740616 w 1303000"/>
                  <a:gd name="connsiteY1" fmla="*/ 25700 h 2336872"/>
                  <a:gd name="connsiteX2" fmla="*/ 726909 w 1303000"/>
                  <a:gd name="connsiteY2" fmla="*/ 18847 h 2336872"/>
                  <a:gd name="connsiteX3" fmla="*/ 713202 w 1303000"/>
                  <a:gd name="connsiteY3" fmla="*/ 11994 h 2336872"/>
                  <a:gd name="connsiteX4" fmla="*/ 699495 w 1303000"/>
                  <a:gd name="connsiteY4" fmla="*/ 5140 h 2336872"/>
                  <a:gd name="connsiteX5" fmla="*/ 685789 w 1303000"/>
                  <a:gd name="connsiteY5" fmla="*/ 5140 h 2336872"/>
                  <a:gd name="connsiteX6" fmla="*/ 630915 w 1303000"/>
                  <a:gd name="connsiteY6" fmla="*/ 5140 h 2336872"/>
                  <a:gd name="connsiteX7" fmla="*/ 617209 w 1303000"/>
                  <a:gd name="connsiteY7" fmla="*/ 5140 h 2336872"/>
                  <a:gd name="connsiteX8" fmla="*/ 603502 w 1303000"/>
                  <a:gd name="connsiteY8" fmla="*/ 11994 h 2336872"/>
                  <a:gd name="connsiteX9" fmla="*/ 589795 w 1303000"/>
                  <a:gd name="connsiteY9" fmla="*/ 18847 h 2336872"/>
                  <a:gd name="connsiteX10" fmla="*/ 576088 w 1303000"/>
                  <a:gd name="connsiteY10" fmla="*/ 25700 h 2336872"/>
                  <a:gd name="connsiteX11" fmla="*/ 555505 w 1303000"/>
                  <a:gd name="connsiteY11" fmla="*/ 46284 h 2336872"/>
                  <a:gd name="connsiteX12" fmla="*/ 41155 w 1303000"/>
                  <a:gd name="connsiteY12" fmla="*/ 560634 h 2336872"/>
                  <a:gd name="connsiteX13" fmla="*/ 41155 w 1303000"/>
                  <a:gd name="connsiteY13" fmla="*/ 752669 h 2336872"/>
                  <a:gd name="connsiteX14" fmla="*/ 137173 w 1303000"/>
                  <a:gd name="connsiteY14" fmla="*/ 793813 h 2336872"/>
                  <a:gd name="connsiteX15" fmla="*/ 233190 w 1303000"/>
                  <a:gd name="connsiteY15" fmla="*/ 752669 h 2336872"/>
                  <a:gd name="connsiteX16" fmla="*/ 514363 w 1303000"/>
                  <a:gd name="connsiteY16" fmla="*/ 471497 h 2336872"/>
                  <a:gd name="connsiteX17" fmla="*/ 514318 w 1303000"/>
                  <a:gd name="connsiteY17" fmla="*/ 2199713 h 2336872"/>
                  <a:gd name="connsiteX18" fmla="*/ 651478 w 1303000"/>
                  <a:gd name="connsiteY18" fmla="*/ 2336873 h 2336872"/>
                  <a:gd name="connsiteX19" fmla="*/ 788638 w 1303000"/>
                  <a:gd name="connsiteY19" fmla="*/ 2199713 h 2336872"/>
                  <a:gd name="connsiteX20" fmla="*/ 788638 w 1303000"/>
                  <a:gd name="connsiteY20" fmla="*/ 471497 h 2336872"/>
                  <a:gd name="connsiteX21" fmla="*/ 1069810 w 1303000"/>
                  <a:gd name="connsiteY21" fmla="*/ 752669 h 2336872"/>
                  <a:gd name="connsiteX22" fmla="*/ 1165828 w 1303000"/>
                  <a:gd name="connsiteY22" fmla="*/ 793813 h 2336872"/>
                  <a:gd name="connsiteX23" fmla="*/ 1261846 w 1303000"/>
                  <a:gd name="connsiteY23" fmla="*/ 752669 h 2336872"/>
                  <a:gd name="connsiteX24" fmla="*/ 1261846 w 1303000"/>
                  <a:gd name="connsiteY24" fmla="*/ 560634 h 2336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03000" h="2336872">
                    <a:moveTo>
                      <a:pt x="761199" y="46284"/>
                    </a:moveTo>
                    <a:cubicBezTo>
                      <a:pt x="754346" y="39430"/>
                      <a:pt x="747492" y="32577"/>
                      <a:pt x="740616" y="25700"/>
                    </a:cubicBezTo>
                    <a:cubicBezTo>
                      <a:pt x="733763" y="25700"/>
                      <a:pt x="733763" y="18847"/>
                      <a:pt x="726909" y="18847"/>
                    </a:cubicBezTo>
                    <a:cubicBezTo>
                      <a:pt x="720056" y="18847"/>
                      <a:pt x="720056" y="11994"/>
                      <a:pt x="713202" y="11994"/>
                    </a:cubicBezTo>
                    <a:cubicBezTo>
                      <a:pt x="706349" y="11994"/>
                      <a:pt x="706349" y="11994"/>
                      <a:pt x="699495" y="5140"/>
                    </a:cubicBezTo>
                    <a:lnTo>
                      <a:pt x="685789" y="5140"/>
                    </a:lnTo>
                    <a:cubicBezTo>
                      <a:pt x="665205" y="-1713"/>
                      <a:pt x="651499" y="-1713"/>
                      <a:pt x="630915" y="5140"/>
                    </a:cubicBezTo>
                    <a:lnTo>
                      <a:pt x="617209" y="5140"/>
                    </a:lnTo>
                    <a:cubicBezTo>
                      <a:pt x="610355" y="5140"/>
                      <a:pt x="610355" y="5140"/>
                      <a:pt x="603502" y="11994"/>
                    </a:cubicBezTo>
                    <a:cubicBezTo>
                      <a:pt x="596648" y="11994"/>
                      <a:pt x="596648" y="18847"/>
                      <a:pt x="589795" y="18847"/>
                    </a:cubicBezTo>
                    <a:cubicBezTo>
                      <a:pt x="582942" y="18847"/>
                      <a:pt x="582942" y="25700"/>
                      <a:pt x="576088" y="25700"/>
                    </a:cubicBezTo>
                    <a:cubicBezTo>
                      <a:pt x="569235" y="32554"/>
                      <a:pt x="562381" y="39407"/>
                      <a:pt x="555505" y="46284"/>
                    </a:cubicBezTo>
                    <a:lnTo>
                      <a:pt x="41155" y="560634"/>
                    </a:lnTo>
                    <a:cubicBezTo>
                      <a:pt x="-13718" y="615507"/>
                      <a:pt x="-13718" y="697794"/>
                      <a:pt x="41155" y="752669"/>
                    </a:cubicBezTo>
                    <a:cubicBezTo>
                      <a:pt x="68591" y="780106"/>
                      <a:pt x="102883" y="793813"/>
                      <a:pt x="137173" y="793813"/>
                    </a:cubicBezTo>
                    <a:cubicBezTo>
                      <a:pt x="171463" y="793813"/>
                      <a:pt x="205753" y="780106"/>
                      <a:pt x="233190" y="752669"/>
                    </a:cubicBezTo>
                    <a:lnTo>
                      <a:pt x="514363" y="471497"/>
                    </a:lnTo>
                    <a:lnTo>
                      <a:pt x="514318" y="2199713"/>
                    </a:lnTo>
                    <a:cubicBezTo>
                      <a:pt x="514318" y="2275145"/>
                      <a:pt x="576046" y="2336873"/>
                      <a:pt x="651478" y="2336873"/>
                    </a:cubicBezTo>
                    <a:cubicBezTo>
                      <a:pt x="726910" y="2336873"/>
                      <a:pt x="788638" y="2275145"/>
                      <a:pt x="788638" y="2199713"/>
                    </a:cubicBezTo>
                    <a:lnTo>
                      <a:pt x="788638" y="471497"/>
                    </a:lnTo>
                    <a:lnTo>
                      <a:pt x="1069810" y="752669"/>
                    </a:lnTo>
                    <a:cubicBezTo>
                      <a:pt x="1097247" y="780106"/>
                      <a:pt x="1131538" y="793813"/>
                      <a:pt x="1165828" y="793813"/>
                    </a:cubicBezTo>
                    <a:cubicBezTo>
                      <a:pt x="1200118" y="793813"/>
                      <a:pt x="1234408" y="780106"/>
                      <a:pt x="1261846" y="752669"/>
                    </a:cubicBezTo>
                    <a:cubicBezTo>
                      <a:pt x="1316719" y="697796"/>
                      <a:pt x="1316719" y="615509"/>
                      <a:pt x="1261846" y="560634"/>
                    </a:cubicBezTo>
                    <a:close/>
                  </a:path>
                </a:pathLst>
              </a:custGeom>
              <a:solidFill>
                <a:schemeClr val="bg1"/>
              </a:solid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grpSp>
      <p:grpSp>
        <p:nvGrpSpPr>
          <p:cNvPr id="159" name="Group 158">
            <a:extLst>
              <a:ext uri="{FF2B5EF4-FFF2-40B4-BE49-F238E27FC236}">
                <a16:creationId xmlns:a16="http://schemas.microsoft.com/office/drawing/2014/main" id="{5685328E-7F10-2EAA-02CE-E784FDB44854}"/>
              </a:ext>
            </a:extLst>
          </p:cNvPr>
          <p:cNvGrpSpPr/>
          <p:nvPr/>
        </p:nvGrpSpPr>
        <p:grpSpPr>
          <a:xfrm>
            <a:off x="7531852" y="4808519"/>
            <a:ext cx="577046" cy="666352"/>
            <a:chOff x="2253666" y="5521004"/>
            <a:chExt cx="296702" cy="342621"/>
          </a:xfrm>
        </p:grpSpPr>
        <p:sp>
          <p:nvSpPr>
            <p:cNvPr id="172" name="Graphic 18">
              <a:extLst>
                <a:ext uri="{FF2B5EF4-FFF2-40B4-BE49-F238E27FC236}">
                  <a16:creationId xmlns:a16="http://schemas.microsoft.com/office/drawing/2014/main" id="{316C7F12-121D-9AF4-112C-D14475C0A985}"/>
                </a:ext>
              </a:extLst>
            </p:cNvPr>
            <p:cNvSpPr/>
            <p:nvPr/>
          </p:nvSpPr>
          <p:spPr>
            <a:xfrm>
              <a:off x="2253666" y="5521004"/>
              <a:ext cx="296702" cy="342621"/>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sp>
          <p:nvSpPr>
            <p:cNvPr id="173" name="Graphic 40">
              <a:extLst>
                <a:ext uri="{FF2B5EF4-FFF2-40B4-BE49-F238E27FC236}">
                  <a16:creationId xmlns:a16="http://schemas.microsoft.com/office/drawing/2014/main" id="{4D253047-0E37-41A8-57FF-EC47C00BD4B1}"/>
                </a:ext>
              </a:extLst>
            </p:cNvPr>
            <p:cNvSpPr/>
            <p:nvPr/>
          </p:nvSpPr>
          <p:spPr>
            <a:xfrm>
              <a:off x="2276703" y="5622167"/>
              <a:ext cx="250628" cy="140294"/>
            </a:xfrm>
            <a:custGeom>
              <a:avLst/>
              <a:gdLst>
                <a:gd name="connsiteX0" fmla="*/ 5057775 w 5657850"/>
                <a:gd name="connsiteY0" fmla="*/ 1114425 h 3167088"/>
                <a:gd name="connsiteX1" fmla="*/ 4426839 w 5657850"/>
                <a:gd name="connsiteY1" fmla="*/ 0 h 3167088"/>
                <a:gd name="connsiteX2" fmla="*/ 257175 w 5657850"/>
                <a:gd name="connsiteY2" fmla="*/ 0 h 3167088"/>
                <a:gd name="connsiteX3" fmla="*/ 75324 w 5657850"/>
                <a:gd name="connsiteY3" fmla="*/ 75324 h 3167088"/>
                <a:gd name="connsiteX4" fmla="*/ 0 w 5657850"/>
                <a:gd name="connsiteY4" fmla="*/ 257175 h 3167088"/>
                <a:gd name="connsiteX5" fmla="*/ 0 w 5657850"/>
                <a:gd name="connsiteY5" fmla="*/ 2657475 h 3167088"/>
                <a:gd name="connsiteX6" fmla="*/ 692658 w 5657850"/>
                <a:gd name="connsiteY6" fmla="*/ 2657475 h 3167088"/>
                <a:gd name="connsiteX7" fmla="*/ 1012430 w 5657850"/>
                <a:gd name="connsiteY7" fmla="*/ 3101171 h 3167088"/>
                <a:gd name="connsiteX8" fmla="*/ 1559326 w 5657850"/>
                <a:gd name="connsiteY8" fmla="*/ 3101171 h 3167088"/>
                <a:gd name="connsiteX9" fmla="*/ 1879098 w 5657850"/>
                <a:gd name="connsiteY9" fmla="*/ 2657475 h 3167088"/>
                <a:gd name="connsiteX10" fmla="*/ 3950214 w 5657850"/>
                <a:gd name="connsiteY10" fmla="*/ 2657475 h 3167088"/>
                <a:gd name="connsiteX11" fmla="*/ 4269985 w 5657850"/>
                <a:gd name="connsiteY11" fmla="*/ 3101171 h 3167088"/>
                <a:gd name="connsiteX12" fmla="*/ 4816882 w 5657850"/>
                <a:gd name="connsiteY12" fmla="*/ 3101171 h 3167088"/>
                <a:gd name="connsiteX13" fmla="*/ 5136642 w 5657850"/>
                <a:gd name="connsiteY13" fmla="*/ 2657475 h 3167088"/>
                <a:gd name="connsiteX14" fmla="*/ 5657850 w 5657850"/>
                <a:gd name="connsiteY14" fmla="*/ 2657475 h 3167088"/>
                <a:gd name="connsiteX15" fmla="*/ 5657850 w 5657850"/>
                <a:gd name="connsiteY15" fmla="*/ 1714500 h 3167088"/>
                <a:gd name="connsiteX16" fmla="*/ 5482114 w 5657850"/>
                <a:gd name="connsiteY16" fmla="*/ 1290184 h 3167088"/>
                <a:gd name="connsiteX17" fmla="*/ 5057781 w 5657850"/>
                <a:gd name="connsiteY17" fmla="*/ 1114425 h 3167088"/>
                <a:gd name="connsiteX18" fmla="*/ 3771900 w 5657850"/>
                <a:gd name="connsiteY18" fmla="*/ 171450 h 3167088"/>
                <a:gd name="connsiteX19" fmla="*/ 4327392 w 5657850"/>
                <a:gd name="connsiteY19" fmla="*/ 171450 h 3167088"/>
                <a:gd name="connsiteX20" fmla="*/ 4860608 w 5657850"/>
                <a:gd name="connsiteY20" fmla="*/ 1114425 h 3167088"/>
                <a:gd name="connsiteX21" fmla="*/ 3771900 w 5657850"/>
                <a:gd name="connsiteY21" fmla="*/ 1114425 h 3167088"/>
                <a:gd name="connsiteX22" fmla="*/ 1285875 w 5657850"/>
                <a:gd name="connsiteY22" fmla="*/ 3000375 h 3167088"/>
                <a:gd name="connsiteX23" fmla="*/ 982803 w 5657850"/>
                <a:gd name="connsiteY23" fmla="*/ 2874822 h 3167088"/>
                <a:gd name="connsiteX24" fmla="*/ 857250 w 5657850"/>
                <a:gd name="connsiteY24" fmla="*/ 2571750 h 3167088"/>
                <a:gd name="connsiteX25" fmla="*/ 982803 w 5657850"/>
                <a:gd name="connsiteY25" fmla="*/ 2268678 h 3167088"/>
                <a:gd name="connsiteX26" fmla="*/ 1285875 w 5657850"/>
                <a:gd name="connsiteY26" fmla="*/ 2143125 h 3167088"/>
                <a:gd name="connsiteX27" fmla="*/ 1588947 w 5657850"/>
                <a:gd name="connsiteY27" fmla="*/ 2268678 h 3167088"/>
                <a:gd name="connsiteX28" fmla="*/ 1714500 w 5657850"/>
                <a:gd name="connsiteY28" fmla="*/ 2571750 h 3167088"/>
                <a:gd name="connsiteX29" fmla="*/ 1588947 w 5657850"/>
                <a:gd name="connsiteY29" fmla="*/ 2874822 h 3167088"/>
                <a:gd name="connsiteX30" fmla="*/ 1285875 w 5657850"/>
                <a:gd name="connsiteY30" fmla="*/ 3000375 h 3167088"/>
                <a:gd name="connsiteX31" fmla="*/ 4543425 w 5657850"/>
                <a:gd name="connsiteY31" fmla="*/ 3000375 h 3167088"/>
                <a:gd name="connsiteX32" fmla="*/ 4240353 w 5657850"/>
                <a:gd name="connsiteY32" fmla="*/ 2874822 h 3167088"/>
                <a:gd name="connsiteX33" fmla="*/ 4114800 w 5657850"/>
                <a:gd name="connsiteY33" fmla="*/ 2571750 h 3167088"/>
                <a:gd name="connsiteX34" fmla="*/ 4240353 w 5657850"/>
                <a:gd name="connsiteY34" fmla="*/ 2268678 h 3167088"/>
                <a:gd name="connsiteX35" fmla="*/ 4543425 w 5657850"/>
                <a:gd name="connsiteY35" fmla="*/ 2143125 h 3167088"/>
                <a:gd name="connsiteX36" fmla="*/ 4846497 w 5657850"/>
                <a:gd name="connsiteY36" fmla="*/ 2268678 h 3167088"/>
                <a:gd name="connsiteX37" fmla="*/ 4972050 w 5657850"/>
                <a:gd name="connsiteY37" fmla="*/ 2571750 h 3167088"/>
                <a:gd name="connsiteX38" fmla="*/ 4846497 w 5657850"/>
                <a:gd name="connsiteY38" fmla="*/ 2874822 h 3167088"/>
                <a:gd name="connsiteX39" fmla="*/ 4543425 w 5657850"/>
                <a:gd name="connsiteY39" fmla="*/ 3000375 h 3167088"/>
                <a:gd name="connsiteX40" fmla="*/ 5486400 w 5657850"/>
                <a:gd name="connsiteY40" fmla="*/ 2486025 h 3167088"/>
                <a:gd name="connsiteX41" fmla="*/ 5136642 w 5657850"/>
                <a:gd name="connsiteY41" fmla="*/ 2486025 h 3167088"/>
                <a:gd name="connsiteX42" fmla="*/ 4816877 w 5657850"/>
                <a:gd name="connsiteY42" fmla="*/ 2042329 h 3167088"/>
                <a:gd name="connsiteX43" fmla="*/ 4269980 w 5657850"/>
                <a:gd name="connsiteY43" fmla="*/ 2042329 h 3167088"/>
                <a:gd name="connsiteX44" fmla="*/ 3950208 w 5657850"/>
                <a:gd name="connsiteY44" fmla="*/ 2486025 h 3167088"/>
                <a:gd name="connsiteX45" fmla="*/ 1879092 w 5657850"/>
                <a:gd name="connsiteY45" fmla="*/ 2486025 h 3167088"/>
                <a:gd name="connsiteX46" fmla="*/ 1559321 w 5657850"/>
                <a:gd name="connsiteY46" fmla="*/ 2042329 h 3167088"/>
                <a:gd name="connsiteX47" fmla="*/ 1012424 w 5657850"/>
                <a:gd name="connsiteY47" fmla="*/ 2042329 h 3167088"/>
                <a:gd name="connsiteX48" fmla="*/ 692652 w 5657850"/>
                <a:gd name="connsiteY48" fmla="*/ 2486025 h 3167088"/>
                <a:gd name="connsiteX49" fmla="*/ 171450 w 5657850"/>
                <a:gd name="connsiteY49" fmla="*/ 2486025 h 3167088"/>
                <a:gd name="connsiteX50" fmla="*/ 171450 w 5657850"/>
                <a:gd name="connsiteY50" fmla="*/ 257175 h 3167088"/>
                <a:gd name="connsiteX51" fmla="*/ 196567 w 5657850"/>
                <a:gd name="connsiteY51" fmla="*/ 196567 h 3167088"/>
                <a:gd name="connsiteX52" fmla="*/ 257169 w 5657850"/>
                <a:gd name="connsiteY52" fmla="*/ 171450 h 3167088"/>
                <a:gd name="connsiteX53" fmla="*/ 3600450 w 5657850"/>
                <a:gd name="connsiteY53" fmla="*/ 171450 h 3167088"/>
                <a:gd name="connsiteX54" fmla="*/ 3600450 w 5657850"/>
                <a:gd name="connsiteY54" fmla="*/ 1285875 h 3167088"/>
                <a:gd name="connsiteX55" fmla="*/ 5057775 w 5657850"/>
                <a:gd name="connsiteY55" fmla="*/ 1285875 h 3167088"/>
                <a:gd name="connsiteX56" fmla="*/ 5360842 w 5657850"/>
                <a:gd name="connsiteY56" fmla="*/ 1411428 h 3167088"/>
                <a:gd name="connsiteX57" fmla="*/ 5486400 w 5657850"/>
                <a:gd name="connsiteY57" fmla="*/ 1714500 h 3167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657850" h="3167088">
                  <a:moveTo>
                    <a:pt x="5057775" y="1114425"/>
                  </a:moveTo>
                  <a:lnTo>
                    <a:pt x="4426839" y="0"/>
                  </a:lnTo>
                  <a:lnTo>
                    <a:pt x="257175" y="0"/>
                  </a:lnTo>
                  <a:cubicBezTo>
                    <a:pt x="188972" y="0"/>
                    <a:pt x="123564" y="27101"/>
                    <a:pt x="75324" y="75324"/>
                  </a:cubicBezTo>
                  <a:cubicBezTo>
                    <a:pt x="27106" y="123564"/>
                    <a:pt x="0" y="188978"/>
                    <a:pt x="0" y="257175"/>
                  </a:cubicBezTo>
                  <a:lnTo>
                    <a:pt x="0" y="2657475"/>
                  </a:lnTo>
                  <a:lnTo>
                    <a:pt x="692658" y="2657475"/>
                  </a:lnTo>
                  <a:cubicBezTo>
                    <a:pt x="721747" y="2848168"/>
                    <a:pt x="840711" y="3013257"/>
                    <a:pt x="1012430" y="3101171"/>
                  </a:cubicBezTo>
                  <a:cubicBezTo>
                    <a:pt x="1184125" y="3189062"/>
                    <a:pt x="1387631" y="3189062"/>
                    <a:pt x="1559326" y="3101171"/>
                  </a:cubicBezTo>
                  <a:cubicBezTo>
                    <a:pt x="1731045" y="3013257"/>
                    <a:pt x="1850008" y="2848168"/>
                    <a:pt x="1879098" y="2657475"/>
                  </a:cubicBezTo>
                  <a:lnTo>
                    <a:pt x="3950214" y="2657475"/>
                  </a:lnTo>
                  <a:cubicBezTo>
                    <a:pt x="3979303" y="2848168"/>
                    <a:pt x="4098267" y="3013257"/>
                    <a:pt x="4269985" y="3101171"/>
                  </a:cubicBezTo>
                  <a:cubicBezTo>
                    <a:pt x="4441681" y="3189062"/>
                    <a:pt x="4645187" y="3189062"/>
                    <a:pt x="4816882" y="3101171"/>
                  </a:cubicBezTo>
                  <a:cubicBezTo>
                    <a:pt x="4988601" y="3013257"/>
                    <a:pt x="5107564" y="2848168"/>
                    <a:pt x="5136642" y="2657475"/>
                  </a:cubicBezTo>
                  <a:lnTo>
                    <a:pt x="5657850" y="2657475"/>
                  </a:lnTo>
                  <a:lnTo>
                    <a:pt x="5657850" y="1714500"/>
                  </a:lnTo>
                  <a:cubicBezTo>
                    <a:pt x="5657850" y="1555349"/>
                    <a:pt x="5594642" y="1402718"/>
                    <a:pt x="5482114" y="1290184"/>
                  </a:cubicBezTo>
                  <a:cubicBezTo>
                    <a:pt x="5369586" y="1177650"/>
                    <a:pt x="5216938" y="1114425"/>
                    <a:pt x="5057781" y="1114425"/>
                  </a:cubicBezTo>
                  <a:close/>
                  <a:moveTo>
                    <a:pt x="3771900" y="171450"/>
                  </a:moveTo>
                  <a:lnTo>
                    <a:pt x="4327392" y="171450"/>
                  </a:lnTo>
                  <a:lnTo>
                    <a:pt x="4860608" y="1114425"/>
                  </a:lnTo>
                  <a:lnTo>
                    <a:pt x="3771900" y="1114425"/>
                  </a:lnTo>
                  <a:close/>
                  <a:moveTo>
                    <a:pt x="1285875" y="3000375"/>
                  </a:moveTo>
                  <a:cubicBezTo>
                    <a:pt x="1172198" y="3000375"/>
                    <a:pt x="1063167" y="2955215"/>
                    <a:pt x="982803" y="2874822"/>
                  </a:cubicBezTo>
                  <a:cubicBezTo>
                    <a:pt x="902416" y="2794458"/>
                    <a:pt x="857250" y="2685422"/>
                    <a:pt x="857250" y="2571750"/>
                  </a:cubicBezTo>
                  <a:cubicBezTo>
                    <a:pt x="857250" y="2458079"/>
                    <a:pt x="902410" y="2349042"/>
                    <a:pt x="982803" y="2268678"/>
                  </a:cubicBezTo>
                  <a:cubicBezTo>
                    <a:pt x="1063167" y="2188291"/>
                    <a:pt x="1172204" y="2143125"/>
                    <a:pt x="1285875" y="2143125"/>
                  </a:cubicBezTo>
                  <a:cubicBezTo>
                    <a:pt x="1399546" y="2143125"/>
                    <a:pt x="1508583" y="2188285"/>
                    <a:pt x="1588947" y="2268678"/>
                  </a:cubicBezTo>
                  <a:cubicBezTo>
                    <a:pt x="1669334" y="2349042"/>
                    <a:pt x="1714500" y="2458079"/>
                    <a:pt x="1714500" y="2571750"/>
                  </a:cubicBezTo>
                  <a:cubicBezTo>
                    <a:pt x="1714500" y="2685422"/>
                    <a:pt x="1669340" y="2794458"/>
                    <a:pt x="1588947" y="2874822"/>
                  </a:cubicBezTo>
                  <a:cubicBezTo>
                    <a:pt x="1508583" y="2955209"/>
                    <a:pt x="1399546" y="3000375"/>
                    <a:pt x="1285875" y="3000375"/>
                  </a:cubicBezTo>
                  <a:close/>
                  <a:moveTo>
                    <a:pt x="4543425" y="3000375"/>
                  </a:moveTo>
                  <a:cubicBezTo>
                    <a:pt x="4429748" y="3000375"/>
                    <a:pt x="4320717" y="2955215"/>
                    <a:pt x="4240353" y="2874822"/>
                  </a:cubicBezTo>
                  <a:cubicBezTo>
                    <a:pt x="4159966" y="2794458"/>
                    <a:pt x="4114800" y="2685422"/>
                    <a:pt x="4114800" y="2571750"/>
                  </a:cubicBezTo>
                  <a:cubicBezTo>
                    <a:pt x="4114800" y="2458079"/>
                    <a:pt x="4159960" y="2349042"/>
                    <a:pt x="4240353" y="2268678"/>
                  </a:cubicBezTo>
                  <a:cubicBezTo>
                    <a:pt x="4320717" y="2188291"/>
                    <a:pt x="4429754" y="2143125"/>
                    <a:pt x="4543425" y="2143125"/>
                  </a:cubicBezTo>
                  <a:cubicBezTo>
                    <a:pt x="4657097" y="2143125"/>
                    <a:pt x="4766133" y="2188285"/>
                    <a:pt x="4846497" y="2268678"/>
                  </a:cubicBezTo>
                  <a:cubicBezTo>
                    <a:pt x="4926885" y="2349042"/>
                    <a:pt x="4972050" y="2458079"/>
                    <a:pt x="4972050" y="2571750"/>
                  </a:cubicBezTo>
                  <a:cubicBezTo>
                    <a:pt x="4972050" y="2685422"/>
                    <a:pt x="4926890" y="2794458"/>
                    <a:pt x="4846497" y="2874822"/>
                  </a:cubicBezTo>
                  <a:cubicBezTo>
                    <a:pt x="4766133" y="2955209"/>
                    <a:pt x="4657097" y="3000375"/>
                    <a:pt x="4543425" y="3000375"/>
                  </a:cubicBezTo>
                  <a:close/>
                  <a:moveTo>
                    <a:pt x="5486400" y="2486025"/>
                  </a:moveTo>
                  <a:lnTo>
                    <a:pt x="5136642" y="2486025"/>
                  </a:lnTo>
                  <a:cubicBezTo>
                    <a:pt x="5107559" y="2295333"/>
                    <a:pt x="4988595" y="2130243"/>
                    <a:pt x="4816877" y="2042329"/>
                  </a:cubicBezTo>
                  <a:cubicBezTo>
                    <a:pt x="4645181" y="1954439"/>
                    <a:pt x="4441675" y="1954439"/>
                    <a:pt x="4269980" y="2042329"/>
                  </a:cubicBezTo>
                  <a:cubicBezTo>
                    <a:pt x="4098261" y="2130243"/>
                    <a:pt x="3979297" y="2295333"/>
                    <a:pt x="3950208" y="2486025"/>
                  </a:cubicBezTo>
                  <a:lnTo>
                    <a:pt x="1879092" y="2486025"/>
                  </a:lnTo>
                  <a:cubicBezTo>
                    <a:pt x="1850003" y="2295333"/>
                    <a:pt x="1731039" y="2130243"/>
                    <a:pt x="1559321" y="2042329"/>
                  </a:cubicBezTo>
                  <a:cubicBezTo>
                    <a:pt x="1387625" y="1954439"/>
                    <a:pt x="1184120" y="1954439"/>
                    <a:pt x="1012424" y="2042329"/>
                  </a:cubicBezTo>
                  <a:cubicBezTo>
                    <a:pt x="840705" y="2130243"/>
                    <a:pt x="721742" y="2295333"/>
                    <a:pt x="692652" y="2486025"/>
                  </a:cubicBezTo>
                  <a:lnTo>
                    <a:pt x="171450" y="2486025"/>
                  </a:lnTo>
                  <a:lnTo>
                    <a:pt x="171450" y="257175"/>
                  </a:lnTo>
                  <a:cubicBezTo>
                    <a:pt x="171450" y="234447"/>
                    <a:pt x="180491" y="212638"/>
                    <a:pt x="196567" y="196567"/>
                  </a:cubicBezTo>
                  <a:cubicBezTo>
                    <a:pt x="212638" y="180497"/>
                    <a:pt x="234446" y="171450"/>
                    <a:pt x="257169" y="171450"/>
                  </a:cubicBezTo>
                  <a:lnTo>
                    <a:pt x="3600450" y="171450"/>
                  </a:lnTo>
                  <a:lnTo>
                    <a:pt x="3600450" y="1285875"/>
                  </a:lnTo>
                  <a:lnTo>
                    <a:pt x="5057775" y="1285875"/>
                  </a:lnTo>
                  <a:cubicBezTo>
                    <a:pt x="5171447" y="1285875"/>
                    <a:pt x="5280489" y="1331041"/>
                    <a:pt x="5360842" y="1411428"/>
                  </a:cubicBezTo>
                  <a:cubicBezTo>
                    <a:pt x="5441252" y="1491792"/>
                    <a:pt x="5486400" y="1600829"/>
                    <a:pt x="5486400" y="1714500"/>
                  </a:cubicBezTo>
                  <a:close/>
                </a:path>
              </a:pathLst>
            </a:custGeom>
            <a:solidFill>
              <a:schemeClr val="bg1"/>
            </a:solidFill>
            <a:ln w="571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sp>
        <p:nvSpPr>
          <p:cNvPr id="175" name="Graphic 18">
            <a:extLst>
              <a:ext uri="{FF2B5EF4-FFF2-40B4-BE49-F238E27FC236}">
                <a16:creationId xmlns:a16="http://schemas.microsoft.com/office/drawing/2014/main" id="{9D5D9C06-DF45-84FF-3107-DF95ABCA795E}"/>
              </a:ext>
            </a:extLst>
          </p:cNvPr>
          <p:cNvSpPr/>
          <p:nvPr/>
        </p:nvSpPr>
        <p:spPr>
          <a:xfrm>
            <a:off x="2735715" y="4808519"/>
            <a:ext cx="577046" cy="666352"/>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grpSp>
        <p:nvGrpSpPr>
          <p:cNvPr id="3" name="Group 2">
            <a:extLst>
              <a:ext uri="{FF2B5EF4-FFF2-40B4-BE49-F238E27FC236}">
                <a16:creationId xmlns:a16="http://schemas.microsoft.com/office/drawing/2014/main" id="{C27A6E99-83EB-85B3-26FD-F1D20893F906}"/>
              </a:ext>
            </a:extLst>
          </p:cNvPr>
          <p:cNvGrpSpPr/>
          <p:nvPr/>
        </p:nvGrpSpPr>
        <p:grpSpPr>
          <a:xfrm>
            <a:off x="5596229" y="4808519"/>
            <a:ext cx="577046" cy="666352"/>
            <a:chOff x="-2808101" y="2048232"/>
            <a:chExt cx="577046" cy="666352"/>
          </a:xfrm>
        </p:grpSpPr>
        <p:sp>
          <p:nvSpPr>
            <p:cNvPr id="117" name="Graphic 18">
              <a:extLst>
                <a:ext uri="{FF2B5EF4-FFF2-40B4-BE49-F238E27FC236}">
                  <a16:creationId xmlns:a16="http://schemas.microsoft.com/office/drawing/2014/main" id="{307E195F-FCDE-B20C-C59A-919F5C525D56}"/>
                </a:ext>
              </a:extLst>
            </p:cNvPr>
            <p:cNvSpPr/>
            <p:nvPr/>
          </p:nvSpPr>
          <p:spPr>
            <a:xfrm>
              <a:off x="-2808101" y="2048232"/>
              <a:ext cx="577046" cy="666352"/>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sp>
          <p:nvSpPr>
            <p:cNvPr id="183" name="Freeform: Shape 182">
              <a:extLst>
                <a:ext uri="{FF2B5EF4-FFF2-40B4-BE49-F238E27FC236}">
                  <a16:creationId xmlns:a16="http://schemas.microsoft.com/office/drawing/2014/main" id="{FA3D32E5-BEE0-DAB4-7D89-E9E7B714B634}"/>
                </a:ext>
              </a:extLst>
            </p:cNvPr>
            <p:cNvSpPr/>
            <p:nvPr/>
          </p:nvSpPr>
          <p:spPr>
            <a:xfrm>
              <a:off x="-2757841" y="2144121"/>
              <a:ext cx="457102" cy="379480"/>
            </a:xfrm>
            <a:custGeom>
              <a:avLst/>
              <a:gdLst>
                <a:gd name="connsiteX0" fmla="*/ 6062497 w 6179046"/>
                <a:gd name="connsiteY0" fmla="*/ 4917170 h 5129785"/>
                <a:gd name="connsiteX1" fmla="*/ 5308116 w 6179046"/>
                <a:gd name="connsiteY1" fmla="*/ 4917170 h 5129785"/>
                <a:gd name="connsiteX2" fmla="*/ 5308116 w 6179046"/>
                <a:gd name="connsiteY2" fmla="*/ 1968230 h 5129785"/>
                <a:gd name="connsiteX3" fmla="*/ 5534442 w 6179046"/>
                <a:gd name="connsiteY3" fmla="*/ 2146532 h 5129785"/>
                <a:gd name="connsiteX4" fmla="*/ 5603022 w 6179046"/>
                <a:gd name="connsiteY4" fmla="*/ 2167115 h 5129785"/>
                <a:gd name="connsiteX5" fmla="*/ 5685307 w 6179046"/>
                <a:gd name="connsiteY5" fmla="*/ 2125972 h 5129785"/>
                <a:gd name="connsiteX6" fmla="*/ 5664723 w 6179046"/>
                <a:gd name="connsiteY6" fmla="*/ 1975108 h 5129785"/>
                <a:gd name="connsiteX7" fmla="*/ 3154695 w 6179046"/>
                <a:gd name="connsiteY7" fmla="*/ 20577 h 5129785"/>
                <a:gd name="connsiteX8" fmla="*/ 3024387 w 6179046"/>
                <a:gd name="connsiteY8" fmla="*/ 20577 h 5129785"/>
                <a:gd name="connsiteX9" fmla="*/ 500643 w 6179046"/>
                <a:gd name="connsiteY9" fmla="*/ 1975108 h 5129785"/>
                <a:gd name="connsiteX10" fmla="*/ 480060 w 6179046"/>
                <a:gd name="connsiteY10" fmla="*/ 2125972 h 5129785"/>
                <a:gd name="connsiteX11" fmla="*/ 630925 w 6179046"/>
                <a:gd name="connsiteY11" fmla="*/ 2146555 h 5129785"/>
                <a:gd name="connsiteX12" fmla="*/ 857250 w 6179046"/>
                <a:gd name="connsiteY12" fmla="*/ 1968253 h 5129785"/>
                <a:gd name="connsiteX13" fmla="*/ 857250 w 6179046"/>
                <a:gd name="connsiteY13" fmla="*/ 4917193 h 5129785"/>
                <a:gd name="connsiteX14" fmla="*/ 102870 w 6179046"/>
                <a:gd name="connsiteY14" fmla="*/ 4917193 h 5129785"/>
                <a:gd name="connsiteX15" fmla="*/ 0 w 6179046"/>
                <a:gd name="connsiteY15" fmla="*/ 5020063 h 5129785"/>
                <a:gd name="connsiteX16" fmla="*/ 109722 w 6179046"/>
                <a:gd name="connsiteY16" fmla="*/ 5129785 h 5129785"/>
                <a:gd name="connsiteX17" fmla="*/ 6069324 w 6179046"/>
                <a:gd name="connsiteY17" fmla="*/ 5129785 h 5129785"/>
                <a:gd name="connsiteX18" fmla="*/ 6179047 w 6179046"/>
                <a:gd name="connsiteY18" fmla="*/ 5020063 h 5129785"/>
                <a:gd name="connsiteX19" fmla="*/ 6062490 w 6179046"/>
                <a:gd name="connsiteY19" fmla="*/ 4917193 h 5129785"/>
                <a:gd name="connsiteX20" fmla="*/ 4505730 w 6179046"/>
                <a:gd name="connsiteY20" fmla="*/ 4917170 h 5129785"/>
                <a:gd name="connsiteX21" fmla="*/ 1666518 w 6179046"/>
                <a:gd name="connsiteY21" fmla="*/ 4917170 h 5129785"/>
                <a:gd name="connsiteX22" fmla="*/ 1666518 w 6179046"/>
                <a:gd name="connsiteY22" fmla="*/ 2304272 h 5129785"/>
                <a:gd name="connsiteX23" fmla="*/ 4505730 w 6179046"/>
                <a:gd name="connsiteY23" fmla="*/ 2304272 h 5129785"/>
                <a:gd name="connsiteX24" fmla="*/ 5095518 w 6179046"/>
                <a:gd name="connsiteY24" fmla="*/ 4917170 h 5129785"/>
                <a:gd name="connsiteX25" fmla="*/ 4718328 w 6179046"/>
                <a:gd name="connsiteY25" fmla="*/ 4917170 h 5129785"/>
                <a:gd name="connsiteX26" fmla="*/ 4718328 w 6179046"/>
                <a:gd name="connsiteY26" fmla="*/ 2201402 h 5129785"/>
                <a:gd name="connsiteX27" fmla="*/ 4608606 w 6179046"/>
                <a:gd name="connsiteY27" fmla="*/ 2091680 h 5129785"/>
                <a:gd name="connsiteX28" fmla="*/ 1563654 w 6179046"/>
                <a:gd name="connsiteY28" fmla="*/ 2091680 h 5129785"/>
                <a:gd name="connsiteX29" fmla="*/ 1453932 w 6179046"/>
                <a:gd name="connsiteY29" fmla="*/ 2201402 h 5129785"/>
                <a:gd name="connsiteX30" fmla="*/ 1453932 w 6179046"/>
                <a:gd name="connsiteY30" fmla="*/ 4917170 h 5129785"/>
                <a:gd name="connsiteX31" fmla="*/ 1076741 w 6179046"/>
                <a:gd name="connsiteY31" fmla="*/ 4917170 h 5129785"/>
                <a:gd name="connsiteX32" fmla="*/ 1076719 w 6179046"/>
                <a:gd name="connsiteY32" fmla="*/ 1803638 h 5129785"/>
                <a:gd name="connsiteX33" fmla="*/ 3086113 w 6179046"/>
                <a:gd name="connsiteY33" fmla="*/ 240014 h 5129785"/>
                <a:gd name="connsiteX34" fmla="*/ 5095507 w 6179046"/>
                <a:gd name="connsiteY34" fmla="*/ 1803638 h 5129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179046" h="5129785">
                  <a:moveTo>
                    <a:pt x="6062497" y="4917170"/>
                  </a:moveTo>
                  <a:lnTo>
                    <a:pt x="5308116" y="4917170"/>
                  </a:lnTo>
                  <a:lnTo>
                    <a:pt x="5308116" y="1968230"/>
                  </a:lnTo>
                  <a:lnTo>
                    <a:pt x="5534442" y="2146532"/>
                  </a:lnTo>
                  <a:cubicBezTo>
                    <a:pt x="5555024" y="2160239"/>
                    <a:pt x="5575585" y="2167115"/>
                    <a:pt x="5603022" y="2167115"/>
                  </a:cubicBezTo>
                  <a:cubicBezTo>
                    <a:pt x="5637312" y="2167115"/>
                    <a:pt x="5664749" y="2153409"/>
                    <a:pt x="5685307" y="2125972"/>
                  </a:cubicBezTo>
                  <a:cubicBezTo>
                    <a:pt x="5719597" y="2077975"/>
                    <a:pt x="5712743" y="2009398"/>
                    <a:pt x="5664723" y="1975108"/>
                  </a:cubicBezTo>
                  <a:lnTo>
                    <a:pt x="3154695" y="20577"/>
                  </a:lnTo>
                  <a:cubicBezTo>
                    <a:pt x="3113552" y="-6859"/>
                    <a:pt x="3065530" y="-6859"/>
                    <a:pt x="3024387" y="20577"/>
                  </a:cubicBezTo>
                  <a:lnTo>
                    <a:pt x="500643" y="1975108"/>
                  </a:lnTo>
                  <a:cubicBezTo>
                    <a:pt x="452646" y="2009398"/>
                    <a:pt x="445770" y="2077978"/>
                    <a:pt x="480060" y="2125972"/>
                  </a:cubicBezTo>
                  <a:cubicBezTo>
                    <a:pt x="514350" y="2173969"/>
                    <a:pt x="582930" y="2180845"/>
                    <a:pt x="630925" y="2146555"/>
                  </a:cubicBezTo>
                  <a:lnTo>
                    <a:pt x="857250" y="1968253"/>
                  </a:lnTo>
                  <a:lnTo>
                    <a:pt x="857250" y="4917193"/>
                  </a:lnTo>
                  <a:lnTo>
                    <a:pt x="102870" y="4917193"/>
                  </a:lnTo>
                  <a:cubicBezTo>
                    <a:pt x="47997" y="4917193"/>
                    <a:pt x="0" y="4965190"/>
                    <a:pt x="0" y="5020063"/>
                  </a:cubicBezTo>
                  <a:cubicBezTo>
                    <a:pt x="0" y="5074936"/>
                    <a:pt x="47997" y="5129785"/>
                    <a:pt x="109722" y="5129785"/>
                  </a:cubicBezTo>
                  <a:lnTo>
                    <a:pt x="6069324" y="5129785"/>
                  </a:lnTo>
                  <a:cubicBezTo>
                    <a:pt x="6131052" y="5129785"/>
                    <a:pt x="6179047" y="5081788"/>
                    <a:pt x="6179047" y="5020063"/>
                  </a:cubicBezTo>
                  <a:cubicBezTo>
                    <a:pt x="6179069" y="4958335"/>
                    <a:pt x="6124218" y="4917193"/>
                    <a:pt x="6062490" y="4917193"/>
                  </a:cubicBezTo>
                  <a:close/>
                  <a:moveTo>
                    <a:pt x="4505730" y="4917170"/>
                  </a:moveTo>
                  <a:lnTo>
                    <a:pt x="1666518" y="4917170"/>
                  </a:lnTo>
                  <a:lnTo>
                    <a:pt x="1666518" y="2304272"/>
                  </a:lnTo>
                  <a:lnTo>
                    <a:pt x="4505730" y="2304272"/>
                  </a:lnTo>
                  <a:close/>
                  <a:moveTo>
                    <a:pt x="5095518" y="4917170"/>
                  </a:moveTo>
                  <a:lnTo>
                    <a:pt x="4718328" y="4917170"/>
                  </a:lnTo>
                  <a:lnTo>
                    <a:pt x="4718328" y="2201402"/>
                  </a:lnTo>
                  <a:cubicBezTo>
                    <a:pt x="4718328" y="2139674"/>
                    <a:pt x="4670331" y="2091680"/>
                    <a:pt x="4608606" y="2091680"/>
                  </a:cubicBezTo>
                  <a:lnTo>
                    <a:pt x="1563654" y="2091680"/>
                  </a:lnTo>
                  <a:cubicBezTo>
                    <a:pt x="1501926" y="2091680"/>
                    <a:pt x="1453932" y="2139677"/>
                    <a:pt x="1453932" y="2201402"/>
                  </a:cubicBezTo>
                  <a:lnTo>
                    <a:pt x="1453932" y="4917170"/>
                  </a:lnTo>
                  <a:lnTo>
                    <a:pt x="1076741" y="4917170"/>
                  </a:lnTo>
                  <a:lnTo>
                    <a:pt x="1076719" y="1803638"/>
                  </a:lnTo>
                  <a:lnTo>
                    <a:pt x="3086113" y="240014"/>
                  </a:lnTo>
                  <a:lnTo>
                    <a:pt x="5095507" y="1803638"/>
                  </a:lnTo>
                  <a:close/>
                </a:path>
              </a:pathLst>
            </a:custGeom>
            <a:solidFill>
              <a:schemeClr val="bg1"/>
            </a:solidFill>
            <a:ln w="635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grpSp>
        <p:nvGrpSpPr>
          <p:cNvPr id="187" name="Group 186">
            <a:extLst>
              <a:ext uri="{FF2B5EF4-FFF2-40B4-BE49-F238E27FC236}">
                <a16:creationId xmlns:a16="http://schemas.microsoft.com/office/drawing/2014/main" id="{7CEBECE0-4D21-D108-8CF0-107F6496AE0F}"/>
              </a:ext>
            </a:extLst>
          </p:cNvPr>
          <p:cNvGrpSpPr/>
          <p:nvPr/>
        </p:nvGrpSpPr>
        <p:grpSpPr>
          <a:xfrm rot="10800000">
            <a:off x="5996986" y="2315797"/>
            <a:ext cx="176289" cy="320147"/>
            <a:chOff x="982713" y="3064651"/>
            <a:chExt cx="139179" cy="252754"/>
          </a:xfrm>
        </p:grpSpPr>
        <p:cxnSp>
          <p:nvCxnSpPr>
            <p:cNvPr id="188" name="Straight Connector 187">
              <a:extLst>
                <a:ext uri="{FF2B5EF4-FFF2-40B4-BE49-F238E27FC236}">
                  <a16:creationId xmlns:a16="http://schemas.microsoft.com/office/drawing/2014/main" id="{27413B5D-9DFD-17E8-6A1A-5DE6F7BC0A47}"/>
                </a:ext>
              </a:extLst>
            </p:cNvPr>
            <p:cNvCxnSpPr>
              <a:cxnSpLocks/>
            </p:cNvCxnSpPr>
            <p:nvPr/>
          </p:nvCxnSpPr>
          <p:spPr>
            <a:xfrm rot="10800000">
              <a:off x="1053792" y="3064651"/>
              <a:ext cx="0" cy="187881"/>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89" name="Oval 188">
              <a:extLst>
                <a:ext uri="{FF2B5EF4-FFF2-40B4-BE49-F238E27FC236}">
                  <a16:creationId xmlns:a16="http://schemas.microsoft.com/office/drawing/2014/main" id="{A715D059-DB43-0B51-1AB6-DBC928622A4D}"/>
                </a:ext>
              </a:extLst>
            </p:cNvPr>
            <p:cNvSpPr/>
            <p:nvPr/>
          </p:nvSpPr>
          <p:spPr>
            <a:xfrm>
              <a:off x="982713" y="3178228"/>
              <a:ext cx="139179" cy="139177"/>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a:ea typeface="+mn-ea"/>
                <a:cs typeface="+mn-cs"/>
              </a:endParaRPr>
            </a:p>
          </p:txBody>
        </p:sp>
      </p:grpSp>
      <p:grpSp>
        <p:nvGrpSpPr>
          <p:cNvPr id="190" name="Group 189">
            <a:extLst>
              <a:ext uri="{FF2B5EF4-FFF2-40B4-BE49-F238E27FC236}">
                <a16:creationId xmlns:a16="http://schemas.microsoft.com/office/drawing/2014/main" id="{F221B405-7317-9751-F01F-551350F94324}"/>
              </a:ext>
            </a:extLst>
          </p:cNvPr>
          <p:cNvGrpSpPr/>
          <p:nvPr/>
        </p:nvGrpSpPr>
        <p:grpSpPr>
          <a:xfrm rot="10800000">
            <a:off x="9112325" y="2315791"/>
            <a:ext cx="176289" cy="326834"/>
            <a:chOff x="982713" y="3059372"/>
            <a:chExt cx="139179" cy="258033"/>
          </a:xfrm>
        </p:grpSpPr>
        <p:cxnSp>
          <p:nvCxnSpPr>
            <p:cNvPr id="191" name="Straight Connector 190">
              <a:extLst>
                <a:ext uri="{FF2B5EF4-FFF2-40B4-BE49-F238E27FC236}">
                  <a16:creationId xmlns:a16="http://schemas.microsoft.com/office/drawing/2014/main" id="{E89BC222-487C-966A-469D-1D51123E3EC2}"/>
                </a:ext>
              </a:extLst>
            </p:cNvPr>
            <p:cNvCxnSpPr>
              <a:cxnSpLocks/>
            </p:cNvCxnSpPr>
            <p:nvPr/>
          </p:nvCxnSpPr>
          <p:spPr>
            <a:xfrm rot="10800000">
              <a:off x="1053792" y="3059372"/>
              <a:ext cx="0" cy="19316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92" name="Oval 191">
              <a:extLst>
                <a:ext uri="{FF2B5EF4-FFF2-40B4-BE49-F238E27FC236}">
                  <a16:creationId xmlns:a16="http://schemas.microsoft.com/office/drawing/2014/main" id="{B84DC71C-F962-164D-FBBA-155AA582DB11}"/>
                </a:ext>
              </a:extLst>
            </p:cNvPr>
            <p:cNvSpPr/>
            <p:nvPr/>
          </p:nvSpPr>
          <p:spPr>
            <a:xfrm>
              <a:off x="982713" y="3178228"/>
              <a:ext cx="139179" cy="139177"/>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a:ea typeface="+mn-ea"/>
                <a:cs typeface="+mn-cs"/>
              </a:endParaRPr>
            </a:p>
          </p:txBody>
        </p:sp>
      </p:grpSp>
      <p:grpSp>
        <p:nvGrpSpPr>
          <p:cNvPr id="193" name="Group 192">
            <a:extLst>
              <a:ext uri="{FF2B5EF4-FFF2-40B4-BE49-F238E27FC236}">
                <a16:creationId xmlns:a16="http://schemas.microsoft.com/office/drawing/2014/main" id="{B9EC22C5-7E68-5600-9D67-12AF0764C4C8}"/>
              </a:ext>
            </a:extLst>
          </p:cNvPr>
          <p:cNvGrpSpPr/>
          <p:nvPr/>
        </p:nvGrpSpPr>
        <p:grpSpPr>
          <a:xfrm>
            <a:off x="7335916" y="2984911"/>
            <a:ext cx="176289" cy="388791"/>
            <a:chOff x="982713" y="3010457"/>
            <a:chExt cx="139179" cy="306948"/>
          </a:xfrm>
        </p:grpSpPr>
        <p:cxnSp>
          <p:nvCxnSpPr>
            <p:cNvPr id="194" name="Straight Connector 193">
              <a:extLst>
                <a:ext uri="{FF2B5EF4-FFF2-40B4-BE49-F238E27FC236}">
                  <a16:creationId xmlns:a16="http://schemas.microsoft.com/office/drawing/2014/main" id="{305C98FB-807D-047E-D21E-9CAAD28527A6}"/>
                </a:ext>
              </a:extLst>
            </p:cNvPr>
            <p:cNvCxnSpPr>
              <a:cxnSpLocks/>
            </p:cNvCxnSpPr>
            <p:nvPr/>
          </p:nvCxnSpPr>
          <p:spPr>
            <a:xfrm flipH="1" flipV="1">
              <a:off x="1052303" y="3010457"/>
              <a:ext cx="1489" cy="242074"/>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95" name="Oval 194">
              <a:extLst>
                <a:ext uri="{FF2B5EF4-FFF2-40B4-BE49-F238E27FC236}">
                  <a16:creationId xmlns:a16="http://schemas.microsoft.com/office/drawing/2014/main" id="{B8D25D5B-18CF-5AD0-3F70-8901D32A61F2}"/>
                </a:ext>
              </a:extLst>
            </p:cNvPr>
            <p:cNvSpPr/>
            <p:nvPr/>
          </p:nvSpPr>
          <p:spPr>
            <a:xfrm>
              <a:off x="982713" y="3178228"/>
              <a:ext cx="139179" cy="139177"/>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a:ea typeface="+mn-ea"/>
                <a:cs typeface="+mn-cs"/>
              </a:endParaRPr>
            </a:p>
          </p:txBody>
        </p:sp>
      </p:grpSp>
      <p:grpSp>
        <p:nvGrpSpPr>
          <p:cNvPr id="196" name="Group 195">
            <a:extLst>
              <a:ext uri="{FF2B5EF4-FFF2-40B4-BE49-F238E27FC236}">
                <a16:creationId xmlns:a16="http://schemas.microsoft.com/office/drawing/2014/main" id="{DF475815-EEB5-3506-585C-4A9DE6F9FE45}"/>
              </a:ext>
            </a:extLst>
          </p:cNvPr>
          <p:cNvGrpSpPr/>
          <p:nvPr/>
        </p:nvGrpSpPr>
        <p:grpSpPr>
          <a:xfrm>
            <a:off x="9250272" y="2975144"/>
            <a:ext cx="176289" cy="388791"/>
            <a:chOff x="982713" y="3010457"/>
            <a:chExt cx="139179" cy="306948"/>
          </a:xfrm>
        </p:grpSpPr>
        <p:cxnSp>
          <p:nvCxnSpPr>
            <p:cNvPr id="197" name="Straight Connector 196">
              <a:extLst>
                <a:ext uri="{FF2B5EF4-FFF2-40B4-BE49-F238E27FC236}">
                  <a16:creationId xmlns:a16="http://schemas.microsoft.com/office/drawing/2014/main" id="{66D0704B-FEF5-24A7-D834-CE9EADFEE9FE}"/>
                </a:ext>
              </a:extLst>
            </p:cNvPr>
            <p:cNvCxnSpPr>
              <a:cxnSpLocks/>
            </p:cNvCxnSpPr>
            <p:nvPr/>
          </p:nvCxnSpPr>
          <p:spPr>
            <a:xfrm flipH="1" flipV="1">
              <a:off x="1052303" y="3010457"/>
              <a:ext cx="1489" cy="242074"/>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98" name="Oval 197">
              <a:extLst>
                <a:ext uri="{FF2B5EF4-FFF2-40B4-BE49-F238E27FC236}">
                  <a16:creationId xmlns:a16="http://schemas.microsoft.com/office/drawing/2014/main" id="{40DF7E4A-116D-25FF-1736-C5D68674F19D}"/>
                </a:ext>
              </a:extLst>
            </p:cNvPr>
            <p:cNvSpPr/>
            <p:nvPr/>
          </p:nvSpPr>
          <p:spPr>
            <a:xfrm>
              <a:off x="982713" y="3178228"/>
              <a:ext cx="139179" cy="139177"/>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a:ea typeface="+mn-ea"/>
                <a:cs typeface="+mn-cs"/>
              </a:endParaRPr>
            </a:p>
          </p:txBody>
        </p:sp>
      </p:grpSp>
      <p:grpSp>
        <p:nvGrpSpPr>
          <p:cNvPr id="199" name="Group 198">
            <a:extLst>
              <a:ext uri="{FF2B5EF4-FFF2-40B4-BE49-F238E27FC236}">
                <a16:creationId xmlns:a16="http://schemas.microsoft.com/office/drawing/2014/main" id="{C039E5E0-B7D0-E53D-7B7C-FEF474782F44}"/>
              </a:ext>
            </a:extLst>
          </p:cNvPr>
          <p:cNvGrpSpPr/>
          <p:nvPr/>
        </p:nvGrpSpPr>
        <p:grpSpPr>
          <a:xfrm>
            <a:off x="1250531" y="3059608"/>
            <a:ext cx="176289" cy="1635818"/>
            <a:chOff x="982713" y="3010457"/>
            <a:chExt cx="139179" cy="1336950"/>
          </a:xfrm>
        </p:grpSpPr>
        <p:cxnSp>
          <p:nvCxnSpPr>
            <p:cNvPr id="200" name="Straight Connector 199">
              <a:extLst>
                <a:ext uri="{FF2B5EF4-FFF2-40B4-BE49-F238E27FC236}">
                  <a16:creationId xmlns:a16="http://schemas.microsoft.com/office/drawing/2014/main" id="{2805F9B8-057E-4E5D-6908-9626F4E8B6F7}"/>
                </a:ext>
              </a:extLst>
            </p:cNvPr>
            <p:cNvCxnSpPr>
              <a:cxnSpLocks/>
              <a:stCxn id="201" idx="0"/>
            </p:cNvCxnSpPr>
            <p:nvPr/>
          </p:nvCxnSpPr>
          <p:spPr>
            <a:xfrm flipV="1">
              <a:off x="1052303" y="3010457"/>
              <a:ext cx="0" cy="1197773"/>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01" name="Oval 200">
              <a:extLst>
                <a:ext uri="{FF2B5EF4-FFF2-40B4-BE49-F238E27FC236}">
                  <a16:creationId xmlns:a16="http://schemas.microsoft.com/office/drawing/2014/main" id="{8833D24D-214B-7190-D7F0-4FD7EAB74B70}"/>
                </a:ext>
              </a:extLst>
            </p:cNvPr>
            <p:cNvSpPr/>
            <p:nvPr/>
          </p:nvSpPr>
          <p:spPr>
            <a:xfrm>
              <a:off x="982713" y="4208230"/>
              <a:ext cx="139179" cy="139177"/>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a:ea typeface="+mn-ea"/>
                <a:cs typeface="+mn-cs"/>
              </a:endParaRPr>
            </a:p>
          </p:txBody>
        </p:sp>
      </p:grpSp>
      <p:grpSp>
        <p:nvGrpSpPr>
          <p:cNvPr id="202" name="Group 201">
            <a:extLst>
              <a:ext uri="{FF2B5EF4-FFF2-40B4-BE49-F238E27FC236}">
                <a16:creationId xmlns:a16="http://schemas.microsoft.com/office/drawing/2014/main" id="{B23FA1A2-A01A-28F2-8729-3A9FD811A78B}"/>
              </a:ext>
            </a:extLst>
          </p:cNvPr>
          <p:cNvGrpSpPr/>
          <p:nvPr/>
        </p:nvGrpSpPr>
        <p:grpSpPr>
          <a:xfrm>
            <a:off x="3677325" y="3068281"/>
            <a:ext cx="176289" cy="1627145"/>
            <a:chOff x="982713" y="3010457"/>
            <a:chExt cx="139179" cy="1336950"/>
          </a:xfrm>
        </p:grpSpPr>
        <p:cxnSp>
          <p:nvCxnSpPr>
            <p:cNvPr id="203" name="Straight Connector 202">
              <a:extLst>
                <a:ext uri="{FF2B5EF4-FFF2-40B4-BE49-F238E27FC236}">
                  <a16:creationId xmlns:a16="http://schemas.microsoft.com/office/drawing/2014/main" id="{A57F4AD9-F1A2-E219-2653-739328DB57A9}"/>
                </a:ext>
              </a:extLst>
            </p:cNvPr>
            <p:cNvCxnSpPr>
              <a:cxnSpLocks/>
              <a:stCxn id="204" idx="0"/>
            </p:cNvCxnSpPr>
            <p:nvPr/>
          </p:nvCxnSpPr>
          <p:spPr>
            <a:xfrm flipV="1">
              <a:off x="1052303" y="3010457"/>
              <a:ext cx="0" cy="1197773"/>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04" name="Oval 203">
              <a:extLst>
                <a:ext uri="{FF2B5EF4-FFF2-40B4-BE49-F238E27FC236}">
                  <a16:creationId xmlns:a16="http://schemas.microsoft.com/office/drawing/2014/main" id="{C9AB884B-3C12-B217-8D06-042A7CFE6F14}"/>
                </a:ext>
              </a:extLst>
            </p:cNvPr>
            <p:cNvSpPr/>
            <p:nvPr/>
          </p:nvSpPr>
          <p:spPr>
            <a:xfrm>
              <a:off x="982713" y="4208230"/>
              <a:ext cx="139179" cy="139177"/>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a:ea typeface="+mn-ea"/>
                <a:cs typeface="+mn-cs"/>
              </a:endParaRPr>
            </a:p>
          </p:txBody>
        </p:sp>
      </p:grpSp>
      <p:grpSp>
        <p:nvGrpSpPr>
          <p:cNvPr id="205" name="Group 204">
            <a:extLst>
              <a:ext uri="{FF2B5EF4-FFF2-40B4-BE49-F238E27FC236}">
                <a16:creationId xmlns:a16="http://schemas.microsoft.com/office/drawing/2014/main" id="{984EBDD0-82E4-C743-A456-13DCDCD4D9A7}"/>
              </a:ext>
            </a:extLst>
          </p:cNvPr>
          <p:cNvGrpSpPr/>
          <p:nvPr/>
        </p:nvGrpSpPr>
        <p:grpSpPr>
          <a:xfrm>
            <a:off x="5411281" y="3068281"/>
            <a:ext cx="176289" cy="1881564"/>
            <a:chOff x="982713" y="2861924"/>
            <a:chExt cx="139179" cy="1485483"/>
          </a:xfrm>
        </p:grpSpPr>
        <p:cxnSp>
          <p:nvCxnSpPr>
            <p:cNvPr id="206" name="Straight Connector 205">
              <a:extLst>
                <a:ext uri="{FF2B5EF4-FFF2-40B4-BE49-F238E27FC236}">
                  <a16:creationId xmlns:a16="http://schemas.microsoft.com/office/drawing/2014/main" id="{FD2E5B78-F9F8-4D30-3B51-5F9CB8E8E3FE}"/>
                </a:ext>
              </a:extLst>
            </p:cNvPr>
            <p:cNvCxnSpPr>
              <a:cxnSpLocks/>
              <a:stCxn id="207" idx="0"/>
            </p:cNvCxnSpPr>
            <p:nvPr/>
          </p:nvCxnSpPr>
          <p:spPr>
            <a:xfrm flipV="1">
              <a:off x="1052303" y="2861924"/>
              <a:ext cx="0" cy="1346306"/>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07" name="Oval 206">
              <a:extLst>
                <a:ext uri="{FF2B5EF4-FFF2-40B4-BE49-F238E27FC236}">
                  <a16:creationId xmlns:a16="http://schemas.microsoft.com/office/drawing/2014/main" id="{A6636005-2269-8A51-60F8-0A13340B64C7}"/>
                </a:ext>
              </a:extLst>
            </p:cNvPr>
            <p:cNvSpPr/>
            <p:nvPr/>
          </p:nvSpPr>
          <p:spPr>
            <a:xfrm>
              <a:off x="982713" y="4208230"/>
              <a:ext cx="139179" cy="139177"/>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a:ea typeface="+mn-ea"/>
                <a:cs typeface="+mn-cs"/>
              </a:endParaRPr>
            </a:p>
          </p:txBody>
        </p:sp>
      </p:grpSp>
      <p:grpSp>
        <p:nvGrpSpPr>
          <p:cNvPr id="114" name="Group 113">
            <a:extLst>
              <a:ext uri="{FF2B5EF4-FFF2-40B4-BE49-F238E27FC236}">
                <a16:creationId xmlns:a16="http://schemas.microsoft.com/office/drawing/2014/main" id="{11E80DC9-7899-3244-4D35-264DEF375F68}"/>
              </a:ext>
            </a:extLst>
          </p:cNvPr>
          <p:cNvGrpSpPr/>
          <p:nvPr/>
        </p:nvGrpSpPr>
        <p:grpSpPr>
          <a:xfrm>
            <a:off x="5449261" y="1161033"/>
            <a:ext cx="541712" cy="290103"/>
            <a:chOff x="1733550" y="1090612"/>
            <a:chExt cx="8729441" cy="4674869"/>
          </a:xfrm>
          <a:solidFill>
            <a:schemeClr val="bg1"/>
          </a:solidFill>
        </p:grpSpPr>
        <p:sp>
          <p:nvSpPr>
            <p:cNvPr id="115" name="Freeform: Shape 114">
              <a:extLst>
                <a:ext uri="{FF2B5EF4-FFF2-40B4-BE49-F238E27FC236}">
                  <a16:creationId xmlns:a16="http://schemas.microsoft.com/office/drawing/2014/main" id="{8B5D6922-48C7-6E7F-0AF1-F8004BAC9698}"/>
                </a:ext>
              </a:extLst>
            </p:cNvPr>
            <p:cNvSpPr/>
            <p:nvPr/>
          </p:nvSpPr>
          <p:spPr>
            <a:xfrm>
              <a:off x="5644540" y="1090612"/>
              <a:ext cx="833221" cy="833056"/>
            </a:xfrm>
            <a:custGeom>
              <a:avLst/>
              <a:gdLst>
                <a:gd name="connsiteX0" fmla="*/ 413455 w 833221"/>
                <a:gd name="connsiteY0" fmla="*/ 833057 h 833056"/>
                <a:gd name="connsiteX1" fmla="*/ 833222 w 833221"/>
                <a:gd name="connsiteY1" fmla="*/ 419767 h 833056"/>
                <a:gd name="connsiteX2" fmla="*/ 419932 w 833221"/>
                <a:gd name="connsiteY2" fmla="*/ 0 h 833056"/>
                <a:gd name="connsiteX3" fmla="*/ 165 w 833221"/>
                <a:gd name="connsiteY3" fmla="*/ 413290 h 833056"/>
                <a:gd name="connsiteX4" fmla="*/ 413455 w 833221"/>
                <a:gd name="connsiteY4" fmla="*/ 833057 h 833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221" h="833056">
                  <a:moveTo>
                    <a:pt x="413455" y="833057"/>
                  </a:moveTo>
                  <a:cubicBezTo>
                    <a:pt x="643008" y="833057"/>
                    <a:pt x="826745" y="649415"/>
                    <a:pt x="833222" y="419767"/>
                  </a:cubicBezTo>
                  <a:cubicBezTo>
                    <a:pt x="833222" y="190214"/>
                    <a:pt x="649580" y="0"/>
                    <a:pt x="419932" y="0"/>
                  </a:cubicBezTo>
                  <a:cubicBezTo>
                    <a:pt x="190284" y="0"/>
                    <a:pt x="165" y="183642"/>
                    <a:pt x="165" y="413290"/>
                  </a:cubicBezTo>
                  <a:cubicBezTo>
                    <a:pt x="-6407" y="642842"/>
                    <a:pt x="183807" y="826580"/>
                    <a:pt x="413455" y="833057"/>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116" name="Freeform: Shape 115">
              <a:extLst>
                <a:ext uri="{FF2B5EF4-FFF2-40B4-BE49-F238E27FC236}">
                  <a16:creationId xmlns:a16="http://schemas.microsoft.com/office/drawing/2014/main" id="{1C62F60C-12DD-C89E-A0A2-6DC7136D7126}"/>
                </a:ext>
              </a:extLst>
            </p:cNvPr>
            <p:cNvSpPr/>
            <p:nvPr/>
          </p:nvSpPr>
          <p:spPr>
            <a:xfrm>
              <a:off x="5047868" y="2617088"/>
              <a:ext cx="9525" cy="34670"/>
            </a:xfrm>
            <a:custGeom>
              <a:avLst/>
              <a:gdLst>
                <a:gd name="connsiteX0" fmla="*/ 0 w 9525"/>
                <a:gd name="connsiteY0" fmla="*/ 34671 h 34670"/>
                <a:gd name="connsiteX1" fmla="*/ 0 w 9525"/>
                <a:gd name="connsiteY1" fmla="*/ 13907 h 34670"/>
                <a:gd name="connsiteX2" fmla="*/ 0 w 9525"/>
                <a:gd name="connsiteY2" fmla="*/ 0 h 34670"/>
                <a:gd name="connsiteX3" fmla="*/ 0 w 9525"/>
                <a:gd name="connsiteY3" fmla="*/ 34671 h 34670"/>
              </a:gdLst>
              <a:ahLst/>
              <a:cxnLst>
                <a:cxn ang="0">
                  <a:pos x="connsiteX0" y="connsiteY0"/>
                </a:cxn>
                <a:cxn ang="0">
                  <a:pos x="connsiteX1" y="connsiteY1"/>
                </a:cxn>
                <a:cxn ang="0">
                  <a:pos x="connsiteX2" y="connsiteY2"/>
                </a:cxn>
                <a:cxn ang="0">
                  <a:pos x="connsiteX3" y="connsiteY3"/>
                </a:cxn>
              </a:cxnLst>
              <a:rect l="l" t="t" r="r" b="b"/>
              <a:pathLst>
                <a:path w="9525" h="34670">
                  <a:moveTo>
                    <a:pt x="0" y="34671"/>
                  </a:moveTo>
                  <a:cubicBezTo>
                    <a:pt x="0" y="27813"/>
                    <a:pt x="0" y="20860"/>
                    <a:pt x="0" y="13907"/>
                  </a:cubicBezTo>
                  <a:cubicBezTo>
                    <a:pt x="0" y="9239"/>
                    <a:pt x="0" y="4572"/>
                    <a:pt x="0" y="0"/>
                  </a:cubicBezTo>
                  <a:lnTo>
                    <a:pt x="0" y="34671"/>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118" name="Freeform: Shape 117">
              <a:extLst>
                <a:ext uri="{FF2B5EF4-FFF2-40B4-BE49-F238E27FC236}">
                  <a16:creationId xmlns:a16="http://schemas.microsoft.com/office/drawing/2014/main" id="{09CB32DB-AF8C-B73B-0217-D0F4EB708644}"/>
                </a:ext>
              </a:extLst>
            </p:cNvPr>
            <p:cNvSpPr/>
            <p:nvPr/>
          </p:nvSpPr>
          <p:spPr>
            <a:xfrm>
              <a:off x="5047868" y="2022873"/>
              <a:ext cx="2036795" cy="825006"/>
            </a:xfrm>
            <a:custGeom>
              <a:avLst/>
              <a:gdLst>
                <a:gd name="connsiteX0" fmla="*/ 2036636 w 2036795"/>
                <a:gd name="connsiteY0" fmla="*/ 434862 h 825006"/>
                <a:gd name="connsiteX1" fmla="*/ 1547908 w 2036795"/>
                <a:gd name="connsiteY1" fmla="*/ 32050 h 825006"/>
                <a:gd name="connsiteX2" fmla="*/ 1547908 w 2036795"/>
                <a:gd name="connsiteY2" fmla="*/ 32050 h 825006"/>
                <a:gd name="connsiteX3" fmla="*/ 478727 w 2036795"/>
                <a:gd name="connsiteY3" fmla="*/ 32050 h 825006"/>
                <a:gd name="connsiteX4" fmla="*/ 13049 w 2036795"/>
                <a:gd name="connsiteY4" fmla="*/ 445340 h 825006"/>
                <a:gd name="connsiteX5" fmla="*/ 0 w 2036795"/>
                <a:gd name="connsiteY5" fmla="*/ 608217 h 825006"/>
                <a:gd name="connsiteX6" fmla="*/ 13049 w 2036795"/>
                <a:gd name="connsiteY6" fmla="*/ 718898 h 825006"/>
                <a:gd name="connsiteX7" fmla="*/ 92012 w 2036795"/>
                <a:gd name="connsiteY7" fmla="*/ 825006 h 825006"/>
                <a:gd name="connsiteX8" fmla="*/ 1875949 w 2036795"/>
                <a:gd name="connsiteY8" fmla="*/ 825006 h 825006"/>
                <a:gd name="connsiteX9" fmla="*/ 1875949 w 2036795"/>
                <a:gd name="connsiteY9" fmla="*/ 823959 h 825006"/>
                <a:gd name="connsiteX10" fmla="*/ 1878235 w 2036795"/>
                <a:gd name="connsiteY10" fmla="*/ 825006 h 825006"/>
                <a:gd name="connsiteX11" fmla="*/ 2020253 w 2036795"/>
                <a:gd name="connsiteY11" fmla="*/ 633649 h 825006"/>
                <a:gd name="connsiteX12" fmla="*/ 2036636 w 2036795"/>
                <a:gd name="connsiteY12" fmla="*/ 434862 h 82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6795" h="825006">
                  <a:moveTo>
                    <a:pt x="2036636" y="434862"/>
                  </a:moveTo>
                  <a:cubicBezTo>
                    <a:pt x="1970913" y="137873"/>
                    <a:pt x="1849660" y="71388"/>
                    <a:pt x="1547908" y="32050"/>
                  </a:cubicBezTo>
                  <a:lnTo>
                    <a:pt x="1547908" y="32050"/>
                  </a:lnTo>
                  <a:cubicBezTo>
                    <a:pt x="1193673" y="-13861"/>
                    <a:pt x="832961" y="-7384"/>
                    <a:pt x="478727" y="32050"/>
                  </a:cubicBezTo>
                  <a:cubicBezTo>
                    <a:pt x="216313" y="64816"/>
                    <a:pt x="65437" y="202547"/>
                    <a:pt x="13049" y="445340"/>
                  </a:cubicBezTo>
                  <a:cubicBezTo>
                    <a:pt x="1429" y="497537"/>
                    <a:pt x="95" y="554877"/>
                    <a:pt x="0" y="608217"/>
                  </a:cubicBezTo>
                  <a:cubicBezTo>
                    <a:pt x="191" y="644222"/>
                    <a:pt x="1524" y="684131"/>
                    <a:pt x="13049" y="718898"/>
                  </a:cubicBezTo>
                  <a:cubicBezTo>
                    <a:pt x="26194" y="758236"/>
                    <a:pt x="59246" y="805289"/>
                    <a:pt x="92012" y="825006"/>
                  </a:cubicBezTo>
                  <a:lnTo>
                    <a:pt x="1875949" y="825006"/>
                  </a:lnTo>
                  <a:lnTo>
                    <a:pt x="1875949" y="823959"/>
                  </a:lnTo>
                  <a:cubicBezTo>
                    <a:pt x="1876711" y="824339"/>
                    <a:pt x="1877473" y="824625"/>
                    <a:pt x="1878235" y="825006"/>
                  </a:cubicBezTo>
                  <a:cubicBezTo>
                    <a:pt x="1961960" y="785192"/>
                    <a:pt x="2017586" y="646508"/>
                    <a:pt x="2020253" y="633649"/>
                  </a:cubicBezTo>
                  <a:cubicBezTo>
                    <a:pt x="2029682" y="587072"/>
                    <a:pt x="2038064" y="550401"/>
                    <a:pt x="2036636" y="434862"/>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119" name="Freeform: Shape 118">
              <a:extLst>
                <a:ext uri="{FF2B5EF4-FFF2-40B4-BE49-F238E27FC236}">
                  <a16:creationId xmlns:a16="http://schemas.microsoft.com/office/drawing/2014/main" id="{C7846AEF-2F25-89F9-9A41-CEB67CAA9E69}"/>
                </a:ext>
              </a:extLst>
            </p:cNvPr>
            <p:cNvSpPr/>
            <p:nvPr/>
          </p:nvSpPr>
          <p:spPr>
            <a:xfrm>
              <a:off x="2330221" y="4008214"/>
              <a:ext cx="833221" cy="833056"/>
            </a:xfrm>
            <a:custGeom>
              <a:avLst/>
              <a:gdLst>
                <a:gd name="connsiteX0" fmla="*/ 413455 w 833221"/>
                <a:gd name="connsiteY0" fmla="*/ 833056 h 833056"/>
                <a:gd name="connsiteX1" fmla="*/ 833222 w 833221"/>
                <a:gd name="connsiteY1" fmla="*/ 419767 h 833056"/>
                <a:gd name="connsiteX2" fmla="*/ 419932 w 833221"/>
                <a:gd name="connsiteY2" fmla="*/ 0 h 833056"/>
                <a:gd name="connsiteX3" fmla="*/ 165 w 833221"/>
                <a:gd name="connsiteY3" fmla="*/ 413290 h 833056"/>
                <a:gd name="connsiteX4" fmla="*/ 413455 w 833221"/>
                <a:gd name="connsiteY4" fmla="*/ 833056 h 833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221" h="833056">
                  <a:moveTo>
                    <a:pt x="413455" y="833056"/>
                  </a:moveTo>
                  <a:cubicBezTo>
                    <a:pt x="643008" y="833056"/>
                    <a:pt x="826745" y="649414"/>
                    <a:pt x="833222" y="419767"/>
                  </a:cubicBezTo>
                  <a:cubicBezTo>
                    <a:pt x="833222" y="190214"/>
                    <a:pt x="649580" y="0"/>
                    <a:pt x="419932" y="0"/>
                  </a:cubicBezTo>
                  <a:cubicBezTo>
                    <a:pt x="190284" y="0"/>
                    <a:pt x="165" y="183642"/>
                    <a:pt x="165" y="413290"/>
                  </a:cubicBezTo>
                  <a:cubicBezTo>
                    <a:pt x="-6407" y="642842"/>
                    <a:pt x="183807" y="826580"/>
                    <a:pt x="413455" y="833056"/>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121" name="Freeform: Shape 120">
              <a:extLst>
                <a:ext uri="{FF2B5EF4-FFF2-40B4-BE49-F238E27FC236}">
                  <a16:creationId xmlns:a16="http://schemas.microsoft.com/office/drawing/2014/main" id="{42C9F06A-3821-3922-5EBB-97A2335D0726}"/>
                </a:ext>
              </a:extLst>
            </p:cNvPr>
            <p:cNvSpPr/>
            <p:nvPr/>
          </p:nvSpPr>
          <p:spPr>
            <a:xfrm>
              <a:off x="1733550" y="5534691"/>
              <a:ext cx="9525" cy="34670"/>
            </a:xfrm>
            <a:custGeom>
              <a:avLst/>
              <a:gdLst>
                <a:gd name="connsiteX0" fmla="*/ 0 w 9525"/>
                <a:gd name="connsiteY0" fmla="*/ 34671 h 34670"/>
                <a:gd name="connsiteX1" fmla="*/ 0 w 9525"/>
                <a:gd name="connsiteY1" fmla="*/ 13906 h 34670"/>
                <a:gd name="connsiteX2" fmla="*/ 0 w 9525"/>
                <a:gd name="connsiteY2" fmla="*/ 0 h 34670"/>
                <a:gd name="connsiteX3" fmla="*/ 0 w 9525"/>
                <a:gd name="connsiteY3" fmla="*/ 34671 h 34670"/>
              </a:gdLst>
              <a:ahLst/>
              <a:cxnLst>
                <a:cxn ang="0">
                  <a:pos x="connsiteX0" y="connsiteY0"/>
                </a:cxn>
                <a:cxn ang="0">
                  <a:pos x="connsiteX1" y="connsiteY1"/>
                </a:cxn>
                <a:cxn ang="0">
                  <a:pos x="connsiteX2" y="connsiteY2"/>
                </a:cxn>
                <a:cxn ang="0">
                  <a:pos x="connsiteX3" y="connsiteY3"/>
                </a:cxn>
              </a:cxnLst>
              <a:rect l="l" t="t" r="r" b="b"/>
              <a:pathLst>
                <a:path w="9525" h="34670">
                  <a:moveTo>
                    <a:pt x="0" y="34671"/>
                  </a:moveTo>
                  <a:cubicBezTo>
                    <a:pt x="0" y="27813"/>
                    <a:pt x="0" y="20860"/>
                    <a:pt x="0" y="13906"/>
                  </a:cubicBezTo>
                  <a:cubicBezTo>
                    <a:pt x="0" y="9239"/>
                    <a:pt x="0" y="4572"/>
                    <a:pt x="0" y="0"/>
                  </a:cubicBezTo>
                  <a:lnTo>
                    <a:pt x="0" y="34671"/>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122" name="Freeform: Shape 121">
              <a:extLst>
                <a:ext uri="{FF2B5EF4-FFF2-40B4-BE49-F238E27FC236}">
                  <a16:creationId xmlns:a16="http://schemas.microsoft.com/office/drawing/2014/main" id="{4734628A-F17B-27D1-9FDE-BB8C0BAAF884}"/>
                </a:ext>
              </a:extLst>
            </p:cNvPr>
            <p:cNvSpPr/>
            <p:nvPr/>
          </p:nvSpPr>
          <p:spPr>
            <a:xfrm>
              <a:off x="1733550" y="4940475"/>
              <a:ext cx="2036795" cy="824911"/>
            </a:xfrm>
            <a:custGeom>
              <a:avLst/>
              <a:gdLst>
                <a:gd name="connsiteX0" fmla="*/ 2036636 w 2036795"/>
                <a:gd name="connsiteY0" fmla="*/ 434862 h 824911"/>
                <a:gd name="connsiteX1" fmla="*/ 1547908 w 2036795"/>
                <a:gd name="connsiteY1" fmla="*/ 32050 h 824911"/>
                <a:gd name="connsiteX2" fmla="*/ 1547908 w 2036795"/>
                <a:gd name="connsiteY2" fmla="*/ 32050 h 824911"/>
                <a:gd name="connsiteX3" fmla="*/ 478726 w 2036795"/>
                <a:gd name="connsiteY3" fmla="*/ 32050 h 824911"/>
                <a:gd name="connsiteX4" fmla="*/ 13049 w 2036795"/>
                <a:gd name="connsiteY4" fmla="*/ 445340 h 824911"/>
                <a:gd name="connsiteX5" fmla="*/ 0 w 2036795"/>
                <a:gd name="connsiteY5" fmla="*/ 608122 h 824911"/>
                <a:gd name="connsiteX6" fmla="*/ 13049 w 2036795"/>
                <a:gd name="connsiteY6" fmla="*/ 718802 h 824911"/>
                <a:gd name="connsiteX7" fmla="*/ 92012 w 2036795"/>
                <a:gd name="connsiteY7" fmla="*/ 824911 h 824911"/>
                <a:gd name="connsiteX8" fmla="*/ 1875949 w 2036795"/>
                <a:gd name="connsiteY8" fmla="*/ 824911 h 824911"/>
                <a:gd name="connsiteX9" fmla="*/ 1875949 w 2036795"/>
                <a:gd name="connsiteY9" fmla="*/ 823863 h 824911"/>
                <a:gd name="connsiteX10" fmla="*/ 1878235 w 2036795"/>
                <a:gd name="connsiteY10" fmla="*/ 824911 h 824911"/>
                <a:gd name="connsiteX11" fmla="*/ 2020253 w 2036795"/>
                <a:gd name="connsiteY11" fmla="*/ 633554 h 824911"/>
                <a:gd name="connsiteX12" fmla="*/ 2036636 w 2036795"/>
                <a:gd name="connsiteY12" fmla="*/ 434767 h 824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6795" h="824911">
                  <a:moveTo>
                    <a:pt x="2036636" y="434862"/>
                  </a:moveTo>
                  <a:cubicBezTo>
                    <a:pt x="1970913" y="137873"/>
                    <a:pt x="1849660" y="71388"/>
                    <a:pt x="1547908" y="32050"/>
                  </a:cubicBezTo>
                  <a:lnTo>
                    <a:pt x="1547908" y="32050"/>
                  </a:lnTo>
                  <a:cubicBezTo>
                    <a:pt x="1193673" y="-13860"/>
                    <a:pt x="832961" y="-7384"/>
                    <a:pt x="478726" y="32050"/>
                  </a:cubicBezTo>
                  <a:cubicBezTo>
                    <a:pt x="216313" y="64816"/>
                    <a:pt x="65437" y="202548"/>
                    <a:pt x="13049" y="445340"/>
                  </a:cubicBezTo>
                  <a:cubicBezTo>
                    <a:pt x="1524" y="497441"/>
                    <a:pt x="191" y="554782"/>
                    <a:pt x="0" y="608122"/>
                  </a:cubicBezTo>
                  <a:cubicBezTo>
                    <a:pt x="191" y="644126"/>
                    <a:pt x="1524" y="684036"/>
                    <a:pt x="13049" y="718802"/>
                  </a:cubicBezTo>
                  <a:cubicBezTo>
                    <a:pt x="26194" y="758141"/>
                    <a:pt x="59245" y="805194"/>
                    <a:pt x="92012" y="824911"/>
                  </a:cubicBezTo>
                  <a:lnTo>
                    <a:pt x="1875949" y="824911"/>
                  </a:lnTo>
                  <a:lnTo>
                    <a:pt x="1875949" y="823863"/>
                  </a:lnTo>
                  <a:cubicBezTo>
                    <a:pt x="1876711" y="824244"/>
                    <a:pt x="1877473" y="824530"/>
                    <a:pt x="1878235" y="824911"/>
                  </a:cubicBezTo>
                  <a:cubicBezTo>
                    <a:pt x="1961960" y="785096"/>
                    <a:pt x="2017586" y="646412"/>
                    <a:pt x="2020253" y="633554"/>
                  </a:cubicBezTo>
                  <a:cubicBezTo>
                    <a:pt x="2029682" y="586976"/>
                    <a:pt x="2038064" y="550305"/>
                    <a:pt x="2036636" y="434767"/>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123" name="Freeform: Shape 122">
              <a:extLst>
                <a:ext uri="{FF2B5EF4-FFF2-40B4-BE49-F238E27FC236}">
                  <a16:creationId xmlns:a16="http://schemas.microsoft.com/office/drawing/2014/main" id="{438435AF-1F17-FB7B-33F7-5FEFCCF0EA39}"/>
                </a:ext>
              </a:extLst>
            </p:cNvPr>
            <p:cNvSpPr/>
            <p:nvPr/>
          </p:nvSpPr>
          <p:spPr>
            <a:xfrm>
              <a:off x="5676544" y="4008214"/>
              <a:ext cx="833221" cy="833056"/>
            </a:xfrm>
            <a:custGeom>
              <a:avLst/>
              <a:gdLst>
                <a:gd name="connsiteX0" fmla="*/ 413455 w 833221"/>
                <a:gd name="connsiteY0" fmla="*/ 833056 h 833056"/>
                <a:gd name="connsiteX1" fmla="*/ 833222 w 833221"/>
                <a:gd name="connsiteY1" fmla="*/ 419767 h 833056"/>
                <a:gd name="connsiteX2" fmla="*/ 419932 w 833221"/>
                <a:gd name="connsiteY2" fmla="*/ 0 h 833056"/>
                <a:gd name="connsiteX3" fmla="*/ 165 w 833221"/>
                <a:gd name="connsiteY3" fmla="*/ 413290 h 833056"/>
                <a:gd name="connsiteX4" fmla="*/ 413455 w 833221"/>
                <a:gd name="connsiteY4" fmla="*/ 833056 h 833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221" h="833056">
                  <a:moveTo>
                    <a:pt x="413455" y="833056"/>
                  </a:moveTo>
                  <a:cubicBezTo>
                    <a:pt x="643008" y="833056"/>
                    <a:pt x="826745" y="649414"/>
                    <a:pt x="833222" y="419767"/>
                  </a:cubicBezTo>
                  <a:cubicBezTo>
                    <a:pt x="833222" y="190214"/>
                    <a:pt x="649580" y="0"/>
                    <a:pt x="419932" y="0"/>
                  </a:cubicBezTo>
                  <a:cubicBezTo>
                    <a:pt x="190284" y="0"/>
                    <a:pt x="165" y="183642"/>
                    <a:pt x="165" y="413290"/>
                  </a:cubicBezTo>
                  <a:cubicBezTo>
                    <a:pt x="-6407" y="642842"/>
                    <a:pt x="183807" y="826580"/>
                    <a:pt x="413455" y="833056"/>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124" name="Freeform: Shape 123">
              <a:extLst>
                <a:ext uri="{FF2B5EF4-FFF2-40B4-BE49-F238E27FC236}">
                  <a16:creationId xmlns:a16="http://schemas.microsoft.com/office/drawing/2014/main" id="{4AA89459-D56D-B995-62E5-319252A45EEF}"/>
                </a:ext>
              </a:extLst>
            </p:cNvPr>
            <p:cNvSpPr/>
            <p:nvPr/>
          </p:nvSpPr>
          <p:spPr>
            <a:xfrm>
              <a:off x="5079873" y="5534691"/>
              <a:ext cx="9525" cy="34670"/>
            </a:xfrm>
            <a:custGeom>
              <a:avLst/>
              <a:gdLst>
                <a:gd name="connsiteX0" fmla="*/ 0 w 9525"/>
                <a:gd name="connsiteY0" fmla="*/ 34671 h 34670"/>
                <a:gd name="connsiteX1" fmla="*/ 0 w 9525"/>
                <a:gd name="connsiteY1" fmla="*/ 13906 h 34670"/>
                <a:gd name="connsiteX2" fmla="*/ 0 w 9525"/>
                <a:gd name="connsiteY2" fmla="*/ 0 h 34670"/>
                <a:gd name="connsiteX3" fmla="*/ 0 w 9525"/>
                <a:gd name="connsiteY3" fmla="*/ 34671 h 34670"/>
              </a:gdLst>
              <a:ahLst/>
              <a:cxnLst>
                <a:cxn ang="0">
                  <a:pos x="connsiteX0" y="connsiteY0"/>
                </a:cxn>
                <a:cxn ang="0">
                  <a:pos x="connsiteX1" y="connsiteY1"/>
                </a:cxn>
                <a:cxn ang="0">
                  <a:pos x="connsiteX2" y="connsiteY2"/>
                </a:cxn>
                <a:cxn ang="0">
                  <a:pos x="connsiteX3" y="connsiteY3"/>
                </a:cxn>
              </a:cxnLst>
              <a:rect l="l" t="t" r="r" b="b"/>
              <a:pathLst>
                <a:path w="9525" h="34670">
                  <a:moveTo>
                    <a:pt x="0" y="34671"/>
                  </a:moveTo>
                  <a:cubicBezTo>
                    <a:pt x="0" y="27813"/>
                    <a:pt x="0" y="20860"/>
                    <a:pt x="0" y="13906"/>
                  </a:cubicBezTo>
                  <a:cubicBezTo>
                    <a:pt x="0" y="9239"/>
                    <a:pt x="0" y="4572"/>
                    <a:pt x="0" y="0"/>
                  </a:cubicBezTo>
                  <a:lnTo>
                    <a:pt x="0" y="34671"/>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127" name="Freeform: Shape 126">
              <a:extLst>
                <a:ext uri="{FF2B5EF4-FFF2-40B4-BE49-F238E27FC236}">
                  <a16:creationId xmlns:a16="http://schemas.microsoft.com/office/drawing/2014/main" id="{83A2B148-128D-CEA0-7D42-3E2702E7A359}"/>
                </a:ext>
              </a:extLst>
            </p:cNvPr>
            <p:cNvSpPr/>
            <p:nvPr/>
          </p:nvSpPr>
          <p:spPr>
            <a:xfrm>
              <a:off x="5079873" y="4940475"/>
              <a:ext cx="2036795" cy="825006"/>
            </a:xfrm>
            <a:custGeom>
              <a:avLst/>
              <a:gdLst>
                <a:gd name="connsiteX0" fmla="*/ 2036636 w 2036795"/>
                <a:gd name="connsiteY0" fmla="*/ 434862 h 825006"/>
                <a:gd name="connsiteX1" fmla="*/ 1547908 w 2036795"/>
                <a:gd name="connsiteY1" fmla="*/ 32050 h 825006"/>
                <a:gd name="connsiteX2" fmla="*/ 1547908 w 2036795"/>
                <a:gd name="connsiteY2" fmla="*/ 32050 h 825006"/>
                <a:gd name="connsiteX3" fmla="*/ 478726 w 2036795"/>
                <a:gd name="connsiteY3" fmla="*/ 32050 h 825006"/>
                <a:gd name="connsiteX4" fmla="*/ 13049 w 2036795"/>
                <a:gd name="connsiteY4" fmla="*/ 445340 h 825006"/>
                <a:gd name="connsiteX5" fmla="*/ 0 w 2036795"/>
                <a:gd name="connsiteY5" fmla="*/ 608217 h 825006"/>
                <a:gd name="connsiteX6" fmla="*/ 13049 w 2036795"/>
                <a:gd name="connsiteY6" fmla="*/ 718898 h 825006"/>
                <a:gd name="connsiteX7" fmla="*/ 92012 w 2036795"/>
                <a:gd name="connsiteY7" fmla="*/ 825006 h 825006"/>
                <a:gd name="connsiteX8" fmla="*/ 1875949 w 2036795"/>
                <a:gd name="connsiteY8" fmla="*/ 825006 h 825006"/>
                <a:gd name="connsiteX9" fmla="*/ 1875949 w 2036795"/>
                <a:gd name="connsiteY9" fmla="*/ 823958 h 825006"/>
                <a:gd name="connsiteX10" fmla="*/ 1878235 w 2036795"/>
                <a:gd name="connsiteY10" fmla="*/ 825006 h 825006"/>
                <a:gd name="connsiteX11" fmla="*/ 2020252 w 2036795"/>
                <a:gd name="connsiteY11" fmla="*/ 633649 h 825006"/>
                <a:gd name="connsiteX12" fmla="*/ 2036636 w 2036795"/>
                <a:gd name="connsiteY12" fmla="*/ 434862 h 82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6795" h="825006">
                  <a:moveTo>
                    <a:pt x="2036636" y="434862"/>
                  </a:moveTo>
                  <a:cubicBezTo>
                    <a:pt x="1970913" y="137873"/>
                    <a:pt x="1849660" y="71388"/>
                    <a:pt x="1547908" y="32050"/>
                  </a:cubicBezTo>
                  <a:lnTo>
                    <a:pt x="1547908" y="32050"/>
                  </a:lnTo>
                  <a:cubicBezTo>
                    <a:pt x="1193673" y="-13860"/>
                    <a:pt x="832961" y="-7384"/>
                    <a:pt x="478726" y="32050"/>
                  </a:cubicBezTo>
                  <a:cubicBezTo>
                    <a:pt x="216313" y="64816"/>
                    <a:pt x="65437" y="202548"/>
                    <a:pt x="13049" y="445340"/>
                  </a:cubicBezTo>
                  <a:cubicBezTo>
                    <a:pt x="1429" y="497537"/>
                    <a:pt x="95" y="554877"/>
                    <a:pt x="0" y="608217"/>
                  </a:cubicBezTo>
                  <a:cubicBezTo>
                    <a:pt x="190" y="644222"/>
                    <a:pt x="1524" y="684132"/>
                    <a:pt x="13049" y="718898"/>
                  </a:cubicBezTo>
                  <a:cubicBezTo>
                    <a:pt x="26194" y="758236"/>
                    <a:pt x="59246" y="805290"/>
                    <a:pt x="92012" y="825006"/>
                  </a:cubicBezTo>
                  <a:lnTo>
                    <a:pt x="1875949" y="825006"/>
                  </a:lnTo>
                  <a:lnTo>
                    <a:pt x="1875949" y="823958"/>
                  </a:lnTo>
                  <a:cubicBezTo>
                    <a:pt x="1876711" y="824340"/>
                    <a:pt x="1877473" y="824625"/>
                    <a:pt x="1878235" y="825006"/>
                  </a:cubicBezTo>
                  <a:cubicBezTo>
                    <a:pt x="1961959" y="785192"/>
                    <a:pt x="2017586" y="646508"/>
                    <a:pt x="2020252" y="633649"/>
                  </a:cubicBezTo>
                  <a:cubicBezTo>
                    <a:pt x="2029682" y="587072"/>
                    <a:pt x="2038064" y="550400"/>
                    <a:pt x="2036636" y="434862"/>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130" name="Freeform: Shape 129">
              <a:extLst>
                <a:ext uri="{FF2B5EF4-FFF2-40B4-BE49-F238E27FC236}">
                  <a16:creationId xmlns:a16="http://schemas.microsoft.com/office/drawing/2014/main" id="{2C04A7CB-B771-9DD6-7674-99F6F2DE07F1}"/>
                </a:ext>
              </a:extLst>
            </p:cNvPr>
            <p:cNvSpPr/>
            <p:nvPr/>
          </p:nvSpPr>
          <p:spPr>
            <a:xfrm>
              <a:off x="9022867" y="4008214"/>
              <a:ext cx="833222" cy="833056"/>
            </a:xfrm>
            <a:custGeom>
              <a:avLst/>
              <a:gdLst>
                <a:gd name="connsiteX0" fmla="*/ 413455 w 833222"/>
                <a:gd name="connsiteY0" fmla="*/ 833056 h 833056"/>
                <a:gd name="connsiteX1" fmla="*/ 833222 w 833222"/>
                <a:gd name="connsiteY1" fmla="*/ 419767 h 833056"/>
                <a:gd name="connsiteX2" fmla="*/ 419932 w 833222"/>
                <a:gd name="connsiteY2" fmla="*/ 0 h 833056"/>
                <a:gd name="connsiteX3" fmla="*/ 165 w 833222"/>
                <a:gd name="connsiteY3" fmla="*/ 413290 h 833056"/>
                <a:gd name="connsiteX4" fmla="*/ 413455 w 833222"/>
                <a:gd name="connsiteY4" fmla="*/ 833056 h 833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222" h="833056">
                  <a:moveTo>
                    <a:pt x="413455" y="833056"/>
                  </a:moveTo>
                  <a:cubicBezTo>
                    <a:pt x="643008" y="833056"/>
                    <a:pt x="826745" y="649414"/>
                    <a:pt x="833222" y="419767"/>
                  </a:cubicBezTo>
                  <a:cubicBezTo>
                    <a:pt x="833222" y="190214"/>
                    <a:pt x="649580" y="0"/>
                    <a:pt x="419932" y="0"/>
                  </a:cubicBezTo>
                  <a:cubicBezTo>
                    <a:pt x="190285" y="0"/>
                    <a:pt x="165" y="183642"/>
                    <a:pt x="165" y="413290"/>
                  </a:cubicBezTo>
                  <a:cubicBezTo>
                    <a:pt x="-6407" y="642842"/>
                    <a:pt x="183808" y="826580"/>
                    <a:pt x="413455" y="833056"/>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135" name="Freeform: Shape 134">
              <a:extLst>
                <a:ext uri="{FF2B5EF4-FFF2-40B4-BE49-F238E27FC236}">
                  <a16:creationId xmlns:a16="http://schemas.microsoft.com/office/drawing/2014/main" id="{65DF205E-F365-11D3-5768-81D2E1045ED7}"/>
                </a:ext>
              </a:extLst>
            </p:cNvPr>
            <p:cNvSpPr/>
            <p:nvPr/>
          </p:nvSpPr>
          <p:spPr>
            <a:xfrm>
              <a:off x="8426196" y="5534691"/>
              <a:ext cx="9525" cy="34670"/>
            </a:xfrm>
            <a:custGeom>
              <a:avLst/>
              <a:gdLst>
                <a:gd name="connsiteX0" fmla="*/ 0 w 9525"/>
                <a:gd name="connsiteY0" fmla="*/ 34671 h 34670"/>
                <a:gd name="connsiteX1" fmla="*/ 0 w 9525"/>
                <a:gd name="connsiteY1" fmla="*/ 13906 h 34670"/>
                <a:gd name="connsiteX2" fmla="*/ 0 w 9525"/>
                <a:gd name="connsiteY2" fmla="*/ 0 h 34670"/>
                <a:gd name="connsiteX3" fmla="*/ 0 w 9525"/>
                <a:gd name="connsiteY3" fmla="*/ 34671 h 34670"/>
              </a:gdLst>
              <a:ahLst/>
              <a:cxnLst>
                <a:cxn ang="0">
                  <a:pos x="connsiteX0" y="connsiteY0"/>
                </a:cxn>
                <a:cxn ang="0">
                  <a:pos x="connsiteX1" y="connsiteY1"/>
                </a:cxn>
                <a:cxn ang="0">
                  <a:pos x="connsiteX2" y="connsiteY2"/>
                </a:cxn>
                <a:cxn ang="0">
                  <a:pos x="connsiteX3" y="connsiteY3"/>
                </a:cxn>
              </a:cxnLst>
              <a:rect l="l" t="t" r="r" b="b"/>
              <a:pathLst>
                <a:path w="9525" h="34670">
                  <a:moveTo>
                    <a:pt x="0" y="34671"/>
                  </a:moveTo>
                  <a:cubicBezTo>
                    <a:pt x="0" y="27813"/>
                    <a:pt x="0" y="20860"/>
                    <a:pt x="0" y="13906"/>
                  </a:cubicBezTo>
                  <a:cubicBezTo>
                    <a:pt x="0" y="9239"/>
                    <a:pt x="0" y="4572"/>
                    <a:pt x="0" y="0"/>
                  </a:cubicBezTo>
                  <a:lnTo>
                    <a:pt x="0" y="34671"/>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136" name="Freeform: Shape 135">
              <a:extLst>
                <a:ext uri="{FF2B5EF4-FFF2-40B4-BE49-F238E27FC236}">
                  <a16:creationId xmlns:a16="http://schemas.microsoft.com/office/drawing/2014/main" id="{3C062A4F-3A6C-3D40-5EFD-6679FFB532C3}"/>
                </a:ext>
              </a:extLst>
            </p:cNvPr>
            <p:cNvSpPr/>
            <p:nvPr/>
          </p:nvSpPr>
          <p:spPr>
            <a:xfrm>
              <a:off x="8426196" y="4940475"/>
              <a:ext cx="2036795" cy="825006"/>
            </a:xfrm>
            <a:custGeom>
              <a:avLst/>
              <a:gdLst>
                <a:gd name="connsiteX0" fmla="*/ 2036636 w 2036795"/>
                <a:gd name="connsiteY0" fmla="*/ 434862 h 825006"/>
                <a:gd name="connsiteX1" fmla="*/ 1547908 w 2036795"/>
                <a:gd name="connsiteY1" fmla="*/ 32050 h 825006"/>
                <a:gd name="connsiteX2" fmla="*/ 1547908 w 2036795"/>
                <a:gd name="connsiteY2" fmla="*/ 32050 h 825006"/>
                <a:gd name="connsiteX3" fmla="*/ 478727 w 2036795"/>
                <a:gd name="connsiteY3" fmla="*/ 32050 h 825006"/>
                <a:gd name="connsiteX4" fmla="*/ 13049 w 2036795"/>
                <a:gd name="connsiteY4" fmla="*/ 445340 h 825006"/>
                <a:gd name="connsiteX5" fmla="*/ 0 w 2036795"/>
                <a:gd name="connsiteY5" fmla="*/ 608217 h 825006"/>
                <a:gd name="connsiteX6" fmla="*/ 13049 w 2036795"/>
                <a:gd name="connsiteY6" fmla="*/ 718898 h 825006"/>
                <a:gd name="connsiteX7" fmla="*/ 92011 w 2036795"/>
                <a:gd name="connsiteY7" fmla="*/ 825006 h 825006"/>
                <a:gd name="connsiteX8" fmla="*/ 1875949 w 2036795"/>
                <a:gd name="connsiteY8" fmla="*/ 825006 h 825006"/>
                <a:gd name="connsiteX9" fmla="*/ 1875949 w 2036795"/>
                <a:gd name="connsiteY9" fmla="*/ 823958 h 825006"/>
                <a:gd name="connsiteX10" fmla="*/ 1878235 w 2036795"/>
                <a:gd name="connsiteY10" fmla="*/ 825006 h 825006"/>
                <a:gd name="connsiteX11" fmla="*/ 2020252 w 2036795"/>
                <a:gd name="connsiteY11" fmla="*/ 633649 h 825006"/>
                <a:gd name="connsiteX12" fmla="*/ 2036636 w 2036795"/>
                <a:gd name="connsiteY12" fmla="*/ 434862 h 82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6795" h="825006">
                  <a:moveTo>
                    <a:pt x="2036636" y="434862"/>
                  </a:moveTo>
                  <a:cubicBezTo>
                    <a:pt x="1970913" y="137873"/>
                    <a:pt x="1849660" y="71388"/>
                    <a:pt x="1547908" y="32050"/>
                  </a:cubicBezTo>
                  <a:lnTo>
                    <a:pt x="1547908" y="32050"/>
                  </a:lnTo>
                  <a:cubicBezTo>
                    <a:pt x="1193673" y="-13860"/>
                    <a:pt x="832961" y="-7384"/>
                    <a:pt x="478727" y="32050"/>
                  </a:cubicBezTo>
                  <a:cubicBezTo>
                    <a:pt x="216312" y="64816"/>
                    <a:pt x="65437" y="202548"/>
                    <a:pt x="13049" y="445340"/>
                  </a:cubicBezTo>
                  <a:cubicBezTo>
                    <a:pt x="1428" y="497537"/>
                    <a:pt x="95" y="554877"/>
                    <a:pt x="0" y="608217"/>
                  </a:cubicBezTo>
                  <a:cubicBezTo>
                    <a:pt x="190" y="644222"/>
                    <a:pt x="1524" y="684132"/>
                    <a:pt x="13049" y="718898"/>
                  </a:cubicBezTo>
                  <a:cubicBezTo>
                    <a:pt x="26194" y="758236"/>
                    <a:pt x="59245" y="805290"/>
                    <a:pt x="92011" y="825006"/>
                  </a:cubicBezTo>
                  <a:lnTo>
                    <a:pt x="1875949" y="825006"/>
                  </a:lnTo>
                  <a:lnTo>
                    <a:pt x="1875949" y="823958"/>
                  </a:lnTo>
                  <a:cubicBezTo>
                    <a:pt x="1876711" y="824340"/>
                    <a:pt x="1877473" y="824625"/>
                    <a:pt x="1878235" y="825006"/>
                  </a:cubicBezTo>
                  <a:cubicBezTo>
                    <a:pt x="1961959" y="785192"/>
                    <a:pt x="2017586" y="646508"/>
                    <a:pt x="2020252" y="633649"/>
                  </a:cubicBezTo>
                  <a:cubicBezTo>
                    <a:pt x="2029682" y="587072"/>
                    <a:pt x="2038064" y="550400"/>
                    <a:pt x="2036636" y="434862"/>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137" name="Freeform: Shape 136">
              <a:extLst>
                <a:ext uri="{FF2B5EF4-FFF2-40B4-BE49-F238E27FC236}">
                  <a16:creationId xmlns:a16="http://schemas.microsoft.com/office/drawing/2014/main" id="{38880517-B865-28C0-B969-C6D393B368DE}"/>
                </a:ext>
              </a:extLst>
            </p:cNvPr>
            <p:cNvSpPr/>
            <p:nvPr/>
          </p:nvSpPr>
          <p:spPr>
            <a:xfrm>
              <a:off x="3993667" y="2624422"/>
              <a:ext cx="833221" cy="833056"/>
            </a:xfrm>
            <a:custGeom>
              <a:avLst/>
              <a:gdLst>
                <a:gd name="connsiteX0" fmla="*/ 413455 w 833221"/>
                <a:gd name="connsiteY0" fmla="*/ 833057 h 833056"/>
                <a:gd name="connsiteX1" fmla="*/ 833222 w 833221"/>
                <a:gd name="connsiteY1" fmla="*/ 419767 h 833056"/>
                <a:gd name="connsiteX2" fmla="*/ 419932 w 833221"/>
                <a:gd name="connsiteY2" fmla="*/ 0 h 833056"/>
                <a:gd name="connsiteX3" fmla="*/ 165 w 833221"/>
                <a:gd name="connsiteY3" fmla="*/ 413290 h 833056"/>
                <a:gd name="connsiteX4" fmla="*/ 413455 w 833221"/>
                <a:gd name="connsiteY4" fmla="*/ 833057 h 833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221" h="833056">
                  <a:moveTo>
                    <a:pt x="413455" y="833057"/>
                  </a:moveTo>
                  <a:cubicBezTo>
                    <a:pt x="643008" y="833057"/>
                    <a:pt x="826745" y="649415"/>
                    <a:pt x="833222" y="419767"/>
                  </a:cubicBezTo>
                  <a:cubicBezTo>
                    <a:pt x="833222" y="190214"/>
                    <a:pt x="649580" y="0"/>
                    <a:pt x="419932" y="0"/>
                  </a:cubicBezTo>
                  <a:cubicBezTo>
                    <a:pt x="190284" y="0"/>
                    <a:pt x="165" y="183642"/>
                    <a:pt x="165" y="413290"/>
                  </a:cubicBezTo>
                  <a:cubicBezTo>
                    <a:pt x="-6407" y="642842"/>
                    <a:pt x="183807" y="826580"/>
                    <a:pt x="413455" y="833057"/>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138" name="Freeform: Shape 137">
              <a:extLst>
                <a:ext uri="{FF2B5EF4-FFF2-40B4-BE49-F238E27FC236}">
                  <a16:creationId xmlns:a16="http://schemas.microsoft.com/office/drawing/2014/main" id="{9D7053DB-3507-B749-6AF1-D2F2B54DA4E6}"/>
                </a:ext>
              </a:extLst>
            </p:cNvPr>
            <p:cNvSpPr/>
            <p:nvPr/>
          </p:nvSpPr>
          <p:spPr>
            <a:xfrm>
              <a:off x="3396995" y="4150899"/>
              <a:ext cx="9525" cy="34670"/>
            </a:xfrm>
            <a:custGeom>
              <a:avLst/>
              <a:gdLst>
                <a:gd name="connsiteX0" fmla="*/ 0 w 9525"/>
                <a:gd name="connsiteY0" fmla="*/ 34671 h 34670"/>
                <a:gd name="connsiteX1" fmla="*/ 0 w 9525"/>
                <a:gd name="connsiteY1" fmla="*/ 13906 h 34670"/>
                <a:gd name="connsiteX2" fmla="*/ 0 w 9525"/>
                <a:gd name="connsiteY2" fmla="*/ 0 h 34670"/>
                <a:gd name="connsiteX3" fmla="*/ 0 w 9525"/>
                <a:gd name="connsiteY3" fmla="*/ 34671 h 34670"/>
              </a:gdLst>
              <a:ahLst/>
              <a:cxnLst>
                <a:cxn ang="0">
                  <a:pos x="connsiteX0" y="connsiteY0"/>
                </a:cxn>
                <a:cxn ang="0">
                  <a:pos x="connsiteX1" y="connsiteY1"/>
                </a:cxn>
                <a:cxn ang="0">
                  <a:pos x="connsiteX2" y="connsiteY2"/>
                </a:cxn>
                <a:cxn ang="0">
                  <a:pos x="connsiteX3" y="connsiteY3"/>
                </a:cxn>
              </a:cxnLst>
              <a:rect l="l" t="t" r="r" b="b"/>
              <a:pathLst>
                <a:path w="9525" h="34670">
                  <a:moveTo>
                    <a:pt x="0" y="34671"/>
                  </a:moveTo>
                  <a:cubicBezTo>
                    <a:pt x="0" y="27813"/>
                    <a:pt x="0" y="20860"/>
                    <a:pt x="0" y="13906"/>
                  </a:cubicBezTo>
                  <a:cubicBezTo>
                    <a:pt x="0" y="9239"/>
                    <a:pt x="0" y="4572"/>
                    <a:pt x="0" y="0"/>
                  </a:cubicBezTo>
                  <a:lnTo>
                    <a:pt x="0" y="34671"/>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139" name="Freeform: Shape 138">
              <a:extLst>
                <a:ext uri="{FF2B5EF4-FFF2-40B4-BE49-F238E27FC236}">
                  <a16:creationId xmlns:a16="http://schemas.microsoft.com/office/drawing/2014/main" id="{AB5E3099-47B0-3EB5-ACCD-FAFCA766475C}"/>
                </a:ext>
              </a:extLst>
            </p:cNvPr>
            <p:cNvSpPr/>
            <p:nvPr/>
          </p:nvSpPr>
          <p:spPr>
            <a:xfrm>
              <a:off x="3396995" y="3556683"/>
              <a:ext cx="2036795" cy="825006"/>
            </a:xfrm>
            <a:custGeom>
              <a:avLst/>
              <a:gdLst>
                <a:gd name="connsiteX0" fmla="*/ 2036635 w 2036795"/>
                <a:gd name="connsiteY0" fmla="*/ 434862 h 825006"/>
                <a:gd name="connsiteX1" fmla="*/ 1547908 w 2036795"/>
                <a:gd name="connsiteY1" fmla="*/ 32050 h 825006"/>
                <a:gd name="connsiteX2" fmla="*/ 1547908 w 2036795"/>
                <a:gd name="connsiteY2" fmla="*/ 32050 h 825006"/>
                <a:gd name="connsiteX3" fmla="*/ 478726 w 2036795"/>
                <a:gd name="connsiteY3" fmla="*/ 32050 h 825006"/>
                <a:gd name="connsiteX4" fmla="*/ 13049 w 2036795"/>
                <a:gd name="connsiteY4" fmla="*/ 445340 h 825006"/>
                <a:gd name="connsiteX5" fmla="*/ 0 w 2036795"/>
                <a:gd name="connsiteY5" fmla="*/ 608217 h 825006"/>
                <a:gd name="connsiteX6" fmla="*/ 13049 w 2036795"/>
                <a:gd name="connsiteY6" fmla="*/ 718898 h 825006"/>
                <a:gd name="connsiteX7" fmla="*/ 92012 w 2036795"/>
                <a:gd name="connsiteY7" fmla="*/ 825006 h 825006"/>
                <a:gd name="connsiteX8" fmla="*/ 1875949 w 2036795"/>
                <a:gd name="connsiteY8" fmla="*/ 825006 h 825006"/>
                <a:gd name="connsiteX9" fmla="*/ 1875949 w 2036795"/>
                <a:gd name="connsiteY9" fmla="*/ 823958 h 825006"/>
                <a:gd name="connsiteX10" fmla="*/ 1878235 w 2036795"/>
                <a:gd name="connsiteY10" fmla="*/ 825006 h 825006"/>
                <a:gd name="connsiteX11" fmla="*/ 2020252 w 2036795"/>
                <a:gd name="connsiteY11" fmla="*/ 633649 h 825006"/>
                <a:gd name="connsiteX12" fmla="*/ 2036635 w 2036795"/>
                <a:gd name="connsiteY12" fmla="*/ 434862 h 82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6795" h="825006">
                  <a:moveTo>
                    <a:pt x="2036635" y="434862"/>
                  </a:moveTo>
                  <a:cubicBezTo>
                    <a:pt x="1970913" y="137873"/>
                    <a:pt x="1849660" y="71388"/>
                    <a:pt x="1547908" y="32050"/>
                  </a:cubicBezTo>
                  <a:lnTo>
                    <a:pt x="1547908" y="32050"/>
                  </a:lnTo>
                  <a:cubicBezTo>
                    <a:pt x="1193673" y="-13860"/>
                    <a:pt x="832961" y="-7384"/>
                    <a:pt x="478726" y="32050"/>
                  </a:cubicBezTo>
                  <a:cubicBezTo>
                    <a:pt x="216313" y="64816"/>
                    <a:pt x="65437" y="202548"/>
                    <a:pt x="13049" y="445340"/>
                  </a:cubicBezTo>
                  <a:cubicBezTo>
                    <a:pt x="1429" y="497537"/>
                    <a:pt x="95" y="554877"/>
                    <a:pt x="0" y="608217"/>
                  </a:cubicBezTo>
                  <a:cubicBezTo>
                    <a:pt x="191" y="644222"/>
                    <a:pt x="1524" y="684132"/>
                    <a:pt x="13049" y="718898"/>
                  </a:cubicBezTo>
                  <a:cubicBezTo>
                    <a:pt x="26194" y="758236"/>
                    <a:pt x="59246" y="805290"/>
                    <a:pt x="92012" y="825006"/>
                  </a:cubicBezTo>
                  <a:lnTo>
                    <a:pt x="1875949" y="825006"/>
                  </a:lnTo>
                  <a:lnTo>
                    <a:pt x="1875949" y="823958"/>
                  </a:lnTo>
                  <a:cubicBezTo>
                    <a:pt x="1876711" y="824340"/>
                    <a:pt x="1877473" y="824625"/>
                    <a:pt x="1878235" y="825006"/>
                  </a:cubicBezTo>
                  <a:cubicBezTo>
                    <a:pt x="1961960" y="785192"/>
                    <a:pt x="2017585" y="646508"/>
                    <a:pt x="2020252" y="633649"/>
                  </a:cubicBezTo>
                  <a:cubicBezTo>
                    <a:pt x="2029682" y="587072"/>
                    <a:pt x="2038064" y="550400"/>
                    <a:pt x="2036635" y="434862"/>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140" name="Freeform: Shape 139">
              <a:extLst>
                <a:ext uri="{FF2B5EF4-FFF2-40B4-BE49-F238E27FC236}">
                  <a16:creationId xmlns:a16="http://schemas.microsoft.com/office/drawing/2014/main" id="{9D5EDB89-9EA5-4B68-360C-F28115EE7CDA}"/>
                </a:ext>
              </a:extLst>
            </p:cNvPr>
            <p:cNvSpPr/>
            <p:nvPr/>
          </p:nvSpPr>
          <p:spPr>
            <a:xfrm>
              <a:off x="7339990" y="2624422"/>
              <a:ext cx="833222" cy="833056"/>
            </a:xfrm>
            <a:custGeom>
              <a:avLst/>
              <a:gdLst>
                <a:gd name="connsiteX0" fmla="*/ 413455 w 833222"/>
                <a:gd name="connsiteY0" fmla="*/ 833057 h 833056"/>
                <a:gd name="connsiteX1" fmla="*/ 833222 w 833222"/>
                <a:gd name="connsiteY1" fmla="*/ 419767 h 833056"/>
                <a:gd name="connsiteX2" fmla="*/ 419932 w 833222"/>
                <a:gd name="connsiteY2" fmla="*/ 0 h 833056"/>
                <a:gd name="connsiteX3" fmla="*/ 165 w 833222"/>
                <a:gd name="connsiteY3" fmla="*/ 413290 h 833056"/>
                <a:gd name="connsiteX4" fmla="*/ 413455 w 833222"/>
                <a:gd name="connsiteY4" fmla="*/ 833057 h 833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222" h="833056">
                  <a:moveTo>
                    <a:pt x="413455" y="833057"/>
                  </a:moveTo>
                  <a:cubicBezTo>
                    <a:pt x="643008" y="833057"/>
                    <a:pt x="826745" y="649415"/>
                    <a:pt x="833222" y="419767"/>
                  </a:cubicBezTo>
                  <a:cubicBezTo>
                    <a:pt x="833222" y="190214"/>
                    <a:pt x="649580" y="0"/>
                    <a:pt x="419932" y="0"/>
                  </a:cubicBezTo>
                  <a:cubicBezTo>
                    <a:pt x="190285" y="0"/>
                    <a:pt x="165" y="183642"/>
                    <a:pt x="165" y="413290"/>
                  </a:cubicBezTo>
                  <a:cubicBezTo>
                    <a:pt x="-6407" y="642842"/>
                    <a:pt x="183808" y="826580"/>
                    <a:pt x="413455" y="833057"/>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141" name="Freeform: Shape 140">
              <a:extLst>
                <a:ext uri="{FF2B5EF4-FFF2-40B4-BE49-F238E27FC236}">
                  <a16:creationId xmlns:a16="http://schemas.microsoft.com/office/drawing/2014/main" id="{4243CD29-A541-79A5-0E2A-275B097858B5}"/>
                </a:ext>
              </a:extLst>
            </p:cNvPr>
            <p:cNvSpPr/>
            <p:nvPr/>
          </p:nvSpPr>
          <p:spPr>
            <a:xfrm>
              <a:off x="6743319" y="4150899"/>
              <a:ext cx="9525" cy="34670"/>
            </a:xfrm>
            <a:custGeom>
              <a:avLst/>
              <a:gdLst>
                <a:gd name="connsiteX0" fmla="*/ 0 w 9525"/>
                <a:gd name="connsiteY0" fmla="*/ 34671 h 34670"/>
                <a:gd name="connsiteX1" fmla="*/ 0 w 9525"/>
                <a:gd name="connsiteY1" fmla="*/ 13906 h 34670"/>
                <a:gd name="connsiteX2" fmla="*/ 0 w 9525"/>
                <a:gd name="connsiteY2" fmla="*/ 0 h 34670"/>
                <a:gd name="connsiteX3" fmla="*/ 0 w 9525"/>
                <a:gd name="connsiteY3" fmla="*/ 34671 h 34670"/>
              </a:gdLst>
              <a:ahLst/>
              <a:cxnLst>
                <a:cxn ang="0">
                  <a:pos x="connsiteX0" y="connsiteY0"/>
                </a:cxn>
                <a:cxn ang="0">
                  <a:pos x="connsiteX1" y="connsiteY1"/>
                </a:cxn>
                <a:cxn ang="0">
                  <a:pos x="connsiteX2" y="connsiteY2"/>
                </a:cxn>
                <a:cxn ang="0">
                  <a:pos x="connsiteX3" y="connsiteY3"/>
                </a:cxn>
              </a:cxnLst>
              <a:rect l="l" t="t" r="r" b="b"/>
              <a:pathLst>
                <a:path w="9525" h="34670">
                  <a:moveTo>
                    <a:pt x="0" y="34671"/>
                  </a:moveTo>
                  <a:cubicBezTo>
                    <a:pt x="0" y="27813"/>
                    <a:pt x="0" y="20860"/>
                    <a:pt x="0" y="13906"/>
                  </a:cubicBezTo>
                  <a:cubicBezTo>
                    <a:pt x="0" y="9239"/>
                    <a:pt x="0" y="4572"/>
                    <a:pt x="0" y="0"/>
                  </a:cubicBezTo>
                  <a:lnTo>
                    <a:pt x="0" y="34671"/>
                  </a:ln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143" name="Freeform: Shape 142">
              <a:extLst>
                <a:ext uri="{FF2B5EF4-FFF2-40B4-BE49-F238E27FC236}">
                  <a16:creationId xmlns:a16="http://schemas.microsoft.com/office/drawing/2014/main" id="{5E75C664-6587-059B-426C-EC7D0DA54A63}"/>
                </a:ext>
              </a:extLst>
            </p:cNvPr>
            <p:cNvSpPr/>
            <p:nvPr/>
          </p:nvSpPr>
          <p:spPr>
            <a:xfrm>
              <a:off x="6743319" y="3556683"/>
              <a:ext cx="2036795" cy="825006"/>
            </a:xfrm>
            <a:custGeom>
              <a:avLst/>
              <a:gdLst>
                <a:gd name="connsiteX0" fmla="*/ 2036636 w 2036795"/>
                <a:gd name="connsiteY0" fmla="*/ 434862 h 825006"/>
                <a:gd name="connsiteX1" fmla="*/ 1547907 w 2036795"/>
                <a:gd name="connsiteY1" fmla="*/ 32050 h 825006"/>
                <a:gd name="connsiteX2" fmla="*/ 1547907 w 2036795"/>
                <a:gd name="connsiteY2" fmla="*/ 32050 h 825006"/>
                <a:gd name="connsiteX3" fmla="*/ 478726 w 2036795"/>
                <a:gd name="connsiteY3" fmla="*/ 32050 h 825006"/>
                <a:gd name="connsiteX4" fmla="*/ 13049 w 2036795"/>
                <a:gd name="connsiteY4" fmla="*/ 445340 h 825006"/>
                <a:gd name="connsiteX5" fmla="*/ 0 w 2036795"/>
                <a:gd name="connsiteY5" fmla="*/ 608217 h 825006"/>
                <a:gd name="connsiteX6" fmla="*/ 13049 w 2036795"/>
                <a:gd name="connsiteY6" fmla="*/ 718898 h 825006"/>
                <a:gd name="connsiteX7" fmla="*/ 92011 w 2036795"/>
                <a:gd name="connsiteY7" fmla="*/ 825006 h 825006"/>
                <a:gd name="connsiteX8" fmla="*/ 1875948 w 2036795"/>
                <a:gd name="connsiteY8" fmla="*/ 825006 h 825006"/>
                <a:gd name="connsiteX9" fmla="*/ 1875948 w 2036795"/>
                <a:gd name="connsiteY9" fmla="*/ 823958 h 825006"/>
                <a:gd name="connsiteX10" fmla="*/ 1878235 w 2036795"/>
                <a:gd name="connsiteY10" fmla="*/ 825006 h 825006"/>
                <a:gd name="connsiteX11" fmla="*/ 2020252 w 2036795"/>
                <a:gd name="connsiteY11" fmla="*/ 633649 h 825006"/>
                <a:gd name="connsiteX12" fmla="*/ 2036636 w 2036795"/>
                <a:gd name="connsiteY12" fmla="*/ 434862 h 82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6795" h="825006">
                  <a:moveTo>
                    <a:pt x="2036636" y="434862"/>
                  </a:moveTo>
                  <a:cubicBezTo>
                    <a:pt x="1970913" y="137873"/>
                    <a:pt x="1849660" y="71388"/>
                    <a:pt x="1547907" y="32050"/>
                  </a:cubicBezTo>
                  <a:lnTo>
                    <a:pt x="1547907" y="32050"/>
                  </a:lnTo>
                  <a:cubicBezTo>
                    <a:pt x="1193673" y="-13860"/>
                    <a:pt x="832961" y="-7384"/>
                    <a:pt x="478726" y="32050"/>
                  </a:cubicBezTo>
                  <a:cubicBezTo>
                    <a:pt x="216312" y="64816"/>
                    <a:pt x="65437" y="202548"/>
                    <a:pt x="13049" y="445340"/>
                  </a:cubicBezTo>
                  <a:cubicBezTo>
                    <a:pt x="1428" y="497537"/>
                    <a:pt x="95" y="554877"/>
                    <a:pt x="0" y="608217"/>
                  </a:cubicBezTo>
                  <a:cubicBezTo>
                    <a:pt x="190" y="644222"/>
                    <a:pt x="1524" y="684132"/>
                    <a:pt x="13049" y="718898"/>
                  </a:cubicBezTo>
                  <a:cubicBezTo>
                    <a:pt x="26194" y="758236"/>
                    <a:pt x="59245" y="805290"/>
                    <a:pt x="92011" y="825006"/>
                  </a:cubicBezTo>
                  <a:lnTo>
                    <a:pt x="1875948" y="825006"/>
                  </a:lnTo>
                  <a:lnTo>
                    <a:pt x="1875948" y="823958"/>
                  </a:lnTo>
                  <a:cubicBezTo>
                    <a:pt x="1876711" y="824340"/>
                    <a:pt x="1877473" y="824625"/>
                    <a:pt x="1878235" y="825006"/>
                  </a:cubicBezTo>
                  <a:cubicBezTo>
                    <a:pt x="1961959" y="785192"/>
                    <a:pt x="2017586" y="646508"/>
                    <a:pt x="2020252" y="633649"/>
                  </a:cubicBezTo>
                  <a:cubicBezTo>
                    <a:pt x="2029682" y="587072"/>
                    <a:pt x="2038064" y="550400"/>
                    <a:pt x="2036636" y="434862"/>
                  </a:cubicBezTo>
                  <a:close/>
                </a:path>
              </a:pathLst>
            </a:custGeom>
            <a:grp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pic>
        <p:nvPicPr>
          <p:cNvPr id="145" name="Graphic 144">
            <a:extLst>
              <a:ext uri="{FF2B5EF4-FFF2-40B4-BE49-F238E27FC236}">
                <a16:creationId xmlns:a16="http://schemas.microsoft.com/office/drawing/2014/main" id="{F8D15FAA-0785-3A66-419D-625C50A9C60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843363" y="4938922"/>
            <a:ext cx="424784" cy="424784"/>
          </a:xfrm>
          <a:prstGeom prst="rect">
            <a:avLst/>
          </a:prstGeom>
        </p:spPr>
      </p:pic>
      <p:grpSp>
        <p:nvGrpSpPr>
          <p:cNvPr id="23" name="Group 22">
            <a:extLst>
              <a:ext uri="{FF2B5EF4-FFF2-40B4-BE49-F238E27FC236}">
                <a16:creationId xmlns:a16="http://schemas.microsoft.com/office/drawing/2014/main" id="{F8F3C4A1-3979-3AED-25CD-D72A1864E566}"/>
              </a:ext>
            </a:extLst>
          </p:cNvPr>
          <p:cNvGrpSpPr/>
          <p:nvPr/>
        </p:nvGrpSpPr>
        <p:grpSpPr>
          <a:xfrm>
            <a:off x="8177024" y="996253"/>
            <a:ext cx="577046" cy="666352"/>
            <a:chOff x="8177024" y="996253"/>
            <a:chExt cx="577046" cy="666352"/>
          </a:xfrm>
        </p:grpSpPr>
        <p:sp>
          <p:nvSpPr>
            <p:cNvPr id="87" name="Graphic 18">
              <a:extLst>
                <a:ext uri="{FF2B5EF4-FFF2-40B4-BE49-F238E27FC236}">
                  <a16:creationId xmlns:a16="http://schemas.microsoft.com/office/drawing/2014/main" id="{891DB109-F716-62F5-4102-BA2FB7FDEEDA}"/>
                </a:ext>
              </a:extLst>
            </p:cNvPr>
            <p:cNvSpPr/>
            <p:nvPr/>
          </p:nvSpPr>
          <p:spPr>
            <a:xfrm>
              <a:off x="8177024" y="996253"/>
              <a:ext cx="577046" cy="666352"/>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accent1"/>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pic>
          <p:nvPicPr>
            <p:cNvPr id="147" name="Graphic 146">
              <a:extLst>
                <a:ext uri="{FF2B5EF4-FFF2-40B4-BE49-F238E27FC236}">
                  <a16:creationId xmlns:a16="http://schemas.microsoft.com/office/drawing/2014/main" id="{2725C5C4-7DC5-8990-614E-90DBC7D2A1D5}"/>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8290487" y="1157083"/>
              <a:ext cx="342965" cy="342403"/>
            </a:xfrm>
            <a:prstGeom prst="rect">
              <a:avLst/>
            </a:prstGeom>
          </p:spPr>
        </p:pic>
      </p:grpSp>
      <p:sp>
        <p:nvSpPr>
          <p:cNvPr id="148" name="TextBox 147">
            <a:extLst>
              <a:ext uri="{FF2B5EF4-FFF2-40B4-BE49-F238E27FC236}">
                <a16:creationId xmlns:a16="http://schemas.microsoft.com/office/drawing/2014/main" id="{01A3A3BC-7A76-9224-8B21-1AB92FE72AA1}"/>
              </a:ext>
            </a:extLst>
          </p:cNvPr>
          <p:cNvSpPr txBox="1"/>
          <p:nvPr/>
        </p:nvSpPr>
        <p:spPr>
          <a:xfrm>
            <a:off x="10363200" y="527172"/>
            <a:ext cx="1597378" cy="261610"/>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y-GB" sz="1100" b="1" i="0" u="none" strike="noStrike" kern="1200" cap="none" spc="0" normalizeH="0" baseline="0" noProof="0">
                <a:ln>
                  <a:noFill/>
                </a:ln>
                <a:solidFill>
                  <a:srgbClr val="00326E"/>
                </a:solidFill>
                <a:effectLst/>
                <a:uLnTx/>
                <a:uFillTx/>
                <a:latin typeface="Roboto Condensed"/>
                <a:ea typeface="+mn-ea"/>
                <a:cs typeface="+mn-cs"/>
              </a:rPr>
              <a:t>*subject to change</a:t>
            </a:r>
            <a:endParaRPr kumimoji="0" lang="en-GB" sz="1100" b="1" i="0" u="none" strike="noStrike" kern="1200" cap="none" spc="0" normalizeH="0" baseline="0" noProof="0">
              <a:ln>
                <a:noFill/>
              </a:ln>
              <a:solidFill>
                <a:srgbClr val="00326E"/>
              </a:solidFill>
              <a:effectLst/>
              <a:uLnTx/>
              <a:uFillTx/>
              <a:latin typeface="Roboto Condensed"/>
              <a:ea typeface="+mn-ea"/>
              <a:cs typeface="+mn-cs"/>
            </a:endParaRPr>
          </a:p>
        </p:txBody>
      </p:sp>
      <p:grpSp>
        <p:nvGrpSpPr>
          <p:cNvPr id="105" name="Group 104">
            <a:extLst>
              <a:ext uri="{FF2B5EF4-FFF2-40B4-BE49-F238E27FC236}">
                <a16:creationId xmlns:a16="http://schemas.microsoft.com/office/drawing/2014/main" id="{908E22F8-3E71-BE7F-FD76-05B761B9D3E5}"/>
              </a:ext>
            </a:extLst>
          </p:cNvPr>
          <p:cNvGrpSpPr/>
          <p:nvPr/>
        </p:nvGrpSpPr>
        <p:grpSpPr>
          <a:xfrm>
            <a:off x="5743666" y="2975144"/>
            <a:ext cx="176289" cy="388791"/>
            <a:chOff x="982713" y="3010457"/>
            <a:chExt cx="139179" cy="306948"/>
          </a:xfrm>
        </p:grpSpPr>
        <p:cxnSp>
          <p:nvCxnSpPr>
            <p:cNvPr id="106" name="Straight Connector 105">
              <a:extLst>
                <a:ext uri="{FF2B5EF4-FFF2-40B4-BE49-F238E27FC236}">
                  <a16:creationId xmlns:a16="http://schemas.microsoft.com/office/drawing/2014/main" id="{0C8AA0A4-14CD-BC31-CF67-0962C3DB777F}"/>
                </a:ext>
              </a:extLst>
            </p:cNvPr>
            <p:cNvCxnSpPr>
              <a:cxnSpLocks/>
            </p:cNvCxnSpPr>
            <p:nvPr/>
          </p:nvCxnSpPr>
          <p:spPr>
            <a:xfrm flipH="1" flipV="1">
              <a:off x="1052303" y="3010457"/>
              <a:ext cx="1489" cy="242074"/>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7" name="Oval 106">
              <a:extLst>
                <a:ext uri="{FF2B5EF4-FFF2-40B4-BE49-F238E27FC236}">
                  <a16:creationId xmlns:a16="http://schemas.microsoft.com/office/drawing/2014/main" id="{3C24BA76-F5B5-6459-CDB9-B6A3C4D33681}"/>
                </a:ext>
              </a:extLst>
            </p:cNvPr>
            <p:cNvSpPr/>
            <p:nvPr/>
          </p:nvSpPr>
          <p:spPr>
            <a:xfrm>
              <a:off x="982713" y="3178228"/>
              <a:ext cx="139179" cy="139177"/>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a:ea typeface="+mn-ea"/>
                <a:cs typeface="+mn-cs"/>
              </a:endParaRPr>
            </a:p>
          </p:txBody>
        </p:sp>
      </p:grpSp>
      <p:grpSp>
        <p:nvGrpSpPr>
          <p:cNvPr id="108" name="Group 107">
            <a:extLst>
              <a:ext uri="{FF2B5EF4-FFF2-40B4-BE49-F238E27FC236}">
                <a16:creationId xmlns:a16="http://schemas.microsoft.com/office/drawing/2014/main" id="{482AC89C-AF6A-340B-837D-8372CE7FDFD8}"/>
              </a:ext>
            </a:extLst>
          </p:cNvPr>
          <p:cNvGrpSpPr/>
          <p:nvPr/>
        </p:nvGrpSpPr>
        <p:grpSpPr>
          <a:xfrm>
            <a:off x="8357192" y="2984911"/>
            <a:ext cx="176289" cy="388791"/>
            <a:chOff x="982713" y="3010457"/>
            <a:chExt cx="139179" cy="306948"/>
          </a:xfrm>
        </p:grpSpPr>
        <p:cxnSp>
          <p:nvCxnSpPr>
            <p:cNvPr id="109" name="Straight Connector 108">
              <a:extLst>
                <a:ext uri="{FF2B5EF4-FFF2-40B4-BE49-F238E27FC236}">
                  <a16:creationId xmlns:a16="http://schemas.microsoft.com/office/drawing/2014/main" id="{59395A59-61DE-DA8C-BE38-876CFB418586}"/>
                </a:ext>
              </a:extLst>
            </p:cNvPr>
            <p:cNvCxnSpPr>
              <a:cxnSpLocks/>
            </p:cNvCxnSpPr>
            <p:nvPr/>
          </p:nvCxnSpPr>
          <p:spPr>
            <a:xfrm flipH="1" flipV="1">
              <a:off x="1052303" y="3010457"/>
              <a:ext cx="1489" cy="242074"/>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10" name="Oval 109">
              <a:extLst>
                <a:ext uri="{FF2B5EF4-FFF2-40B4-BE49-F238E27FC236}">
                  <a16:creationId xmlns:a16="http://schemas.microsoft.com/office/drawing/2014/main" id="{1B5A73D9-0EF8-60DD-8264-84F35BD8C64F}"/>
                </a:ext>
              </a:extLst>
            </p:cNvPr>
            <p:cNvSpPr/>
            <p:nvPr/>
          </p:nvSpPr>
          <p:spPr>
            <a:xfrm>
              <a:off x="982713" y="3178228"/>
              <a:ext cx="139179" cy="139177"/>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a:ea typeface="+mn-ea"/>
                <a:cs typeface="+mn-cs"/>
              </a:endParaRPr>
            </a:p>
          </p:txBody>
        </p:sp>
      </p:grpSp>
      <p:grpSp>
        <p:nvGrpSpPr>
          <p:cNvPr id="2" name="Group 1">
            <a:extLst>
              <a:ext uri="{FF2B5EF4-FFF2-40B4-BE49-F238E27FC236}">
                <a16:creationId xmlns:a16="http://schemas.microsoft.com/office/drawing/2014/main" id="{833FAFF9-A109-EF80-33C7-32A6E9719145}"/>
              </a:ext>
            </a:extLst>
          </p:cNvPr>
          <p:cNvGrpSpPr/>
          <p:nvPr/>
        </p:nvGrpSpPr>
        <p:grpSpPr>
          <a:xfrm rot="10800000">
            <a:off x="3793688" y="2267102"/>
            <a:ext cx="176289" cy="388791"/>
            <a:chOff x="982713" y="3010457"/>
            <a:chExt cx="139179" cy="306948"/>
          </a:xfrm>
        </p:grpSpPr>
        <p:cxnSp>
          <p:nvCxnSpPr>
            <p:cNvPr id="4" name="Straight Connector 3">
              <a:extLst>
                <a:ext uri="{FF2B5EF4-FFF2-40B4-BE49-F238E27FC236}">
                  <a16:creationId xmlns:a16="http://schemas.microsoft.com/office/drawing/2014/main" id="{8F8247B4-6C21-0AE4-AC82-59C1077DE70A}"/>
                </a:ext>
              </a:extLst>
            </p:cNvPr>
            <p:cNvCxnSpPr>
              <a:cxnSpLocks/>
            </p:cNvCxnSpPr>
            <p:nvPr/>
          </p:nvCxnSpPr>
          <p:spPr>
            <a:xfrm flipH="1" flipV="1">
              <a:off x="1052303" y="3010457"/>
              <a:ext cx="1489" cy="242074"/>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E964BCF4-170A-29B7-C06B-F2B34072C8C8}"/>
                </a:ext>
              </a:extLst>
            </p:cNvPr>
            <p:cNvSpPr/>
            <p:nvPr/>
          </p:nvSpPr>
          <p:spPr>
            <a:xfrm>
              <a:off x="982713" y="3178228"/>
              <a:ext cx="139179" cy="139177"/>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a:ea typeface="+mn-ea"/>
                <a:cs typeface="+mn-cs"/>
              </a:endParaRPr>
            </a:p>
          </p:txBody>
        </p:sp>
      </p:grpSp>
      <p:sp>
        <p:nvSpPr>
          <p:cNvPr id="8" name="Rectangle 7">
            <a:extLst>
              <a:ext uri="{FF2B5EF4-FFF2-40B4-BE49-F238E27FC236}">
                <a16:creationId xmlns:a16="http://schemas.microsoft.com/office/drawing/2014/main" id="{B9183BE0-0965-4448-7551-9EEEABAD1EC5}"/>
              </a:ext>
            </a:extLst>
          </p:cNvPr>
          <p:cNvSpPr/>
          <p:nvPr/>
        </p:nvSpPr>
        <p:spPr>
          <a:xfrm>
            <a:off x="3550144" y="1082966"/>
            <a:ext cx="1348121" cy="5607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Roboto"/>
                <a:ea typeface="+mn-ea"/>
                <a:cs typeface="+mn-cs"/>
              </a:rPr>
              <a:t>Ongo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Roboto"/>
                <a:ea typeface="+mn-ea"/>
                <a:cs typeface="+mn-cs"/>
              </a:rPr>
              <a:t>Pricing guidance enhancement </a:t>
            </a:r>
            <a:endParaRPr kumimoji="0" lang="en-GB" sz="1200" b="0" i="0" u="none" strike="noStrike" kern="1200" cap="none" spc="0" normalizeH="0" baseline="0" noProof="0">
              <a:ln>
                <a:noFill/>
              </a:ln>
              <a:solidFill>
                <a:srgbClr val="000000"/>
              </a:solidFill>
              <a:effectLst/>
              <a:uLnTx/>
              <a:uFillTx/>
              <a:latin typeface="Roboto"/>
              <a:ea typeface="Roboto"/>
              <a:cs typeface="Roboto"/>
            </a:endParaRPr>
          </a:p>
        </p:txBody>
      </p:sp>
      <p:grpSp>
        <p:nvGrpSpPr>
          <p:cNvPr id="22" name="Group 21">
            <a:extLst>
              <a:ext uri="{FF2B5EF4-FFF2-40B4-BE49-F238E27FC236}">
                <a16:creationId xmlns:a16="http://schemas.microsoft.com/office/drawing/2014/main" id="{8FB533BF-BF02-0CAE-050C-D3BF144DA92F}"/>
              </a:ext>
            </a:extLst>
          </p:cNvPr>
          <p:cNvGrpSpPr/>
          <p:nvPr/>
        </p:nvGrpSpPr>
        <p:grpSpPr>
          <a:xfrm>
            <a:off x="2799298" y="996253"/>
            <a:ext cx="566597" cy="661735"/>
            <a:chOff x="2799298" y="1004342"/>
            <a:chExt cx="566597" cy="661735"/>
          </a:xfrm>
        </p:grpSpPr>
        <p:sp>
          <p:nvSpPr>
            <p:cNvPr id="9" name="Graphic 18">
              <a:extLst>
                <a:ext uri="{FF2B5EF4-FFF2-40B4-BE49-F238E27FC236}">
                  <a16:creationId xmlns:a16="http://schemas.microsoft.com/office/drawing/2014/main" id="{C8AB7AE0-C92C-B5B7-8C61-EBEEB2AE5ABD}"/>
                </a:ext>
              </a:extLst>
            </p:cNvPr>
            <p:cNvSpPr/>
            <p:nvPr/>
          </p:nvSpPr>
          <p:spPr>
            <a:xfrm>
              <a:off x="2799298" y="1004342"/>
              <a:ext cx="566597" cy="661735"/>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noFill/>
              <a:prstDash val="solid"/>
              <a:miter/>
            </a:ln>
          </p:spPr>
          <p:txBody>
            <a:bodyPr lIns="216000" tIns="25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Roboto"/>
                <a:ea typeface="+mn-ea"/>
                <a:cs typeface="+mn-cs"/>
              </a:endParaRPr>
            </a:p>
          </p:txBody>
        </p:sp>
        <p:sp>
          <p:nvSpPr>
            <p:cNvPr id="10" name="Freeform: Shape 268">
              <a:extLst>
                <a:ext uri="{FF2B5EF4-FFF2-40B4-BE49-F238E27FC236}">
                  <a16:creationId xmlns:a16="http://schemas.microsoft.com/office/drawing/2014/main" id="{47FE1A43-9632-232F-E20C-998FB0B1D02A}"/>
                </a:ext>
              </a:extLst>
            </p:cNvPr>
            <p:cNvSpPr/>
            <p:nvPr/>
          </p:nvSpPr>
          <p:spPr>
            <a:xfrm>
              <a:off x="2944006" y="1196736"/>
              <a:ext cx="301967" cy="296311"/>
            </a:xfrm>
            <a:custGeom>
              <a:avLst/>
              <a:gdLst>
                <a:gd name="connsiteX0" fmla="*/ 2991252 w 5618722"/>
                <a:gd name="connsiteY0" fmla="*/ 5618769 h 5618768"/>
                <a:gd name="connsiteX1" fmla="*/ 2657998 w 5618722"/>
                <a:gd name="connsiteY1" fmla="*/ 5480534 h 5618768"/>
                <a:gd name="connsiteX2" fmla="*/ 30527 w 5618722"/>
                <a:gd name="connsiteY2" fmla="*/ 2851977 h 5618768"/>
                <a:gd name="connsiteX3" fmla="*/ 523 w 5618722"/>
                <a:gd name="connsiteY3" fmla="*/ 2768395 h 5618768"/>
                <a:gd name="connsiteX4" fmla="*/ 229838 w 5618722"/>
                <a:gd name="connsiteY4" fmla="*/ 323061 h 5618768"/>
                <a:gd name="connsiteX5" fmla="*/ 323061 w 5618722"/>
                <a:gd name="connsiteY5" fmla="*/ 229838 h 5618768"/>
                <a:gd name="connsiteX6" fmla="*/ 2769424 w 5618722"/>
                <a:gd name="connsiteY6" fmla="*/ 523 h 5618768"/>
                <a:gd name="connsiteX7" fmla="*/ 2853006 w 5618722"/>
                <a:gd name="connsiteY7" fmla="*/ 30527 h 5618768"/>
                <a:gd name="connsiteX8" fmla="*/ 5481563 w 5618722"/>
                <a:gd name="connsiteY8" fmla="*/ 2659084 h 5618768"/>
                <a:gd name="connsiteX9" fmla="*/ 5618723 w 5618722"/>
                <a:gd name="connsiteY9" fmla="*/ 2991269 h 5618768"/>
                <a:gd name="connsiteX10" fmla="*/ 5480489 w 5618722"/>
                <a:gd name="connsiteY10" fmla="*/ 3324522 h 5618768"/>
                <a:gd name="connsiteX11" fmla="*/ 3324505 w 5618722"/>
                <a:gd name="connsiteY11" fmla="*/ 5480506 h 5618768"/>
                <a:gd name="connsiteX12" fmla="*/ 2991252 w 5618722"/>
                <a:gd name="connsiteY12" fmla="*/ 5618740 h 5618768"/>
                <a:gd name="connsiteX13" fmla="*/ 211590 w 5618722"/>
                <a:gd name="connsiteY13" fmla="*/ 2739494 h 5618768"/>
                <a:gd name="connsiteX14" fmla="*/ 2804771 w 5618722"/>
                <a:gd name="connsiteY14" fmla="*/ 5333762 h 5618768"/>
                <a:gd name="connsiteX15" fmla="*/ 3176601 w 5618722"/>
                <a:gd name="connsiteY15" fmla="*/ 5333762 h 5618768"/>
                <a:gd name="connsiteX16" fmla="*/ 5332584 w 5618722"/>
                <a:gd name="connsiteY16" fmla="*/ 3177778 h 5618768"/>
                <a:gd name="connsiteX17" fmla="*/ 5409737 w 5618722"/>
                <a:gd name="connsiteY17" fmla="*/ 2991326 h 5618768"/>
                <a:gd name="connsiteX18" fmla="*/ 5332584 w 5618722"/>
                <a:gd name="connsiteY18" fmla="*/ 2804874 h 5618768"/>
                <a:gd name="connsiteX19" fmla="*/ 2739403 w 5618722"/>
                <a:gd name="connsiteY19" fmla="*/ 211693 h 5618768"/>
                <a:gd name="connsiteX20" fmla="*/ 428028 w 5618722"/>
                <a:gd name="connsiteY20" fmla="*/ 428148 h 5618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18722" h="5618768">
                  <a:moveTo>
                    <a:pt x="2991252" y="5618769"/>
                  </a:moveTo>
                  <a:cubicBezTo>
                    <a:pt x="2865876" y="5618769"/>
                    <a:pt x="2746935" y="5569477"/>
                    <a:pt x="2657998" y="5480534"/>
                  </a:cubicBezTo>
                  <a:lnTo>
                    <a:pt x="30527" y="2851977"/>
                  </a:lnTo>
                  <a:cubicBezTo>
                    <a:pt x="9096" y="2830546"/>
                    <a:pt x="-2691" y="2799470"/>
                    <a:pt x="523" y="2768395"/>
                  </a:cubicBezTo>
                  <a:lnTo>
                    <a:pt x="229838" y="323061"/>
                  </a:lnTo>
                  <a:cubicBezTo>
                    <a:pt x="234124" y="273769"/>
                    <a:pt x="273772" y="234124"/>
                    <a:pt x="323061" y="229838"/>
                  </a:cubicBezTo>
                  <a:lnTo>
                    <a:pt x="2769424" y="523"/>
                  </a:lnTo>
                  <a:cubicBezTo>
                    <a:pt x="2800499" y="-2691"/>
                    <a:pt x="2830506" y="9096"/>
                    <a:pt x="2853006" y="30527"/>
                  </a:cubicBezTo>
                  <a:lnTo>
                    <a:pt x="5481563" y="2659084"/>
                  </a:lnTo>
                  <a:cubicBezTo>
                    <a:pt x="5569431" y="2746952"/>
                    <a:pt x="5618723" y="2865899"/>
                    <a:pt x="5618723" y="2991269"/>
                  </a:cubicBezTo>
                  <a:cubicBezTo>
                    <a:pt x="5618723" y="3116639"/>
                    <a:pt x="5569431" y="3235585"/>
                    <a:pt x="5480489" y="3324522"/>
                  </a:cubicBezTo>
                  <a:lnTo>
                    <a:pt x="3324505" y="5480506"/>
                  </a:lnTo>
                  <a:cubicBezTo>
                    <a:pt x="3235568" y="5569443"/>
                    <a:pt x="3117690" y="5618740"/>
                    <a:pt x="2991252" y="5618740"/>
                  </a:cubicBezTo>
                  <a:close/>
                  <a:moveTo>
                    <a:pt x="211590" y="2739494"/>
                  </a:moveTo>
                  <a:lnTo>
                    <a:pt x="2804771" y="5333762"/>
                  </a:lnTo>
                  <a:cubicBezTo>
                    <a:pt x="2907641" y="5436632"/>
                    <a:pt x="3074805" y="5436632"/>
                    <a:pt x="3176601" y="5333762"/>
                  </a:cubicBezTo>
                  <a:lnTo>
                    <a:pt x="5332584" y="3177778"/>
                  </a:lnTo>
                  <a:cubicBezTo>
                    <a:pt x="5381876" y="3128486"/>
                    <a:pt x="5409737" y="3062049"/>
                    <a:pt x="5409737" y="2991326"/>
                  </a:cubicBezTo>
                  <a:cubicBezTo>
                    <a:pt x="5409737" y="2920603"/>
                    <a:pt x="5381876" y="2855241"/>
                    <a:pt x="5332584" y="2804874"/>
                  </a:cubicBezTo>
                  <a:lnTo>
                    <a:pt x="2739403" y="211693"/>
                  </a:lnTo>
                  <a:lnTo>
                    <a:pt x="428028" y="428148"/>
                  </a:lnTo>
                  <a:close/>
                </a:path>
              </a:pathLst>
            </a:custGeom>
            <a:solidFill>
              <a:schemeClr val="bg1"/>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11" name="Freeform: Shape 270">
              <a:extLst>
                <a:ext uri="{FF2B5EF4-FFF2-40B4-BE49-F238E27FC236}">
                  <a16:creationId xmlns:a16="http://schemas.microsoft.com/office/drawing/2014/main" id="{4A818833-4513-DCF2-4292-65E06B5F2762}"/>
                </a:ext>
              </a:extLst>
            </p:cNvPr>
            <p:cNvSpPr/>
            <p:nvPr/>
          </p:nvSpPr>
          <p:spPr>
            <a:xfrm>
              <a:off x="2883958" y="1249636"/>
              <a:ext cx="148339" cy="52053"/>
            </a:xfrm>
            <a:custGeom>
              <a:avLst/>
              <a:gdLst>
                <a:gd name="connsiteX0" fmla="*/ 1622492 w 2760144"/>
                <a:gd name="connsiteY0" fmla="*/ 987030 h 987044"/>
                <a:gd name="connsiteX1" fmla="*/ 26921 w 2760144"/>
                <a:gd name="connsiteY1" fmla="*/ 173728 h 987044"/>
                <a:gd name="connsiteX2" fmla="*/ 34422 w 2760144"/>
                <a:gd name="connsiteY2" fmla="*/ 26921 h 987044"/>
                <a:gd name="connsiteX3" fmla="*/ 181229 w 2760144"/>
                <a:gd name="connsiteY3" fmla="*/ 34422 h 987044"/>
                <a:gd name="connsiteX4" fmla="*/ 2591187 w 2760144"/>
                <a:gd name="connsiteY4" fmla="*/ 465190 h 987044"/>
                <a:gd name="connsiteX5" fmla="*/ 2736920 w 2760144"/>
                <a:gd name="connsiteY5" fmla="*/ 480192 h 987044"/>
                <a:gd name="connsiteX6" fmla="*/ 2721918 w 2760144"/>
                <a:gd name="connsiteY6" fmla="*/ 625925 h 987044"/>
                <a:gd name="connsiteX7" fmla="*/ 1622466 w 2760144"/>
                <a:gd name="connsiteY7" fmla="*/ 987044 h 987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0144" h="987044">
                  <a:moveTo>
                    <a:pt x="1622492" y="987030"/>
                  </a:moveTo>
                  <a:cubicBezTo>
                    <a:pt x="1160651" y="987030"/>
                    <a:pt x="598078" y="803795"/>
                    <a:pt x="26921" y="173728"/>
                  </a:cubicBezTo>
                  <a:cubicBezTo>
                    <a:pt x="-11655" y="130866"/>
                    <a:pt x="-8440" y="65497"/>
                    <a:pt x="34422" y="26921"/>
                  </a:cubicBezTo>
                  <a:cubicBezTo>
                    <a:pt x="77285" y="-11655"/>
                    <a:pt x="142653" y="-8440"/>
                    <a:pt x="181229" y="34422"/>
                  </a:cubicBezTo>
                  <a:cubicBezTo>
                    <a:pt x="1411383" y="1391049"/>
                    <a:pt x="2542953" y="502698"/>
                    <a:pt x="2591187" y="465190"/>
                  </a:cubicBezTo>
                  <a:cubicBezTo>
                    <a:pt x="2636193" y="428757"/>
                    <a:pt x="2701556" y="436258"/>
                    <a:pt x="2736920" y="480192"/>
                  </a:cubicBezTo>
                  <a:cubicBezTo>
                    <a:pt x="2773353" y="524126"/>
                    <a:pt x="2765852" y="589492"/>
                    <a:pt x="2721918" y="625925"/>
                  </a:cubicBezTo>
                  <a:cubicBezTo>
                    <a:pt x="2714417" y="632354"/>
                    <a:pt x="2265432" y="987044"/>
                    <a:pt x="1622466" y="987044"/>
                  </a:cubicBezTo>
                  <a:close/>
                </a:path>
              </a:pathLst>
            </a:custGeom>
            <a:solidFill>
              <a:schemeClr val="bg1"/>
            </a:solid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sp>
        <p:nvSpPr>
          <p:cNvPr id="19" name="Rectangle 18">
            <a:extLst>
              <a:ext uri="{FF2B5EF4-FFF2-40B4-BE49-F238E27FC236}">
                <a16:creationId xmlns:a16="http://schemas.microsoft.com/office/drawing/2014/main" id="{48BB29C0-C90B-6272-A1DD-59800D4F463F}"/>
              </a:ext>
            </a:extLst>
          </p:cNvPr>
          <p:cNvSpPr/>
          <p:nvPr/>
        </p:nvSpPr>
        <p:spPr>
          <a:xfrm>
            <a:off x="2804848" y="1681155"/>
            <a:ext cx="792134" cy="551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2060"/>
                </a:solidFill>
                <a:effectLst/>
                <a:uLnTx/>
                <a:uFillTx/>
                <a:latin typeface="Roboto Condensed"/>
                <a:ea typeface="+mn-ea"/>
                <a:cs typeface="+mn-cs"/>
              </a:rPr>
              <a:t>BETTER PRICING GUIDANCE</a:t>
            </a:r>
          </a:p>
        </p:txBody>
      </p:sp>
      <p:sp>
        <p:nvSpPr>
          <p:cNvPr id="154" name="Rectangle 153">
            <a:extLst>
              <a:ext uri="{FF2B5EF4-FFF2-40B4-BE49-F238E27FC236}">
                <a16:creationId xmlns:a16="http://schemas.microsoft.com/office/drawing/2014/main" id="{B98A16DE-E881-7D08-A0B6-FFFAB475E4F3}"/>
              </a:ext>
            </a:extLst>
          </p:cNvPr>
          <p:cNvSpPr/>
          <p:nvPr/>
        </p:nvSpPr>
        <p:spPr>
          <a:xfrm>
            <a:off x="0" y="2654495"/>
            <a:ext cx="12190511" cy="413786"/>
          </a:xfrm>
          <a:prstGeom prst="rect">
            <a:avLst/>
          </a:prstGeom>
          <a:solidFill>
            <a:schemeClr val="bg1">
              <a:lumMod val="85000"/>
            </a:schemeClr>
          </a:solidFill>
        </p:spPr>
        <p:txBody>
          <a:bodyPr wrap="squar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prstClr val="black"/>
              </a:solidFill>
              <a:effectLst/>
              <a:uLnTx/>
              <a:uFillTx/>
              <a:latin typeface="Roboto"/>
              <a:ea typeface="+mn-ea"/>
              <a:cs typeface="+mn-cs"/>
            </a:endParaRPr>
          </a:p>
        </p:txBody>
      </p:sp>
      <p:grpSp>
        <p:nvGrpSpPr>
          <p:cNvPr id="184" name="Group 183">
            <a:extLst>
              <a:ext uri="{FF2B5EF4-FFF2-40B4-BE49-F238E27FC236}">
                <a16:creationId xmlns:a16="http://schemas.microsoft.com/office/drawing/2014/main" id="{DECE85AF-9327-4EDC-58EE-0207AB43F73A}"/>
              </a:ext>
            </a:extLst>
          </p:cNvPr>
          <p:cNvGrpSpPr/>
          <p:nvPr/>
        </p:nvGrpSpPr>
        <p:grpSpPr>
          <a:xfrm rot="10800000">
            <a:off x="1754760" y="2315803"/>
            <a:ext cx="176289" cy="422955"/>
            <a:chOff x="982713" y="2983481"/>
            <a:chExt cx="139179" cy="333924"/>
          </a:xfrm>
        </p:grpSpPr>
        <p:cxnSp>
          <p:nvCxnSpPr>
            <p:cNvPr id="185" name="Straight Connector 184">
              <a:extLst>
                <a:ext uri="{FF2B5EF4-FFF2-40B4-BE49-F238E27FC236}">
                  <a16:creationId xmlns:a16="http://schemas.microsoft.com/office/drawing/2014/main" id="{B5513A66-3398-9403-B84E-08A8D7CFD7E6}"/>
                </a:ext>
              </a:extLst>
            </p:cNvPr>
            <p:cNvCxnSpPr>
              <a:cxnSpLocks/>
            </p:cNvCxnSpPr>
            <p:nvPr/>
          </p:nvCxnSpPr>
          <p:spPr>
            <a:xfrm rot="10800000">
              <a:off x="1053792" y="2983481"/>
              <a:ext cx="0" cy="269051"/>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86" name="Oval 185">
              <a:extLst>
                <a:ext uri="{FF2B5EF4-FFF2-40B4-BE49-F238E27FC236}">
                  <a16:creationId xmlns:a16="http://schemas.microsoft.com/office/drawing/2014/main" id="{23744A00-2331-F8DF-68E2-B7C4C86DB996}"/>
                </a:ext>
              </a:extLst>
            </p:cNvPr>
            <p:cNvSpPr/>
            <p:nvPr/>
          </p:nvSpPr>
          <p:spPr>
            <a:xfrm>
              <a:off x="982713" y="3178228"/>
              <a:ext cx="139179" cy="139177"/>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a:ea typeface="+mn-ea"/>
                <a:cs typeface="+mn-cs"/>
              </a:endParaRPr>
            </a:p>
          </p:txBody>
        </p:sp>
      </p:grpSp>
      <p:sp>
        <p:nvSpPr>
          <p:cNvPr id="155" name="Rectangle 154">
            <a:extLst>
              <a:ext uri="{FF2B5EF4-FFF2-40B4-BE49-F238E27FC236}">
                <a16:creationId xmlns:a16="http://schemas.microsoft.com/office/drawing/2014/main" id="{467421E1-22F5-AD4D-DBC0-F0A97E86CB38}"/>
              </a:ext>
            </a:extLst>
          </p:cNvPr>
          <p:cNvSpPr/>
          <p:nvPr/>
        </p:nvSpPr>
        <p:spPr>
          <a:xfrm>
            <a:off x="515938" y="2721234"/>
            <a:ext cx="715926" cy="2803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Roboto"/>
                <a:ea typeface="+mn-ea"/>
                <a:cs typeface="+mn-cs"/>
              </a:rPr>
              <a:t>2023</a:t>
            </a:r>
            <a:endParaRPr kumimoji="0" lang="en-GB" sz="1400" b="0" i="0" u="none" strike="noStrike" kern="1200" cap="none" spc="0" normalizeH="0" baseline="0" noProof="0">
              <a:ln>
                <a:noFill/>
              </a:ln>
              <a:solidFill>
                <a:srgbClr val="000000"/>
              </a:solidFill>
              <a:effectLst/>
              <a:uLnTx/>
              <a:uFillTx/>
              <a:latin typeface="Roboto"/>
              <a:ea typeface="+mn-ea"/>
              <a:cs typeface="+mn-cs"/>
            </a:endParaRPr>
          </a:p>
        </p:txBody>
      </p:sp>
      <p:sp>
        <p:nvSpPr>
          <p:cNvPr id="156" name="Rectangle 155">
            <a:extLst>
              <a:ext uri="{FF2B5EF4-FFF2-40B4-BE49-F238E27FC236}">
                <a16:creationId xmlns:a16="http://schemas.microsoft.com/office/drawing/2014/main" id="{696CB353-77AD-CD94-C407-480E467AEE58}"/>
              </a:ext>
            </a:extLst>
          </p:cNvPr>
          <p:cNvSpPr/>
          <p:nvPr/>
        </p:nvSpPr>
        <p:spPr>
          <a:xfrm>
            <a:off x="3997338" y="2721234"/>
            <a:ext cx="715926" cy="2803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Roboto"/>
                <a:ea typeface="+mn-ea"/>
                <a:cs typeface="+mn-cs"/>
              </a:rPr>
              <a:t>2024</a:t>
            </a:r>
            <a:endParaRPr kumimoji="0" lang="en-GB" sz="1400" b="0" i="0" u="none" strike="noStrike" kern="1200" cap="none" spc="0" normalizeH="0" baseline="0" noProof="0">
              <a:ln>
                <a:noFill/>
              </a:ln>
              <a:solidFill>
                <a:srgbClr val="000000"/>
              </a:solidFill>
              <a:effectLst/>
              <a:uLnTx/>
              <a:uFillTx/>
              <a:latin typeface="Roboto"/>
              <a:ea typeface="+mn-ea"/>
              <a:cs typeface="+mn-cs"/>
            </a:endParaRPr>
          </a:p>
        </p:txBody>
      </p:sp>
      <p:sp>
        <p:nvSpPr>
          <p:cNvPr id="157" name="Rectangle 156">
            <a:extLst>
              <a:ext uri="{FF2B5EF4-FFF2-40B4-BE49-F238E27FC236}">
                <a16:creationId xmlns:a16="http://schemas.microsoft.com/office/drawing/2014/main" id="{DC828CD3-479C-7D42-FAD5-80BA20E12A7E}"/>
              </a:ext>
            </a:extLst>
          </p:cNvPr>
          <p:cNvSpPr/>
          <p:nvPr/>
        </p:nvSpPr>
        <p:spPr>
          <a:xfrm>
            <a:off x="7478738" y="2721234"/>
            <a:ext cx="715926" cy="2803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Roboto"/>
                <a:ea typeface="+mn-ea"/>
                <a:cs typeface="+mn-cs"/>
              </a:rPr>
              <a:t>2025</a:t>
            </a:r>
            <a:endParaRPr kumimoji="0" lang="en-GB" sz="1400" b="0" i="0" u="none" strike="noStrike" kern="1200" cap="none" spc="0" normalizeH="0" baseline="0" noProof="0">
              <a:ln>
                <a:noFill/>
              </a:ln>
              <a:solidFill>
                <a:srgbClr val="000000"/>
              </a:solidFill>
              <a:effectLst/>
              <a:uLnTx/>
              <a:uFillTx/>
              <a:latin typeface="Roboto"/>
              <a:ea typeface="+mn-ea"/>
              <a:cs typeface="+mn-cs"/>
            </a:endParaRPr>
          </a:p>
        </p:txBody>
      </p:sp>
      <p:sp>
        <p:nvSpPr>
          <p:cNvPr id="158" name="Rectangle 157">
            <a:extLst>
              <a:ext uri="{FF2B5EF4-FFF2-40B4-BE49-F238E27FC236}">
                <a16:creationId xmlns:a16="http://schemas.microsoft.com/office/drawing/2014/main" id="{5C9EDD6D-D35E-E34E-C556-40C44527E463}"/>
              </a:ext>
            </a:extLst>
          </p:cNvPr>
          <p:cNvSpPr/>
          <p:nvPr/>
        </p:nvSpPr>
        <p:spPr>
          <a:xfrm>
            <a:off x="10960137" y="2721234"/>
            <a:ext cx="715926" cy="2803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Roboto"/>
                <a:ea typeface="+mn-ea"/>
                <a:cs typeface="+mn-cs"/>
              </a:rPr>
              <a:t>2026</a:t>
            </a:r>
            <a:endParaRPr kumimoji="0" lang="en-GB" sz="1400" b="0" i="0" u="none" strike="noStrike" kern="1200" cap="none" spc="0" normalizeH="0" baseline="0" noProof="0">
              <a:ln>
                <a:noFill/>
              </a:ln>
              <a:solidFill>
                <a:srgbClr val="000000"/>
              </a:solidFill>
              <a:effectLst/>
              <a:uLnTx/>
              <a:uFillTx/>
              <a:latin typeface="Roboto"/>
              <a:ea typeface="+mn-ea"/>
              <a:cs typeface="+mn-cs"/>
            </a:endParaRPr>
          </a:p>
        </p:txBody>
      </p:sp>
      <p:cxnSp>
        <p:nvCxnSpPr>
          <p:cNvPr id="13" name="Straight Arrow Connector 12">
            <a:extLst>
              <a:ext uri="{FF2B5EF4-FFF2-40B4-BE49-F238E27FC236}">
                <a16:creationId xmlns:a16="http://schemas.microsoft.com/office/drawing/2014/main" id="{20FA1176-6E27-FE21-E522-AB301F2A8F60}"/>
              </a:ext>
            </a:extLst>
          </p:cNvPr>
          <p:cNvCxnSpPr>
            <a:cxnSpLocks/>
          </p:cNvCxnSpPr>
          <p:nvPr/>
        </p:nvCxnSpPr>
        <p:spPr>
          <a:xfrm>
            <a:off x="1841018" y="2729996"/>
            <a:ext cx="10349493"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3659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BD4AF-E50B-A0D2-603A-97DDB0F174D1}"/>
              </a:ext>
            </a:extLst>
          </p:cNvPr>
          <p:cNvSpPr>
            <a:spLocks noGrp="1"/>
          </p:cNvSpPr>
          <p:nvPr>
            <p:ph type="title"/>
          </p:nvPr>
        </p:nvSpPr>
        <p:spPr/>
        <p:txBody>
          <a:bodyPr/>
          <a:lstStyle/>
          <a:p>
            <a:r>
              <a:rPr lang="en-US" b="1" dirty="0">
                <a:latin typeface="Roboto Condensed"/>
                <a:ea typeface="Roboto"/>
                <a:cs typeface="Roboto"/>
              </a:rPr>
              <a:t>Today’s Team Talk</a:t>
            </a:r>
          </a:p>
        </p:txBody>
      </p:sp>
      <p:sp>
        <p:nvSpPr>
          <p:cNvPr id="4" name="Text Placeholder 3">
            <a:extLst>
              <a:ext uri="{FF2B5EF4-FFF2-40B4-BE49-F238E27FC236}">
                <a16:creationId xmlns:a16="http://schemas.microsoft.com/office/drawing/2014/main" id="{76698754-A712-64CD-A4E6-2D2350319163}"/>
              </a:ext>
            </a:extLst>
          </p:cNvPr>
          <p:cNvSpPr>
            <a:spLocks noGrp="1"/>
          </p:cNvSpPr>
          <p:nvPr>
            <p:ph type="body" sz="quarter" idx="14"/>
          </p:nvPr>
        </p:nvSpPr>
        <p:spPr>
          <a:xfrm>
            <a:off x="1380312" y="1828283"/>
            <a:ext cx="3885825" cy="439738"/>
          </a:xfrm>
        </p:spPr>
        <p:txBody>
          <a:bodyPr vert="horz" wrap="none" lIns="36000" tIns="45720" rIns="36000" bIns="45720" rtlCol="0" anchor="t">
            <a:noAutofit/>
          </a:bodyPr>
          <a:lstStyle/>
          <a:p>
            <a:r>
              <a:rPr lang="en-US" sz="1800" dirty="0">
                <a:latin typeface="Roboto"/>
                <a:ea typeface="Roboto Black"/>
                <a:cs typeface="Roboto Black"/>
              </a:rPr>
              <a:t>Safe to do the right thing</a:t>
            </a:r>
          </a:p>
        </p:txBody>
      </p:sp>
      <p:sp>
        <p:nvSpPr>
          <p:cNvPr id="5" name="Text Placeholder 4">
            <a:extLst>
              <a:ext uri="{FF2B5EF4-FFF2-40B4-BE49-F238E27FC236}">
                <a16:creationId xmlns:a16="http://schemas.microsoft.com/office/drawing/2014/main" id="{60AB87D8-6006-8044-6756-DC4C4C06C401}"/>
              </a:ext>
            </a:extLst>
          </p:cNvPr>
          <p:cNvSpPr>
            <a:spLocks noGrp="1"/>
          </p:cNvSpPr>
          <p:nvPr>
            <p:ph type="body" sz="quarter" idx="15"/>
          </p:nvPr>
        </p:nvSpPr>
        <p:spPr>
          <a:xfrm>
            <a:off x="520886" y="2607581"/>
            <a:ext cx="576000" cy="576000"/>
          </a:xfrm>
          <a:ln>
            <a:solidFill>
              <a:srgbClr val="002060"/>
            </a:solidFill>
          </a:ln>
        </p:spPr>
        <p:txBody>
          <a:bodyPr/>
          <a:lstStyle/>
          <a:p>
            <a:r>
              <a:rPr lang="en-US">
                <a:solidFill>
                  <a:srgbClr val="002060"/>
                </a:solidFill>
              </a:rPr>
              <a:t>2</a:t>
            </a:r>
          </a:p>
        </p:txBody>
      </p:sp>
      <p:sp>
        <p:nvSpPr>
          <p:cNvPr id="6" name="Text Placeholder 5">
            <a:extLst>
              <a:ext uri="{FF2B5EF4-FFF2-40B4-BE49-F238E27FC236}">
                <a16:creationId xmlns:a16="http://schemas.microsoft.com/office/drawing/2014/main" id="{B042575C-A0FC-5AE2-F462-69758F4B4F41}"/>
              </a:ext>
            </a:extLst>
          </p:cNvPr>
          <p:cNvSpPr>
            <a:spLocks noGrp="1"/>
          </p:cNvSpPr>
          <p:nvPr>
            <p:ph type="body" sz="quarter" idx="16"/>
          </p:nvPr>
        </p:nvSpPr>
        <p:spPr>
          <a:xfrm>
            <a:off x="1380312" y="3595287"/>
            <a:ext cx="3885825" cy="439738"/>
          </a:xfrm>
        </p:spPr>
        <p:txBody>
          <a:bodyPr lIns="36000" rIns="36000"/>
          <a:lstStyle/>
          <a:p>
            <a:r>
              <a:rPr lang="en-US" sz="1800" dirty="0">
                <a:latin typeface="Roboto"/>
                <a:ea typeface="Roboto"/>
                <a:cs typeface="Roboto"/>
              </a:rPr>
              <a:t>Our progress in 2023 &amp; roadmap for 2024</a:t>
            </a:r>
          </a:p>
        </p:txBody>
      </p:sp>
      <p:sp>
        <p:nvSpPr>
          <p:cNvPr id="7" name="Text Placeholder 6">
            <a:extLst>
              <a:ext uri="{FF2B5EF4-FFF2-40B4-BE49-F238E27FC236}">
                <a16:creationId xmlns:a16="http://schemas.microsoft.com/office/drawing/2014/main" id="{619B6184-BF3E-F57C-78E6-BE880192FAD9}"/>
              </a:ext>
            </a:extLst>
          </p:cNvPr>
          <p:cNvSpPr>
            <a:spLocks noGrp="1"/>
          </p:cNvSpPr>
          <p:nvPr>
            <p:ph type="body" sz="quarter" idx="17"/>
          </p:nvPr>
        </p:nvSpPr>
        <p:spPr>
          <a:xfrm>
            <a:off x="520886" y="3468812"/>
            <a:ext cx="576000" cy="576000"/>
          </a:xfrm>
          <a:ln>
            <a:solidFill>
              <a:srgbClr val="002060"/>
            </a:solidFill>
          </a:ln>
        </p:spPr>
        <p:txBody>
          <a:bodyPr/>
          <a:lstStyle/>
          <a:p>
            <a:r>
              <a:rPr lang="en-US">
                <a:solidFill>
                  <a:srgbClr val="002060"/>
                </a:solidFill>
              </a:rPr>
              <a:t>3</a:t>
            </a:r>
          </a:p>
        </p:txBody>
      </p:sp>
      <p:sp>
        <p:nvSpPr>
          <p:cNvPr id="8" name="Text Placeholder 7">
            <a:extLst>
              <a:ext uri="{FF2B5EF4-FFF2-40B4-BE49-F238E27FC236}">
                <a16:creationId xmlns:a16="http://schemas.microsoft.com/office/drawing/2014/main" id="{EF42D547-8ECD-674B-4B94-61BA658FB3C3}"/>
              </a:ext>
            </a:extLst>
          </p:cNvPr>
          <p:cNvSpPr>
            <a:spLocks noGrp="1"/>
          </p:cNvSpPr>
          <p:nvPr>
            <p:ph type="body" sz="quarter" idx="18"/>
          </p:nvPr>
        </p:nvSpPr>
        <p:spPr>
          <a:xfrm>
            <a:off x="1380312" y="4469218"/>
            <a:ext cx="3885825" cy="439738"/>
          </a:xfrm>
        </p:spPr>
        <p:txBody>
          <a:bodyPr vert="horz" wrap="none" lIns="36000" tIns="45720" rIns="36000" bIns="45720" rtlCol="0" anchor="t">
            <a:noAutofit/>
          </a:bodyPr>
          <a:lstStyle/>
          <a:p>
            <a:r>
              <a:rPr lang="en-US" sz="1800" dirty="0">
                <a:latin typeface="Roboto"/>
                <a:ea typeface="Roboto"/>
                <a:cs typeface="Roboto"/>
              </a:rPr>
              <a:t>Category update</a:t>
            </a:r>
          </a:p>
        </p:txBody>
      </p:sp>
      <p:sp>
        <p:nvSpPr>
          <p:cNvPr id="9" name="Text Placeholder 8">
            <a:extLst>
              <a:ext uri="{FF2B5EF4-FFF2-40B4-BE49-F238E27FC236}">
                <a16:creationId xmlns:a16="http://schemas.microsoft.com/office/drawing/2014/main" id="{0B3AF841-6E1F-F464-E671-53D9889D68A1}"/>
              </a:ext>
            </a:extLst>
          </p:cNvPr>
          <p:cNvSpPr>
            <a:spLocks noGrp="1"/>
          </p:cNvSpPr>
          <p:nvPr>
            <p:ph type="body" sz="quarter" idx="19"/>
          </p:nvPr>
        </p:nvSpPr>
        <p:spPr>
          <a:xfrm>
            <a:off x="520886" y="4325839"/>
            <a:ext cx="576000" cy="576000"/>
          </a:xfrm>
          <a:ln>
            <a:solidFill>
              <a:srgbClr val="002060"/>
            </a:solidFill>
          </a:ln>
        </p:spPr>
        <p:txBody>
          <a:bodyPr/>
          <a:lstStyle/>
          <a:p>
            <a:r>
              <a:rPr lang="en-US">
                <a:solidFill>
                  <a:srgbClr val="002060"/>
                </a:solidFill>
              </a:rPr>
              <a:t>4</a:t>
            </a:r>
          </a:p>
        </p:txBody>
      </p:sp>
      <p:sp>
        <p:nvSpPr>
          <p:cNvPr id="11" name="Text Placeholder 10">
            <a:extLst>
              <a:ext uri="{FF2B5EF4-FFF2-40B4-BE49-F238E27FC236}">
                <a16:creationId xmlns:a16="http://schemas.microsoft.com/office/drawing/2014/main" id="{57FA42E3-0016-FCBC-EA4D-B886A3705431}"/>
              </a:ext>
            </a:extLst>
          </p:cNvPr>
          <p:cNvSpPr>
            <a:spLocks noGrp="1"/>
          </p:cNvSpPr>
          <p:nvPr>
            <p:ph type="body" sz="quarter" idx="21"/>
          </p:nvPr>
        </p:nvSpPr>
        <p:spPr>
          <a:xfrm>
            <a:off x="6244841" y="1718554"/>
            <a:ext cx="576000" cy="576000"/>
          </a:xfrm>
          <a:ln>
            <a:solidFill>
              <a:srgbClr val="002060"/>
            </a:solidFill>
          </a:ln>
        </p:spPr>
        <p:txBody>
          <a:bodyPr/>
          <a:lstStyle/>
          <a:p>
            <a:r>
              <a:rPr lang="en-US" dirty="0">
                <a:solidFill>
                  <a:srgbClr val="002060"/>
                </a:solidFill>
              </a:rPr>
              <a:t>5</a:t>
            </a:r>
          </a:p>
        </p:txBody>
      </p:sp>
      <p:sp>
        <p:nvSpPr>
          <p:cNvPr id="13" name="Text Placeholder 12">
            <a:extLst>
              <a:ext uri="{FF2B5EF4-FFF2-40B4-BE49-F238E27FC236}">
                <a16:creationId xmlns:a16="http://schemas.microsoft.com/office/drawing/2014/main" id="{6FFB3347-3EC4-1B67-B169-A57C5DF35F5B}"/>
              </a:ext>
            </a:extLst>
          </p:cNvPr>
          <p:cNvSpPr>
            <a:spLocks noGrp="1"/>
          </p:cNvSpPr>
          <p:nvPr>
            <p:ph type="body" sz="quarter" idx="23"/>
          </p:nvPr>
        </p:nvSpPr>
        <p:spPr>
          <a:xfrm>
            <a:off x="6244841" y="2567085"/>
            <a:ext cx="576000" cy="576000"/>
          </a:xfrm>
          <a:ln>
            <a:solidFill>
              <a:srgbClr val="002060"/>
            </a:solidFill>
          </a:ln>
        </p:spPr>
        <p:txBody>
          <a:bodyPr/>
          <a:lstStyle/>
          <a:p>
            <a:r>
              <a:rPr lang="en-US" dirty="0">
                <a:solidFill>
                  <a:srgbClr val="002060"/>
                </a:solidFill>
              </a:rPr>
              <a:t>6</a:t>
            </a:r>
          </a:p>
        </p:txBody>
      </p:sp>
      <p:sp>
        <p:nvSpPr>
          <p:cNvPr id="16" name="Text Placeholder 15">
            <a:extLst>
              <a:ext uri="{FF2B5EF4-FFF2-40B4-BE49-F238E27FC236}">
                <a16:creationId xmlns:a16="http://schemas.microsoft.com/office/drawing/2014/main" id="{B3B71D64-D1BB-A2FE-0C50-8F2E3CD8FDFC}"/>
              </a:ext>
            </a:extLst>
          </p:cNvPr>
          <p:cNvSpPr>
            <a:spLocks noGrp="1"/>
          </p:cNvSpPr>
          <p:nvPr>
            <p:ph type="body" sz="quarter" idx="26"/>
          </p:nvPr>
        </p:nvSpPr>
        <p:spPr>
          <a:xfrm>
            <a:off x="7120730" y="2734883"/>
            <a:ext cx="3887787" cy="439738"/>
          </a:xfrm>
        </p:spPr>
        <p:txBody>
          <a:bodyPr vert="horz" wrap="none" lIns="91440" tIns="45720" rIns="91440" bIns="45720" rtlCol="0" anchor="t">
            <a:noAutofit/>
          </a:bodyPr>
          <a:lstStyle/>
          <a:p>
            <a:r>
              <a:rPr lang="en-US" sz="1800" dirty="0">
                <a:latin typeface="Roboto"/>
                <a:ea typeface="Roboto"/>
                <a:cs typeface="Roboto"/>
              </a:rPr>
              <a:t>Tell Us! Results &amp; values driving performance</a:t>
            </a:r>
          </a:p>
        </p:txBody>
      </p:sp>
      <p:sp>
        <p:nvSpPr>
          <p:cNvPr id="20" name="Text Placeholder 19">
            <a:extLst>
              <a:ext uri="{FF2B5EF4-FFF2-40B4-BE49-F238E27FC236}">
                <a16:creationId xmlns:a16="http://schemas.microsoft.com/office/drawing/2014/main" id="{C8654461-EAC8-3522-6D91-32689B7F60D8}"/>
              </a:ext>
            </a:extLst>
          </p:cNvPr>
          <p:cNvSpPr>
            <a:spLocks noGrp="1"/>
          </p:cNvSpPr>
          <p:nvPr>
            <p:ph type="body" sz="quarter" idx="30"/>
          </p:nvPr>
        </p:nvSpPr>
        <p:spPr>
          <a:xfrm>
            <a:off x="7120730" y="1885161"/>
            <a:ext cx="3885825" cy="439738"/>
          </a:xfrm>
        </p:spPr>
        <p:txBody>
          <a:bodyPr/>
          <a:lstStyle/>
          <a:p>
            <a:r>
              <a:rPr lang="en-US" sz="1800" dirty="0">
                <a:latin typeface="Roboto"/>
                <a:ea typeface="Roboto"/>
                <a:cs typeface="Roboto"/>
              </a:rPr>
              <a:t>What’s getting in the way</a:t>
            </a:r>
            <a:endParaRPr lang="en-US" sz="1200" dirty="0"/>
          </a:p>
        </p:txBody>
      </p:sp>
      <p:sp>
        <p:nvSpPr>
          <p:cNvPr id="25" name="Text Placeholder 24">
            <a:extLst>
              <a:ext uri="{FF2B5EF4-FFF2-40B4-BE49-F238E27FC236}">
                <a16:creationId xmlns:a16="http://schemas.microsoft.com/office/drawing/2014/main" id="{ADB2AC3B-4084-555C-CE3F-6CFB51F12AE7}"/>
              </a:ext>
            </a:extLst>
          </p:cNvPr>
          <p:cNvSpPr>
            <a:spLocks noGrp="1"/>
          </p:cNvSpPr>
          <p:nvPr>
            <p:ph type="body" sz="quarter" idx="13"/>
          </p:nvPr>
        </p:nvSpPr>
        <p:spPr>
          <a:xfrm>
            <a:off x="520886" y="1746350"/>
            <a:ext cx="576000" cy="576000"/>
          </a:xfrm>
          <a:ln>
            <a:solidFill>
              <a:srgbClr val="002060"/>
            </a:solidFill>
          </a:ln>
        </p:spPr>
        <p:txBody>
          <a:bodyPr/>
          <a:lstStyle/>
          <a:p>
            <a:r>
              <a:rPr lang="en-US">
                <a:solidFill>
                  <a:srgbClr val="002060"/>
                </a:solidFill>
              </a:rPr>
              <a:t>1</a:t>
            </a:r>
          </a:p>
        </p:txBody>
      </p:sp>
      <p:sp>
        <p:nvSpPr>
          <p:cNvPr id="10" name="Text Placeholder 21">
            <a:extLst>
              <a:ext uri="{FF2B5EF4-FFF2-40B4-BE49-F238E27FC236}">
                <a16:creationId xmlns:a16="http://schemas.microsoft.com/office/drawing/2014/main" id="{D65F324F-B65E-038A-C8DE-C9EC44CF66CF}"/>
              </a:ext>
            </a:extLst>
          </p:cNvPr>
          <p:cNvSpPr txBox="1">
            <a:spLocks/>
          </p:cNvSpPr>
          <p:nvPr/>
        </p:nvSpPr>
        <p:spPr>
          <a:xfrm>
            <a:off x="1380312" y="2734966"/>
            <a:ext cx="3887787" cy="439738"/>
          </a:xfrm>
          <a:prstGeom prst="rect">
            <a:avLst/>
          </a:prstGeom>
        </p:spPr>
        <p:txBody>
          <a:bodyPr vert="horz" wrap="none" lIns="36000" tIns="45720" rIns="36000" bIns="45720" rtlCol="0" anchor="t">
            <a:noAutofit/>
          </a:bodyPr>
          <a:lstStyle>
            <a:lvl1pPr marL="0" indent="0" algn="l" defTabSz="914400" rtl="0" eaLnBrk="1" latinLnBrk="0" hangingPunct="1">
              <a:lnSpc>
                <a:spcPct val="90000"/>
              </a:lnSpc>
              <a:spcBef>
                <a:spcPts val="1000"/>
              </a:spcBef>
              <a:buFontTx/>
              <a:buNone/>
              <a:defRPr sz="2800" kern="1200">
                <a:solidFill>
                  <a:schemeClr val="tx1"/>
                </a:solidFill>
                <a:latin typeface="+mn-lt"/>
                <a:ea typeface="+mn-ea"/>
                <a:cs typeface="+mn-cs"/>
              </a:defRPr>
            </a:lvl1pPr>
            <a:lvl2pPr marL="239400" indent="0" algn="l" defTabSz="914400" rtl="0" eaLnBrk="1" latinLnBrk="0" hangingPunct="1">
              <a:lnSpc>
                <a:spcPct val="90000"/>
              </a:lnSpc>
              <a:spcBef>
                <a:spcPts val="500"/>
              </a:spcBef>
              <a:buFontTx/>
              <a:buNone/>
              <a:defRPr sz="2400" kern="1200">
                <a:solidFill>
                  <a:schemeClr val="bg1"/>
                </a:solidFill>
                <a:latin typeface="+mn-lt"/>
                <a:ea typeface="+mn-ea"/>
                <a:cs typeface="+mn-cs"/>
              </a:defRPr>
            </a:lvl2pPr>
            <a:lvl3pPr marL="473400" indent="0" algn="l" defTabSz="914400" rtl="0" eaLnBrk="1" latinLnBrk="0" hangingPunct="1">
              <a:lnSpc>
                <a:spcPct val="90000"/>
              </a:lnSpc>
              <a:spcBef>
                <a:spcPts val="500"/>
              </a:spcBef>
              <a:buFontTx/>
              <a:buNone/>
              <a:defRPr sz="2000" kern="1200">
                <a:solidFill>
                  <a:schemeClr val="bg1"/>
                </a:solidFill>
                <a:latin typeface="+mn-lt"/>
                <a:ea typeface="+mn-ea"/>
                <a:cs typeface="+mn-cs"/>
              </a:defRPr>
            </a:lvl3pPr>
            <a:lvl4pPr marL="707400" indent="0" algn="l" defTabSz="914400" rtl="0" eaLnBrk="1" latinLnBrk="0" hangingPunct="1">
              <a:lnSpc>
                <a:spcPct val="90000"/>
              </a:lnSpc>
              <a:spcBef>
                <a:spcPts val="500"/>
              </a:spcBef>
              <a:buFontTx/>
              <a:buNone/>
              <a:defRPr sz="1800" kern="1200">
                <a:solidFill>
                  <a:schemeClr val="bg1"/>
                </a:solidFill>
                <a:latin typeface="+mn-lt"/>
                <a:ea typeface="+mn-ea"/>
                <a:cs typeface="+mn-cs"/>
              </a:defRPr>
            </a:lvl4pPr>
            <a:lvl5pPr marL="923400" indent="0" algn="l" defTabSz="914400" rtl="0" eaLnBrk="1" latinLnBrk="0" hangingPunct="1">
              <a:lnSpc>
                <a:spcPct val="90000"/>
              </a:lnSpc>
              <a:spcBef>
                <a:spcPts val="500"/>
              </a:spcBef>
              <a:buFontTx/>
              <a:buNone/>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latin typeface="Roboto"/>
                <a:ea typeface="Roboto"/>
                <a:cs typeface="Roboto"/>
              </a:rPr>
              <a:t>Our current position</a:t>
            </a:r>
          </a:p>
        </p:txBody>
      </p:sp>
      <p:sp>
        <p:nvSpPr>
          <p:cNvPr id="18" name="Text Placeholder 15">
            <a:extLst>
              <a:ext uri="{FF2B5EF4-FFF2-40B4-BE49-F238E27FC236}">
                <a16:creationId xmlns:a16="http://schemas.microsoft.com/office/drawing/2014/main" id="{14A04108-9005-285F-718D-6AB65614D463}"/>
              </a:ext>
            </a:extLst>
          </p:cNvPr>
          <p:cNvSpPr txBox="1">
            <a:spLocks/>
          </p:cNvSpPr>
          <p:nvPr/>
        </p:nvSpPr>
        <p:spPr>
          <a:xfrm>
            <a:off x="7120730" y="3577396"/>
            <a:ext cx="3887787" cy="439738"/>
          </a:xfrm>
          <a:prstGeom prst="rect">
            <a:avLst/>
          </a:prstGeom>
        </p:spPr>
        <p:txBody>
          <a:bodyPr vert="horz" wrap="none" lIns="91440" tIns="45720" rIns="91440" bIns="45720" rtlCol="0" anchor="t">
            <a:noAutofit/>
          </a:bodyPr>
          <a:lstStyle>
            <a:lvl1pPr marL="0" indent="0" algn="l" defTabSz="914400" rtl="0" eaLnBrk="1" latinLnBrk="0" hangingPunct="1">
              <a:lnSpc>
                <a:spcPct val="90000"/>
              </a:lnSpc>
              <a:spcBef>
                <a:spcPts val="1000"/>
              </a:spcBef>
              <a:buFontTx/>
              <a:buNone/>
              <a:defRPr sz="2800" kern="1200">
                <a:solidFill>
                  <a:schemeClr val="tx1"/>
                </a:solidFill>
                <a:latin typeface="+mn-lt"/>
                <a:ea typeface="+mn-ea"/>
                <a:cs typeface="+mn-cs"/>
              </a:defRPr>
            </a:lvl1pPr>
            <a:lvl2pPr marL="239400" indent="0" algn="l" defTabSz="914400" rtl="0" eaLnBrk="1" latinLnBrk="0" hangingPunct="1">
              <a:lnSpc>
                <a:spcPct val="90000"/>
              </a:lnSpc>
              <a:spcBef>
                <a:spcPts val="500"/>
              </a:spcBef>
              <a:buFontTx/>
              <a:buNone/>
              <a:defRPr sz="2400" kern="1200">
                <a:solidFill>
                  <a:schemeClr val="bg1"/>
                </a:solidFill>
                <a:latin typeface="+mn-lt"/>
                <a:ea typeface="+mn-ea"/>
                <a:cs typeface="+mn-cs"/>
              </a:defRPr>
            </a:lvl2pPr>
            <a:lvl3pPr marL="473400" indent="0" algn="l" defTabSz="914400" rtl="0" eaLnBrk="1" latinLnBrk="0" hangingPunct="1">
              <a:lnSpc>
                <a:spcPct val="90000"/>
              </a:lnSpc>
              <a:spcBef>
                <a:spcPts val="500"/>
              </a:spcBef>
              <a:buFontTx/>
              <a:buNone/>
              <a:defRPr sz="2000" kern="1200">
                <a:solidFill>
                  <a:schemeClr val="bg1"/>
                </a:solidFill>
                <a:latin typeface="+mn-lt"/>
                <a:ea typeface="+mn-ea"/>
                <a:cs typeface="+mn-cs"/>
              </a:defRPr>
            </a:lvl3pPr>
            <a:lvl4pPr marL="707400" indent="0" algn="l" defTabSz="914400" rtl="0" eaLnBrk="1" latinLnBrk="0" hangingPunct="1">
              <a:lnSpc>
                <a:spcPct val="90000"/>
              </a:lnSpc>
              <a:spcBef>
                <a:spcPts val="500"/>
              </a:spcBef>
              <a:buFontTx/>
              <a:buNone/>
              <a:defRPr sz="1800" kern="1200">
                <a:solidFill>
                  <a:schemeClr val="bg1"/>
                </a:solidFill>
                <a:latin typeface="+mn-lt"/>
                <a:ea typeface="+mn-ea"/>
                <a:cs typeface="+mn-cs"/>
              </a:defRPr>
            </a:lvl4pPr>
            <a:lvl5pPr marL="923400" indent="0" algn="l" defTabSz="914400" rtl="0" eaLnBrk="1" latinLnBrk="0" hangingPunct="1">
              <a:lnSpc>
                <a:spcPct val="90000"/>
              </a:lnSpc>
              <a:spcBef>
                <a:spcPts val="500"/>
              </a:spcBef>
              <a:buFontTx/>
              <a:buNone/>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latin typeface="Roboto"/>
                <a:ea typeface="Roboto"/>
                <a:cs typeface="Roboto"/>
              </a:rPr>
              <a:t>Next steps</a:t>
            </a:r>
          </a:p>
        </p:txBody>
      </p:sp>
      <p:sp>
        <p:nvSpPr>
          <p:cNvPr id="23" name="Text Placeholder 12">
            <a:extLst>
              <a:ext uri="{FF2B5EF4-FFF2-40B4-BE49-F238E27FC236}">
                <a16:creationId xmlns:a16="http://schemas.microsoft.com/office/drawing/2014/main" id="{4F62B208-C7B6-E00D-D00B-F4DD9186096D}"/>
              </a:ext>
            </a:extLst>
          </p:cNvPr>
          <p:cNvSpPr txBox="1">
            <a:spLocks/>
          </p:cNvSpPr>
          <p:nvPr/>
        </p:nvSpPr>
        <p:spPr>
          <a:xfrm>
            <a:off x="6244841" y="3438353"/>
            <a:ext cx="576000" cy="576000"/>
          </a:xfrm>
          <a:prstGeom prst="rect">
            <a:avLst/>
          </a:prstGeom>
          <a:ln w="34925">
            <a:solidFill>
              <a:srgbClr val="002060"/>
            </a:solidFill>
            <a:miter lim="800000"/>
          </a:ln>
        </p:spPr>
        <p:txBody>
          <a:bodyPr vert="horz" lIns="72000" tIns="72000" rIns="72000" bIns="72000" rtlCol="0" anchor="ctr">
            <a:noAutofit/>
          </a:bodyPr>
          <a:lstStyle>
            <a:lvl1pPr marL="0" indent="0" algn="ctr" defTabSz="914400" rtl="0" eaLnBrk="1" latinLnBrk="0" hangingPunct="1">
              <a:lnSpc>
                <a:spcPct val="90000"/>
              </a:lnSpc>
              <a:spcBef>
                <a:spcPts val="1000"/>
              </a:spcBef>
              <a:buFontTx/>
              <a:buNone/>
              <a:defRPr sz="2000" kern="1200">
                <a:solidFill>
                  <a:schemeClr val="accent3"/>
                </a:solidFill>
                <a:latin typeface="Roboto Black" panose="02000000000000000000" pitchFamily="2" charset="0"/>
                <a:ea typeface="Roboto Black" panose="02000000000000000000"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002060"/>
                </a:solidFill>
                <a:cs typeface="Roboto Black"/>
              </a:rPr>
              <a:t>7</a:t>
            </a:r>
          </a:p>
        </p:txBody>
      </p:sp>
      <p:sp>
        <p:nvSpPr>
          <p:cNvPr id="29" name="Text Placeholder 15">
            <a:extLst>
              <a:ext uri="{FF2B5EF4-FFF2-40B4-BE49-F238E27FC236}">
                <a16:creationId xmlns:a16="http://schemas.microsoft.com/office/drawing/2014/main" id="{E6034025-9B6D-1B1D-47D2-EADD8C8C6AC8}"/>
              </a:ext>
            </a:extLst>
          </p:cNvPr>
          <p:cNvSpPr txBox="1">
            <a:spLocks/>
          </p:cNvSpPr>
          <p:nvPr/>
        </p:nvSpPr>
        <p:spPr>
          <a:xfrm>
            <a:off x="7120730" y="4468792"/>
            <a:ext cx="3887787" cy="439738"/>
          </a:xfrm>
          <a:prstGeom prst="rect">
            <a:avLst/>
          </a:prstGeom>
        </p:spPr>
        <p:txBody>
          <a:bodyPr vert="horz" wrap="none" lIns="91440" tIns="45720" rIns="91440" bIns="45720" rtlCol="0" anchor="t">
            <a:noAutofit/>
          </a:bodyPr>
          <a:lstStyle>
            <a:lvl1pPr marL="0" indent="0" algn="l" defTabSz="914400" rtl="0" eaLnBrk="1" latinLnBrk="0" hangingPunct="1">
              <a:lnSpc>
                <a:spcPct val="90000"/>
              </a:lnSpc>
              <a:spcBef>
                <a:spcPts val="1000"/>
              </a:spcBef>
              <a:buFontTx/>
              <a:buNone/>
              <a:defRPr sz="2800" kern="1200">
                <a:solidFill>
                  <a:schemeClr val="tx1"/>
                </a:solidFill>
                <a:latin typeface="+mn-lt"/>
                <a:ea typeface="+mn-ea"/>
                <a:cs typeface="+mn-cs"/>
              </a:defRPr>
            </a:lvl1pPr>
            <a:lvl2pPr marL="239400" indent="0" algn="l" defTabSz="914400" rtl="0" eaLnBrk="1" latinLnBrk="0" hangingPunct="1">
              <a:lnSpc>
                <a:spcPct val="90000"/>
              </a:lnSpc>
              <a:spcBef>
                <a:spcPts val="500"/>
              </a:spcBef>
              <a:buFontTx/>
              <a:buNone/>
              <a:defRPr sz="2400" kern="1200">
                <a:solidFill>
                  <a:schemeClr val="bg1"/>
                </a:solidFill>
                <a:latin typeface="+mn-lt"/>
                <a:ea typeface="+mn-ea"/>
                <a:cs typeface="+mn-cs"/>
              </a:defRPr>
            </a:lvl2pPr>
            <a:lvl3pPr marL="473400" indent="0" algn="l" defTabSz="914400" rtl="0" eaLnBrk="1" latinLnBrk="0" hangingPunct="1">
              <a:lnSpc>
                <a:spcPct val="90000"/>
              </a:lnSpc>
              <a:spcBef>
                <a:spcPts val="500"/>
              </a:spcBef>
              <a:buFontTx/>
              <a:buNone/>
              <a:defRPr sz="2000" kern="1200">
                <a:solidFill>
                  <a:schemeClr val="bg1"/>
                </a:solidFill>
                <a:latin typeface="+mn-lt"/>
                <a:ea typeface="+mn-ea"/>
                <a:cs typeface="+mn-cs"/>
              </a:defRPr>
            </a:lvl3pPr>
            <a:lvl4pPr marL="707400" indent="0" algn="l" defTabSz="914400" rtl="0" eaLnBrk="1" latinLnBrk="0" hangingPunct="1">
              <a:lnSpc>
                <a:spcPct val="90000"/>
              </a:lnSpc>
              <a:spcBef>
                <a:spcPts val="500"/>
              </a:spcBef>
              <a:buFontTx/>
              <a:buNone/>
              <a:defRPr sz="1800" kern="1200">
                <a:solidFill>
                  <a:schemeClr val="bg1"/>
                </a:solidFill>
                <a:latin typeface="+mn-lt"/>
                <a:ea typeface="+mn-ea"/>
                <a:cs typeface="+mn-cs"/>
              </a:defRPr>
            </a:lvl4pPr>
            <a:lvl5pPr marL="923400" indent="0" algn="l" defTabSz="914400" rtl="0" eaLnBrk="1" latinLnBrk="0" hangingPunct="1">
              <a:lnSpc>
                <a:spcPct val="90000"/>
              </a:lnSpc>
              <a:spcBef>
                <a:spcPts val="500"/>
              </a:spcBef>
              <a:buFontTx/>
              <a:buNone/>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latin typeface="Roboto"/>
                <a:ea typeface="Roboto"/>
                <a:cs typeface="Roboto"/>
              </a:rPr>
              <a:t>Trust in Better – our shared commitment</a:t>
            </a:r>
          </a:p>
        </p:txBody>
      </p:sp>
      <p:sp>
        <p:nvSpPr>
          <p:cNvPr id="30" name="Text Placeholder 12">
            <a:extLst>
              <a:ext uri="{FF2B5EF4-FFF2-40B4-BE49-F238E27FC236}">
                <a16:creationId xmlns:a16="http://schemas.microsoft.com/office/drawing/2014/main" id="{C1D1DE3E-661E-8CCB-C156-1A60A12EB17D}"/>
              </a:ext>
            </a:extLst>
          </p:cNvPr>
          <p:cNvSpPr txBox="1">
            <a:spLocks/>
          </p:cNvSpPr>
          <p:nvPr/>
        </p:nvSpPr>
        <p:spPr>
          <a:xfrm>
            <a:off x="6244841" y="4344126"/>
            <a:ext cx="576000" cy="576000"/>
          </a:xfrm>
          <a:prstGeom prst="rect">
            <a:avLst/>
          </a:prstGeom>
          <a:ln w="34925">
            <a:solidFill>
              <a:srgbClr val="002060"/>
            </a:solidFill>
            <a:miter lim="800000"/>
          </a:ln>
        </p:spPr>
        <p:txBody>
          <a:bodyPr vert="horz" lIns="72000" tIns="72000" rIns="72000" bIns="72000" rtlCol="0" anchor="ctr">
            <a:noAutofit/>
          </a:bodyPr>
          <a:lstStyle>
            <a:lvl1pPr marL="0" indent="0" algn="ctr" defTabSz="914400" rtl="0" eaLnBrk="1" latinLnBrk="0" hangingPunct="1">
              <a:lnSpc>
                <a:spcPct val="90000"/>
              </a:lnSpc>
              <a:spcBef>
                <a:spcPts val="1000"/>
              </a:spcBef>
              <a:buFontTx/>
              <a:buNone/>
              <a:defRPr sz="2000" kern="1200">
                <a:solidFill>
                  <a:schemeClr val="accent3"/>
                </a:solidFill>
                <a:latin typeface="Roboto Black" panose="02000000000000000000" pitchFamily="2" charset="0"/>
                <a:ea typeface="Roboto Black" panose="02000000000000000000"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002060"/>
                </a:solidFill>
                <a:latin typeface="Roboto Black"/>
                <a:ea typeface="Roboto Black"/>
                <a:cs typeface="Roboto Black"/>
              </a:rPr>
              <a:t>8</a:t>
            </a:r>
            <a:endParaRPr lang="en-US" dirty="0">
              <a:solidFill>
                <a:srgbClr val="002060"/>
              </a:solidFill>
              <a:cs typeface="Roboto Black"/>
            </a:endParaRPr>
          </a:p>
        </p:txBody>
      </p:sp>
    </p:spTree>
    <p:extLst>
      <p:ext uri="{BB962C8B-B14F-4D97-AF65-F5344CB8AC3E}">
        <p14:creationId xmlns:p14="http://schemas.microsoft.com/office/powerpoint/2010/main" val="960803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51A9448-4001-8DC3-4923-18AF75C02BF0}"/>
              </a:ext>
            </a:extLst>
          </p:cNvPr>
          <p:cNvSpPr>
            <a:spLocks noGrp="1"/>
          </p:cNvSpPr>
          <p:nvPr>
            <p:ph type="ctrTitle"/>
          </p:nvPr>
        </p:nvSpPr>
        <p:spPr>
          <a:xfrm>
            <a:off x="919163" y="2188399"/>
            <a:ext cx="7229475" cy="1498872"/>
          </a:xfrm>
        </p:spPr>
        <p:txBody>
          <a:bodyPr/>
          <a:lstStyle/>
          <a:p>
            <a:r>
              <a:rPr lang="en-US" b="1">
                <a:latin typeface="Roboto Condensed"/>
                <a:ea typeface="Roboto Condensed"/>
                <a:cs typeface="Roboto Condensed"/>
              </a:rPr>
              <a:t>CATEGORY</a:t>
            </a:r>
            <a:br>
              <a:rPr lang="en-US" b="1">
                <a:latin typeface="Roboto Condensed"/>
              </a:rPr>
            </a:br>
            <a:r>
              <a:rPr lang="en-US" b="1">
                <a:latin typeface="Roboto Condensed"/>
                <a:ea typeface="Roboto Condensed"/>
                <a:cs typeface="Roboto Condensed"/>
              </a:rPr>
              <a:t>UPDATE</a:t>
            </a:r>
            <a:endParaRPr lang="en-GB" b="1">
              <a:latin typeface="Roboto Condensed"/>
              <a:ea typeface="Roboto Condensed"/>
              <a:cs typeface="Roboto Condensed"/>
            </a:endParaRPr>
          </a:p>
        </p:txBody>
      </p:sp>
      <p:pic>
        <p:nvPicPr>
          <p:cNvPr id="8" name="Picture 7">
            <a:extLst>
              <a:ext uri="{FF2B5EF4-FFF2-40B4-BE49-F238E27FC236}">
                <a16:creationId xmlns:a16="http://schemas.microsoft.com/office/drawing/2014/main" id="{0A7F5F43-1D10-9E66-3C48-C26311EB584D}"/>
              </a:ext>
            </a:extLst>
          </p:cNvPr>
          <p:cNvPicPr>
            <a:picLocks/>
          </p:cNvPicPr>
          <p:nvPr/>
        </p:nvPicPr>
        <p:blipFill rotWithShape="1">
          <a:blip r:embed="rId3" cstate="email">
            <a:extLst>
              <a:ext uri="{28A0092B-C50C-407E-A947-70E740481C1C}">
                <a14:useLocalDpi xmlns:a14="http://schemas.microsoft.com/office/drawing/2010/main"/>
              </a:ext>
            </a:extLst>
          </a:blip>
          <a:srcRect/>
          <a:stretch/>
        </p:blipFill>
        <p:spPr>
          <a:xfrm>
            <a:off x="982535" y="0"/>
            <a:ext cx="1612901" cy="711200"/>
          </a:xfrm>
          <a:prstGeom prst="rect">
            <a:avLst/>
          </a:prstGeom>
        </p:spPr>
      </p:pic>
      <p:pic>
        <p:nvPicPr>
          <p:cNvPr id="2" name="Picture 1">
            <a:extLst>
              <a:ext uri="{FF2B5EF4-FFF2-40B4-BE49-F238E27FC236}">
                <a16:creationId xmlns:a16="http://schemas.microsoft.com/office/drawing/2014/main" id="{35B40A5E-1F05-3C65-10CA-8691D6ECD216}"/>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8028471" y="863601"/>
            <a:ext cx="2959336" cy="4963884"/>
          </a:xfrm>
          <a:prstGeom prst="rect">
            <a:avLst/>
          </a:prstGeom>
        </p:spPr>
      </p:pic>
    </p:spTree>
    <p:extLst>
      <p:ext uri="{BB962C8B-B14F-4D97-AF65-F5344CB8AC3E}">
        <p14:creationId xmlns:p14="http://schemas.microsoft.com/office/powerpoint/2010/main" val="1226249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2518C45-6C3B-EA03-D980-5C106097439E}"/>
              </a:ext>
            </a:extLst>
          </p:cNvPr>
          <p:cNvSpPr>
            <a:spLocks noGrp="1"/>
          </p:cNvSpPr>
          <p:nvPr>
            <p:ph type="title"/>
          </p:nvPr>
        </p:nvSpPr>
        <p:spPr/>
        <p:txBody>
          <a:bodyPr>
            <a:noAutofit/>
          </a:bodyPr>
          <a:lstStyle/>
          <a:p>
            <a:r>
              <a:rPr lang="en-GB" sz="3600" b="1" dirty="0">
                <a:solidFill>
                  <a:srgbClr val="002060"/>
                </a:solidFill>
                <a:latin typeface="Roboto Condensed"/>
                <a:ea typeface="Roboto Condensed"/>
                <a:cs typeface="Roboto Condensed"/>
              </a:rPr>
              <a:t>Category update</a:t>
            </a:r>
            <a:endParaRPr lang="en-GB" sz="3600" b="1" dirty="0">
              <a:solidFill>
                <a:srgbClr val="002060"/>
              </a:solidFill>
              <a:highlight>
                <a:srgbClr val="FFFF00"/>
              </a:highlight>
              <a:latin typeface="Roboto Condensed"/>
              <a:ea typeface="Roboto Condensed"/>
              <a:cs typeface="Roboto Condensed"/>
            </a:endParaRPr>
          </a:p>
        </p:txBody>
      </p:sp>
      <p:sp>
        <p:nvSpPr>
          <p:cNvPr id="2" name="Text Placeholder 1">
            <a:extLst>
              <a:ext uri="{FF2B5EF4-FFF2-40B4-BE49-F238E27FC236}">
                <a16:creationId xmlns:a16="http://schemas.microsoft.com/office/drawing/2014/main" id="{18796845-E6C5-BC4E-72D4-6DE5C827E96C}"/>
              </a:ext>
            </a:extLst>
          </p:cNvPr>
          <p:cNvSpPr>
            <a:spLocks noGrp="1"/>
          </p:cNvSpPr>
          <p:nvPr>
            <p:ph type="body" sz="quarter" idx="13"/>
          </p:nvPr>
        </p:nvSpPr>
        <p:spPr>
          <a:xfrm>
            <a:off x="515938" y="963500"/>
            <a:ext cx="11160125" cy="368412"/>
          </a:xfrm>
        </p:spPr>
        <p:txBody>
          <a:bodyPr vert="horz" lIns="91440" tIns="0" rIns="91440" bIns="0" rtlCol="0" anchor="t">
            <a:normAutofit/>
          </a:bodyPr>
          <a:lstStyle/>
          <a:p>
            <a:r>
              <a:rPr lang="en-GB" sz="1800">
                <a:solidFill>
                  <a:srgbClr val="002060"/>
                </a:solidFill>
                <a:latin typeface="Roboto"/>
                <a:ea typeface="Roboto"/>
                <a:cs typeface="Roboto"/>
              </a:rPr>
              <a:t>Must Win Activities</a:t>
            </a:r>
          </a:p>
        </p:txBody>
      </p:sp>
      <p:sp>
        <p:nvSpPr>
          <p:cNvPr id="7" name="TextBox 159">
            <a:extLst>
              <a:ext uri="{FF2B5EF4-FFF2-40B4-BE49-F238E27FC236}">
                <a16:creationId xmlns:a16="http://schemas.microsoft.com/office/drawing/2014/main" id="{6A452FEE-A26F-B6F5-9AFD-59148306AFAA}"/>
              </a:ext>
            </a:extLst>
          </p:cNvPr>
          <p:cNvSpPr txBox="1"/>
          <p:nvPr/>
        </p:nvSpPr>
        <p:spPr>
          <a:xfrm>
            <a:off x="1028357" y="1557168"/>
            <a:ext cx="2620882" cy="424732"/>
          </a:xfrm>
          <a:prstGeom prst="rect">
            <a:avLst/>
          </a:prstGeom>
        </p:spPr>
        <p:txBody>
          <a:bodyPr vert="horz" wrap="square" lIns="0" tIns="45720" rIns="0" bIns="45720" rtlCol="0">
            <a:spAutoFit/>
          </a:bodyPr>
          <a:lstStyle>
            <a:lvl1pPr marL="228600" lvl="0" indent="-228600">
              <a:lnSpc>
                <a:spcPct val="110000"/>
              </a:lnSpc>
              <a:spcBef>
                <a:spcPts val="1000"/>
              </a:spcBef>
              <a:buClr>
                <a:schemeClr val="accent1"/>
              </a:buClr>
              <a:buFont typeface="Wingdings" panose="05000000000000000000" pitchFamily="2" charset="2"/>
              <a:buChar char="§"/>
            </a:lvl1pPr>
            <a:lvl2pPr marL="468000" lvl="1" indent="-228600">
              <a:lnSpc>
                <a:spcPct val="110000"/>
              </a:lnSpc>
              <a:spcBef>
                <a:spcPts val="600"/>
              </a:spcBef>
              <a:buClr>
                <a:schemeClr val="accent1"/>
              </a:buClr>
              <a:buFont typeface="Wingdings" panose="05000000000000000000" pitchFamily="2" charset="2"/>
              <a:buChar char="§"/>
              <a:defRPr sz="1600"/>
            </a:lvl2pPr>
            <a:lvl3pPr marL="702000" lvl="2" indent="-228600">
              <a:lnSpc>
                <a:spcPct val="110000"/>
              </a:lnSpc>
              <a:spcBef>
                <a:spcPts val="600"/>
              </a:spcBef>
              <a:buClr>
                <a:schemeClr val="accent1"/>
              </a:buClr>
              <a:buFont typeface="Wingdings" panose="05000000000000000000" pitchFamily="2" charset="2"/>
              <a:buChar char="§"/>
              <a:defRPr sz="1600"/>
            </a:lvl3pPr>
            <a:lvl4pPr marL="936000" lvl="3" indent="-228600">
              <a:lnSpc>
                <a:spcPct val="110000"/>
              </a:lnSpc>
              <a:spcBef>
                <a:spcPts val="600"/>
              </a:spcBef>
              <a:buClr>
                <a:schemeClr val="accent1"/>
              </a:buClr>
              <a:buFont typeface="Wingdings" panose="05000000000000000000" pitchFamily="2" charset="2"/>
              <a:buChar char="§"/>
              <a:defRPr sz="1400"/>
            </a:lvl4pPr>
            <a:lvl5pPr marL="1152000" lvl="4" indent="-228600">
              <a:lnSpc>
                <a:spcPct val="110000"/>
              </a:lnSpc>
              <a:spcBef>
                <a:spcPts val="600"/>
              </a:spcBef>
              <a:buClr>
                <a:schemeClr val="accent1"/>
              </a:buClr>
              <a:buFont typeface="Wingdings" panose="05000000000000000000" pitchFamily="2" charset="2"/>
              <a:buChar char="§"/>
              <a:defRPr sz="1400"/>
            </a:lvl5pPr>
            <a:lvl6pPr marL="2514600" indent="-228600">
              <a:lnSpc>
                <a:spcPct val="90000"/>
              </a:lnSpc>
              <a:spcBef>
                <a:spcPts val="500"/>
              </a:spcBef>
              <a:buFont typeface="Roboto" panose="02000000000000000000" pitchFamily="2" charset="0"/>
              <a:buChar char="•"/>
            </a:lvl6pPr>
            <a:lvl7pPr marL="2971800" indent="-228600">
              <a:lnSpc>
                <a:spcPct val="90000"/>
              </a:lnSpc>
              <a:spcBef>
                <a:spcPts val="500"/>
              </a:spcBef>
              <a:buFont typeface="Roboto" panose="02000000000000000000" pitchFamily="2" charset="0"/>
              <a:buChar char="•"/>
            </a:lvl7pPr>
            <a:lvl8pPr marL="3429000" indent="-228600">
              <a:lnSpc>
                <a:spcPct val="90000"/>
              </a:lnSpc>
              <a:spcBef>
                <a:spcPts val="500"/>
              </a:spcBef>
              <a:buFont typeface="Roboto" panose="02000000000000000000" pitchFamily="2" charset="0"/>
              <a:buChar char="•"/>
            </a:lvl8pPr>
            <a:lvl9pPr marL="3886200" indent="-228600">
              <a:lnSpc>
                <a:spcPct val="90000"/>
              </a:lnSpc>
              <a:spcBef>
                <a:spcPts val="500"/>
              </a:spcBef>
              <a:buFont typeface="Roboto" panose="02000000000000000000" pitchFamily="2" charset="0"/>
              <a:buChar char="•"/>
            </a:lvl9pPr>
          </a:lstStyle>
          <a:p>
            <a:pPr marL="0" marR="0" lvl="0" indent="0" algn="ctr" defTabSz="914400" rtl="0" eaLnBrk="1" fontAlgn="auto" latinLnBrk="0" hangingPunct="1">
              <a:lnSpc>
                <a:spcPct val="90000"/>
              </a:lnSpc>
              <a:spcBef>
                <a:spcPts val="1000"/>
              </a:spcBef>
              <a:spcAft>
                <a:spcPts val="0"/>
              </a:spcAft>
              <a:buClr>
                <a:srgbClr val="00326E"/>
              </a:buClr>
              <a:buSzTx/>
              <a:buFont typeface="Wingdings" panose="05000000000000000000" pitchFamily="2" charset="2"/>
              <a:buNone/>
              <a:tabLst/>
              <a:defRPr/>
            </a:pPr>
            <a:r>
              <a:rPr kumimoji="0" lang="en-GB" sz="2400" b="1" i="0" u="none" strike="noStrike" kern="1200" cap="none" spc="0" normalizeH="0" baseline="0" noProof="0">
                <a:ln>
                  <a:noFill/>
                </a:ln>
                <a:solidFill>
                  <a:srgbClr val="00326E"/>
                </a:solidFill>
                <a:effectLst/>
                <a:uLnTx/>
                <a:uFillTx/>
                <a:latin typeface="Roboto"/>
                <a:ea typeface="+mn-ea"/>
                <a:cs typeface="+mn-cs"/>
              </a:rPr>
              <a:t>Fix the Basics</a:t>
            </a:r>
          </a:p>
        </p:txBody>
      </p:sp>
      <p:grpSp>
        <p:nvGrpSpPr>
          <p:cNvPr id="14" name="Group 13">
            <a:extLst>
              <a:ext uri="{FF2B5EF4-FFF2-40B4-BE49-F238E27FC236}">
                <a16:creationId xmlns:a16="http://schemas.microsoft.com/office/drawing/2014/main" id="{ABFC5D96-43FA-915C-ED6C-DE6D2292C7AF}"/>
              </a:ext>
            </a:extLst>
          </p:cNvPr>
          <p:cNvGrpSpPr/>
          <p:nvPr/>
        </p:nvGrpSpPr>
        <p:grpSpPr>
          <a:xfrm>
            <a:off x="1113672" y="2191779"/>
            <a:ext cx="2444402" cy="2823879"/>
            <a:chOff x="9889616" y="268357"/>
            <a:chExt cx="1811214" cy="2092394"/>
          </a:xfrm>
        </p:grpSpPr>
        <p:pic>
          <p:nvPicPr>
            <p:cNvPr id="15" name="Picture 14" descr="A blue and white cube&#10;&#10;Description automatically generated">
              <a:extLst>
                <a:ext uri="{FF2B5EF4-FFF2-40B4-BE49-F238E27FC236}">
                  <a16:creationId xmlns:a16="http://schemas.microsoft.com/office/drawing/2014/main" id="{23CB4E56-E57B-D81C-1096-4D8F3517ED8B}"/>
                </a:ext>
              </a:extLst>
            </p:cNvPr>
            <p:cNvPicPr>
              <a:picLocks noChangeAspect="1"/>
            </p:cNvPicPr>
            <p:nvPr/>
          </p:nvPicPr>
          <p:blipFill>
            <a:blip r:embed="rId3" cstate="print">
              <a:extLst>
                <a:ext uri="{28A0092B-C50C-407E-A947-70E740481C1C}">
                  <a14:useLocalDpi xmlns:a14="http://schemas.microsoft.com/office/drawing/2010/main" val="0"/>
                </a:ext>
              </a:extLst>
            </a:blip>
            <a:srcRect r="14"/>
            <a:stretch>
              <a:fillRect/>
            </a:stretch>
          </p:blipFill>
          <p:spPr>
            <a:xfrm>
              <a:off x="9889616" y="268357"/>
              <a:ext cx="1811214" cy="2092394"/>
            </a:xfrm>
            <a:prstGeom prst="rect">
              <a:avLst/>
            </a:prstGeom>
          </p:spPr>
        </p:pic>
        <p:sp>
          <p:nvSpPr>
            <p:cNvPr id="16" name="Graphic 18">
              <a:extLst>
                <a:ext uri="{FF2B5EF4-FFF2-40B4-BE49-F238E27FC236}">
                  <a16:creationId xmlns:a16="http://schemas.microsoft.com/office/drawing/2014/main" id="{35CDE931-B00D-EFAF-FEE2-AF70790ACB1C}"/>
                </a:ext>
              </a:extLst>
            </p:cNvPr>
            <p:cNvSpPr/>
            <p:nvPr/>
          </p:nvSpPr>
          <p:spPr>
            <a:xfrm>
              <a:off x="10073890" y="464766"/>
              <a:ext cx="1438756" cy="1661425"/>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accent5">
                <a:alpha val="92000"/>
              </a:schemeClr>
            </a:solidFill>
            <a:ln w="38100" cap="flat">
              <a:noFill/>
              <a:prstDash val="solid"/>
              <a:miter/>
            </a:ln>
          </p:spPr>
          <p:txBody>
            <a:bodyPr lIns="216000" tIns="7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a:ln>
                  <a:noFill/>
                </a:ln>
                <a:solidFill>
                  <a:srgbClr val="F5821E"/>
                </a:solidFill>
                <a:effectLst/>
                <a:uLnTx/>
                <a:uFillTx/>
                <a:latin typeface="Roboto"/>
                <a:ea typeface="+mn-ea"/>
                <a:cs typeface="+mn-cs"/>
              </a:endParaRPr>
            </a:p>
          </p:txBody>
        </p:sp>
      </p:grpSp>
      <p:pic>
        <p:nvPicPr>
          <p:cNvPr id="18" name="Graphic 17">
            <a:extLst>
              <a:ext uri="{FF2B5EF4-FFF2-40B4-BE49-F238E27FC236}">
                <a16:creationId xmlns:a16="http://schemas.microsoft.com/office/drawing/2014/main" id="{9CE08B14-59D0-8398-03A4-F923AADFB664}"/>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586984" y="2774994"/>
            <a:ext cx="1492500" cy="1492500"/>
          </a:xfrm>
          <a:prstGeom prst="rect">
            <a:avLst/>
          </a:prstGeom>
        </p:spPr>
      </p:pic>
      <p:sp>
        <p:nvSpPr>
          <p:cNvPr id="19" name="TextBox 159">
            <a:extLst>
              <a:ext uri="{FF2B5EF4-FFF2-40B4-BE49-F238E27FC236}">
                <a16:creationId xmlns:a16="http://schemas.microsoft.com/office/drawing/2014/main" id="{8A8BB3A2-293F-8D8E-695C-9B82091B25D6}"/>
              </a:ext>
            </a:extLst>
          </p:cNvPr>
          <p:cNvSpPr txBox="1"/>
          <p:nvPr/>
        </p:nvSpPr>
        <p:spPr>
          <a:xfrm>
            <a:off x="4739977" y="1557168"/>
            <a:ext cx="2620882" cy="424732"/>
          </a:xfrm>
          <a:prstGeom prst="rect">
            <a:avLst/>
          </a:prstGeom>
        </p:spPr>
        <p:txBody>
          <a:bodyPr vert="horz" wrap="square" lIns="0" tIns="45720" rIns="0" bIns="45720" rtlCol="0">
            <a:spAutoFit/>
          </a:bodyPr>
          <a:lstStyle>
            <a:lvl1pPr marL="228600" lvl="0" indent="-228600">
              <a:lnSpc>
                <a:spcPct val="110000"/>
              </a:lnSpc>
              <a:spcBef>
                <a:spcPts val="1000"/>
              </a:spcBef>
              <a:buClr>
                <a:schemeClr val="accent1"/>
              </a:buClr>
              <a:buFont typeface="Wingdings" panose="05000000000000000000" pitchFamily="2" charset="2"/>
              <a:buChar char="§"/>
            </a:lvl1pPr>
            <a:lvl2pPr marL="468000" lvl="1" indent="-228600">
              <a:lnSpc>
                <a:spcPct val="110000"/>
              </a:lnSpc>
              <a:spcBef>
                <a:spcPts val="600"/>
              </a:spcBef>
              <a:buClr>
                <a:schemeClr val="accent1"/>
              </a:buClr>
              <a:buFont typeface="Wingdings" panose="05000000000000000000" pitchFamily="2" charset="2"/>
              <a:buChar char="§"/>
              <a:defRPr sz="1600"/>
            </a:lvl2pPr>
            <a:lvl3pPr marL="702000" lvl="2" indent="-228600">
              <a:lnSpc>
                <a:spcPct val="110000"/>
              </a:lnSpc>
              <a:spcBef>
                <a:spcPts val="600"/>
              </a:spcBef>
              <a:buClr>
                <a:schemeClr val="accent1"/>
              </a:buClr>
              <a:buFont typeface="Wingdings" panose="05000000000000000000" pitchFamily="2" charset="2"/>
              <a:buChar char="§"/>
              <a:defRPr sz="1600"/>
            </a:lvl3pPr>
            <a:lvl4pPr marL="936000" lvl="3" indent="-228600">
              <a:lnSpc>
                <a:spcPct val="110000"/>
              </a:lnSpc>
              <a:spcBef>
                <a:spcPts val="600"/>
              </a:spcBef>
              <a:buClr>
                <a:schemeClr val="accent1"/>
              </a:buClr>
              <a:buFont typeface="Wingdings" panose="05000000000000000000" pitchFamily="2" charset="2"/>
              <a:buChar char="§"/>
              <a:defRPr sz="1400"/>
            </a:lvl4pPr>
            <a:lvl5pPr marL="1152000" lvl="4" indent="-228600">
              <a:lnSpc>
                <a:spcPct val="110000"/>
              </a:lnSpc>
              <a:spcBef>
                <a:spcPts val="600"/>
              </a:spcBef>
              <a:buClr>
                <a:schemeClr val="accent1"/>
              </a:buClr>
              <a:buFont typeface="Wingdings" panose="05000000000000000000" pitchFamily="2" charset="2"/>
              <a:buChar char="§"/>
              <a:defRPr sz="1400"/>
            </a:lvl5pPr>
            <a:lvl6pPr marL="2514600" indent="-228600">
              <a:lnSpc>
                <a:spcPct val="90000"/>
              </a:lnSpc>
              <a:spcBef>
                <a:spcPts val="500"/>
              </a:spcBef>
              <a:buFont typeface="Roboto" panose="02000000000000000000" pitchFamily="2" charset="0"/>
              <a:buChar char="•"/>
            </a:lvl6pPr>
            <a:lvl7pPr marL="2971800" indent="-228600">
              <a:lnSpc>
                <a:spcPct val="90000"/>
              </a:lnSpc>
              <a:spcBef>
                <a:spcPts val="500"/>
              </a:spcBef>
              <a:buFont typeface="Roboto" panose="02000000000000000000" pitchFamily="2" charset="0"/>
              <a:buChar char="•"/>
            </a:lvl7pPr>
            <a:lvl8pPr marL="3429000" indent="-228600">
              <a:lnSpc>
                <a:spcPct val="90000"/>
              </a:lnSpc>
              <a:spcBef>
                <a:spcPts val="500"/>
              </a:spcBef>
              <a:buFont typeface="Roboto" panose="02000000000000000000" pitchFamily="2" charset="0"/>
              <a:buChar char="•"/>
            </a:lvl8pPr>
            <a:lvl9pPr marL="3886200" indent="-228600">
              <a:lnSpc>
                <a:spcPct val="90000"/>
              </a:lnSpc>
              <a:spcBef>
                <a:spcPts val="500"/>
              </a:spcBef>
              <a:buFont typeface="Roboto" panose="02000000000000000000" pitchFamily="2" charset="0"/>
              <a:buChar char="•"/>
            </a:lvl9pPr>
          </a:lstStyle>
          <a:p>
            <a:pPr marL="0" marR="0" lvl="0" indent="0" algn="ctr" defTabSz="914400" rtl="0" eaLnBrk="1" fontAlgn="auto" latinLnBrk="0" hangingPunct="1">
              <a:lnSpc>
                <a:spcPct val="90000"/>
              </a:lnSpc>
              <a:spcBef>
                <a:spcPts val="1000"/>
              </a:spcBef>
              <a:spcAft>
                <a:spcPts val="0"/>
              </a:spcAft>
              <a:buClr>
                <a:srgbClr val="00326E"/>
              </a:buClr>
              <a:buSzTx/>
              <a:buFont typeface="Wingdings" panose="05000000000000000000" pitchFamily="2" charset="2"/>
              <a:buNone/>
              <a:tabLst/>
              <a:defRPr/>
            </a:pPr>
            <a:r>
              <a:rPr kumimoji="0" lang="en-GB" sz="2400" b="1" i="0" u="none" strike="noStrike" kern="1200" cap="none" spc="0" normalizeH="0" baseline="0" noProof="0">
                <a:ln>
                  <a:noFill/>
                </a:ln>
                <a:solidFill>
                  <a:srgbClr val="00326E"/>
                </a:solidFill>
                <a:effectLst/>
                <a:uLnTx/>
                <a:uFillTx/>
                <a:latin typeface="Roboto"/>
                <a:ea typeface="+mn-ea"/>
                <a:cs typeface="+mn-cs"/>
              </a:rPr>
              <a:t>Own Brand</a:t>
            </a:r>
          </a:p>
        </p:txBody>
      </p:sp>
      <p:grpSp>
        <p:nvGrpSpPr>
          <p:cNvPr id="20" name="Group 19">
            <a:extLst>
              <a:ext uri="{FF2B5EF4-FFF2-40B4-BE49-F238E27FC236}">
                <a16:creationId xmlns:a16="http://schemas.microsoft.com/office/drawing/2014/main" id="{BAE41478-DC76-3847-B336-DB5FED396F8C}"/>
              </a:ext>
            </a:extLst>
          </p:cNvPr>
          <p:cNvGrpSpPr/>
          <p:nvPr/>
        </p:nvGrpSpPr>
        <p:grpSpPr>
          <a:xfrm>
            <a:off x="4828217" y="2191779"/>
            <a:ext cx="2444402" cy="2823879"/>
            <a:chOff x="9889616" y="268357"/>
            <a:chExt cx="1811214" cy="2092394"/>
          </a:xfrm>
        </p:grpSpPr>
        <p:pic>
          <p:nvPicPr>
            <p:cNvPr id="21" name="Picture 20" descr="A blue and white cube&#10;&#10;Description automatically generated">
              <a:extLst>
                <a:ext uri="{FF2B5EF4-FFF2-40B4-BE49-F238E27FC236}">
                  <a16:creationId xmlns:a16="http://schemas.microsoft.com/office/drawing/2014/main" id="{B622362D-F190-34A7-C5C8-B2A6F86635A0}"/>
                </a:ext>
              </a:extLst>
            </p:cNvPr>
            <p:cNvPicPr>
              <a:picLocks noChangeAspect="1"/>
            </p:cNvPicPr>
            <p:nvPr/>
          </p:nvPicPr>
          <p:blipFill>
            <a:blip r:embed="rId3" cstate="print">
              <a:extLst>
                <a:ext uri="{28A0092B-C50C-407E-A947-70E740481C1C}">
                  <a14:useLocalDpi xmlns:a14="http://schemas.microsoft.com/office/drawing/2010/main" val="0"/>
                </a:ext>
              </a:extLst>
            </a:blip>
            <a:srcRect r="14"/>
            <a:stretch>
              <a:fillRect/>
            </a:stretch>
          </p:blipFill>
          <p:spPr>
            <a:xfrm>
              <a:off x="9889616" y="268357"/>
              <a:ext cx="1811214" cy="2092394"/>
            </a:xfrm>
            <a:prstGeom prst="rect">
              <a:avLst/>
            </a:prstGeom>
          </p:spPr>
        </p:pic>
        <p:sp>
          <p:nvSpPr>
            <p:cNvPr id="22" name="Graphic 18">
              <a:extLst>
                <a:ext uri="{FF2B5EF4-FFF2-40B4-BE49-F238E27FC236}">
                  <a16:creationId xmlns:a16="http://schemas.microsoft.com/office/drawing/2014/main" id="{60D5FF8F-E8BC-4114-E0B2-701062701798}"/>
                </a:ext>
              </a:extLst>
            </p:cNvPr>
            <p:cNvSpPr/>
            <p:nvPr/>
          </p:nvSpPr>
          <p:spPr>
            <a:xfrm>
              <a:off x="10073890" y="464766"/>
              <a:ext cx="1438756" cy="1661425"/>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bg1">
                <a:alpha val="92000"/>
              </a:schemeClr>
            </a:solidFill>
            <a:ln w="38100" cap="flat">
              <a:noFill/>
              <a:prstDash val="solid"/>
              <a:miter/>
            </a:ln>
          </p:spPr>
          <p:txBody>
            <a:bodyPr lIns="216000" tIns="7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a:ln>
                  <a:noFill/>
                </a:ln>
                <a:solidFill>
                  <a:srgbClr val="F5821E"/>
                </a:solidFill>
                <a:effectLst/>
                <a:uLnTx/>
                <a:uFillTx/>
                <a:latin typeface="Roboto"/>
                <a:ea typeface="+mn-ea"/>
                <a:cs typeface="+mn-cs"/>
              </a:endParaRPr>
            </a:p>
          </p:txBody>
        </p:sp>
      </p:grpSp>
      <p:pic>
        <p:nvPicPr>
          <p:cNvPr id="24" name="Picture 23" descr="Logo, icon&#10;&#10;Description automatically generated">
            <a:extLst>
              <a:ext uri="{FF2B5EF4-FFF2-40B4-BE49-F238E27FC236}">
                <a16:creationId xmlns:a16="http://schemas.microsoft.com/office/drawing/2014/main" id="{87DF8C07-5768-940D-E1AB-2C32153E4C7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354913" y="3420339"/>
            <a:ext cx="1391011" cy="315270"/>
          </a:xfrm>
          <a:prstGeom prst="rect">
            <a:avLst/>
          </a:prstGeom>
        </p:spPr>
      </p:pic>
      <p:sp>
        <p:nvSpPr>
          <p:cNvPr id="25" name="TextBox 159">
            <a:extLst>
              <a:ext uri="{FF2B5EF4-FFF2-40B4-BE49-F238E27FC236}">
                <a16:creationId xmlns:a16="http://schemas.microsoft.com/office/drawing/2014/main" id="{E82B9893-28D3-4982-ABE1-706F940225C8}"/>
              </a:ext>
            </a:extLst>
          </p:cNvPr>
          <p:cNvSpPr txBox="1"/>
          <p:nvPr/>
        </p:nvSpPr>
        <p:spPr>
          <a:xfrm>
            <a:off x="8457447" y="1557168"/>
            <a:ext cx="2620882" cy="424732"/>
          </a:xfrm>
          <a:prstGeom prst="rect">
            <a:avLst/>
          </a:prstGeom>
        </p:spPr>
        <p:txBody>
          <a:bodyPr vert="horz" wrap="square" lIns="0" tIns="45720" rIns="0" bIns="45720" rtlCol="0">
            <a:spAutoFit/>
          </a:bodyPr>
          <a:lstStyle>
            <a:lvl1pPr marL="228600" lvl="0" indent="-228600">
              <a:lnSpc>
                <a:spcPct val="110000"/>
              </a:lnSpc>
              <a:spcBef>
                <a:spcPts val="1000"/>
              </a:spcBef>
              <a:buClr>
                <a:schemeClr val="accent1"/>
              </a:buClr>
              <a:buFont typeface="Wingdings" panose="05000000000000000000" pitchFamily="2" charset="2"/>
              <a:buChar char="§"/>
            </a:lvl1pPr>
            <a:lvl2pPr marL="468000" lvl="1" indent="-228600">
              <a:lnSpc>
                <a:spcPct val="110000"/>
              </a:lnSpc>
              <a:spcBef>
                <a:spcPts val="600"/>
              </a:spcBef>
              <a:buClr>
                <a:schemeClr val="accent1"/>
              </a:buClr>
              <a:buFont typeface="Wingdings" panose="05000000000000000000" pitchFamily="2" charset="2"/>
              <a:buChar char="§"/>
              <a:defRPr sz="1600"/>
            </a:lvl2pPr>
            <a:lvl3pPr marL="702000" lvl="2" indent="-228600">
              <a:lnSpc>
                <a:spcPct val="110000"/>
              </a:lnSpc>
              <a:spcBef>
                <a:spcPts val="600"/>
              </a:spcBef>
              <a:buClr>
                <a:schemeClr val="accent1"/>
              </a:buClr>
              <a:buFont typeface="Wingdings" panose="05000000000000000000" pitchFamily="2" charset="2"/>
              <a:buChar char="§"/>
              <a:defRPr sz="1600"/>
            </a:lvl3pPr>
            <a:lvl4pPr marL="936000" lvl="3" indent="-228600">
              <a:lnSpc>
                <a:spcPct val="110000"/>
              </a:lnSpc>
              <a:spcBef>
                <a:spcPts val="600"/>
              </a:spcBef>
              <a:buClr>
                <a:schemeClr val="accent1"/>
              </a:buClr>
              <a:buFont typeface="Wingdings" panose="05000000000000000000" pitchFamily="2" charset="2"/>
              <a:buChar char="§"/>
              <a:defRPr sz="1400"/>
            </a:lvl4pPr>
            <a:lvl5pPr marL="1152000" lvl="4" indent="-228600">
              <a:lnSpc>
                <a:spcPct val="110000"/>
              </a:lnSpc>
              <a:spcBef>
                <a:spcPts val="600"/>
              </a:spcBef>
              <a:buClr>
                <a:schemeClr val="accent1"/>
              </a:buClr>
              <a:buFont typeface="Wingdings" panose="05000000000000000000" pitchFamily="2" charset="2"/>
              <a:buChar char="§"/>
              <a:defRPr sz="1400"/>
            </a:lvl5pPr>
            <a:lvl6pPr marL="2514600" indent="-228600">
              <a:lnSpc>
                <a:spcPct val="90000"/>
              </a:lnSpc>
              <a:spcBef>
                <a:spcPts val="500"/>
              </a:spcBef>
              <a:buFont typeface="Roboto" panose="02000000000000000000" pitchFamily="2" charset="0"/>
              <a:buChar char="•"/>
            </a:lvl6pPr>
            <a:lvl7pPr marL="2971800" indent="-228600">
              <a:lnSpc>
                <a:spcPct val="90000"/>
              </a:lnSpc>
              <a:spcBef>
                <a:spcPts val="500"/>
              </a:spcBef>
              <a:buFont typeface="Roboto" panose="02000000000000000000" pitchFamily="2" charset="0"/>
              <a:buChar char="•"/>
            </a:lvl7pPr>
            <a:lvl8pPr marL="3429000" indent="-228600">
              <a:lnSpc>
                <a:spcPct val="90000"/>
              </a:lnSpc>
              <a:spcBef>
                <a:spcPts val="500"/>
              </a:spcBef>
              <a:buFont typeface="Roboto" panose="02000000000000000000" pitchFamily="2" charset="0"/>
              <a:buChar char="•"/>
            </a:lvl8pPr>
            <a:lvl9pPr marL="3886200" indent="-228600">
              <a:lnSpc>
                <a:spcPct val="90000"/>
              </a:lnSpc>
              <a:spcBef>
                <a:spcPts val="500"/>
              </a:spcBef>
              <a:buFont typeface="Roboto" panose="02000000000000000000" pitchFamily="2" charset="0"/>
              <a:buChar char="•"/>
            </a:lvl9pPr>
          </a:lstStyle>
          <a:p>
            <a:pPr marL="0" marR="0" lvl="0" indent="0" algn="ctr" defTabSz="914400" rtl="0" eaLnBrk="1" fontAlgn="auto" latinLnBrk="0" hangingPunct="1">
              <a:lnSpc>
                <a:spcPct val="90000"/>
              </a:lnSpc>
              <a:spcBef>
                <a:spcPts val="1000"/>
              </a:spcBef>
              <a:spcAft>
                <a:spcPts val="0"/>
              </a:spcAft>
              <a:buClr>
                <a:srgbClr val="00326E"/>
              </a:buClr>
              <a:buSzTx/>
              <a:buFont typeface="Wingdings" panose="05000000000000000000" pitchFamily="2" charset="2"/>
              <a:buNone/>
              <a:tabLst/>
              <a:defRPr/>
            </a:pPr>
            <a:r>
              <a:rPr kumimoji="0" lang="en-GB" sz="2400" b="1" i="0" u="none" strike="noStrike" kern="1200" cap="none" spc="0" normalizeH="0" baseline="0" noProof="0">
                <a:ln>
                  <a:noFill/>
                </a:ln>
                <a:solidFill>
                  <a:srgbClr val="00326E"/>
                </a:solidFill>
                <a:effectLst/>
                <a:uLnTx/>
                <a:uFillTx/>
                <a:latin typeface="Roboto"/>
                <a:ea typeface="+mn-ea"/>
                <a:cs typeface="+mn-cs"/>
              </a:rPr>
              <a:t>Governance</a:t>
            </a:r>
          </a:p>
        </p:txBody>
      </p:sp>
      <p:grpSp>
        <p:nvGrpSpPr>
          <p:cNvPr id="26" name="Group 25">
            <a:extLst>
              <a:ext uri="{FF2B5EF4-FFF2-40B4-BE49-F238E27FC236}">
                <a16:creationId xmlns:a16="http://schemas.microsoft.com/office/drawing/2014/main" id="{1C665005-B976-92D1-C391-237CA9ED835C}"/>
              </a:ext>
            </a:extLst>
          </p:cNvPr>
          <p:cNvGrpSpPr/>
          <p:nvPr/>
        </p:nvGrpSpPr>
        <p:grpSpPr>
          <a:xfrm>
            <a:off x="8542762" y="2191779"/>
            <a:ext cx="2444402" cy="2823879"/>
            <a:chOff x="9889616" y="268357"/>
            <a:chExt cx="1811214" cy="2092394"/>
          </a:xfrm>
        </p:grpSpPr>
        <p:pic>
          <p:nvPicPr>
            <p:cNvPr id="27" name="Picture 26" descr="A blue and white cube&#10;&#10;Description automatically generated">
              <a:extLst>
                <a:ext uri="{FF2B5EF4-FFF2-40B4-BE49-F238E27FC236}">
                  <a16:creationId xmlns:a16="http://schemas.microsoft.com/office/drawing/2014/main" id="{1641F70D-9B43-21C8-F41C-B8282249B08F}"/>
                </a:ext>
              </a:extLst>
            </p:cNvPr>
            <p:cNvPicPr>
              <a:picLocks noChangeAspect="1"/>
            </p:cNvPicPr>
            <p:nvPr/>
          </p:nvPicPr>
          <p:blipFill>
            <a:blip r:embed="rId3" cstate="print">
              <a:extLst>
                <a:ext uri="{28A0092B-C50C-407E-A947-70E740481C1C}">
                  <a14:useLocalDpi xmlns:a14="http://schemas.microsoft.com/office/drawing/2010/main" val="0"/>
                </a:ext>
              </a:extLst>
            </a:blip>
            <a:srcRect r="14"/>
            <a:stretch>
              <a:fillRect/>
            </a:stretch>
          </p:blipFill>
          <p:spPr>
            <a:xfrm>
              <a:off x="9889616" y="268357"/>
              <a:ext cx="1811214" cy="2092394"/>
            </a:xfrm>
            <a:prstGeom prst="rect">
              <a:avLst/>
            </a:prstGeom>
          </p:spPr>
        </p:pic>
        <p:sp>
          <p:nvSpPr>
            <p:cNvPr id="28" name="Graphic 18">
              <a:extLst>
                <a:ext uri="{FF2B5EF4-FFF2-40B4-BE49-F238E27FC236}">
                  <a16:creationId xmlns:a16="http://schemas.microsoft.com/office/drawing/2014/main" id="{7AD01D49-3E7F-602C-382D-0AF5AE3695A9}"/>
                </a:ext>
              </a:extLst>
            </p:cNvPr>
            <p:cNvSpPr/>
            <p:nvPr/>
          </p:nvSpPr>
          <p:spPr>
            <a:xfrm>
              <a:off x="10073890" y="464766"/>
              <a:ext cx="1438756" cy="1661425"/>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accent3">
                <a:alpha val="92000"/>
              </a:schemeClr>
            </a:solidFill>
            <a:ln w="38100" cap="flat">
              <a:noFill/>
              <a:prstDash val="solid"/>
              <a:miter/>
            </a:ln>
          </p:spPr>
          <p:txBody>
            <a:bodyPr lIns="216000" tIns="7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a:ln>
                  <a:noFill/>
                </a:ln>
                <a:solidFill>
                  <a:srgbClr val="F5821E"/>
                </a:solidFill>
                <a:effectLst/>
                <a:uLnTx/>
                <a:uFillTx/>
                <a:latin typeface="Roboto"/>
                <a:ea typeface="+mn-ea"/>
                <a:cs typeface="+mn-cs"/>
              </a:endParaRPr>
            </a:p>
          </p:txBody>
        </p:sp>
      </p:grpSp>
      <p:pic>
        <p:nvPicPr>
          <p:cNvPr id="33" name="Graphic 32">
            <a:extLst>
              <a:ext uri="{FF2B5EF4-FFF2-40B4-BE49-F238E27FC236}">
                <a16:creationId xmlns:a16="http://schemas.microsoft.com/office/drawing/2014/main" id="{A42C45D3-17BE-F286-5CC8-7AE767067203}"/>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238441" y="2904508"/>
            <a:ext cx="1233471" cy="1233471"/>
          </a:xfrm>
          <a:prstGeom prst="rect">
            <a:avLst/>
          </a:prstGeom>
        </p:spPr>
      </p:pic>
      <p:sp>
        <p:nvSpPr>
          <p:cNvPr id="35" name="TextBox 34">
            <a:extLst>
              <a:ext uri="{FF2B5EF4-FFF2-40B4-BE49-F238E27FC236}">
                <a16:creationId xmlns:a16="http://schemas.microsoft.com/office/drawing/2014/main" id="{B020056E-C45F-17F1-D6A6-83A8CCE8DE90}"/>
              </a:ext>
            </a:extLst>
          </p:cNvPr>
          <p:cNvSpPr txBox="1"/>
          <p:nvPr/>
        </p:nvSpPr>
        <p:spPr>
          <a:xfrm>
            <a:off x="911320" y="5160278"/>
            <a:ext cx="2843829" cy="1124869"/>
          </a:xfrm>
          <a:prstGeom prst="rect">
            <a:avLst/>
          </a:prstGeom>
          <a:solidFill>
            <a:schemeClr val="bg1"/>
          </a:solidFill>
        </p:spPr>
        <p:txBody>
          <a:bodyPr wrap="square" lIns="0" tIns="0" rIns="0" anchor="ctr">
            <a:noAutofit/>
          </a:bodyPr>
          <a:lstStyle/>
          <a:p>
            <a:pPr marL="0" marR="0" lvl="2"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326E"/>
                </a:solidFill>
                <a:effectLst/>
                <a:uLnTx/>
                <a:uFillTx/>
                <a:latin typeface="Roboto Condensed"/>
                <a:ea typeface="+mn-ea"/>
                <a:cs typeface="+mn-cs"/>
              </a:rPr>
              <a:t>“Best” </a:t>
            </a:r>
            <a:r>
              <a:rPr kumimoji="0" lang="en-GB" sz="1400" b="0" i="0" u="none" strike="noStrike" kern="1200" cap="none" spc="0" normalizeH="0" baseline="0" noProof="0">
                <a:ln>
                  <a:noFill/>
                </a:ln>
                <a:solidFill>
                  <a:srgbClr val="00326E"/>
                </a:solidFill>
                <a:effectLst/>
                <a:uLnTx/>
                <a:uFillTx/>
                <a:latin typeface="Roboto Condensed"/>
                <a:ea typeface="+mn-ea"/>
                <a:cs typeface="+mn-cs"/>
              </a:rPr>
              <a:t>Small Medium Large range</a:t>
            </a:r>
          </a:p>
          <a:p>
            <a:pPr marL="0" marR="0" lvl="2"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326E"/>
                </a:solidFill>
                <a:effectLst/>
                <a:uLnTx/>
                <a:uFillTx/>
                <a:latin typeface="Roboto Condensed"/>
                <a:ea typeface="+mn-ea"/>
                <a:cs typeface="+mn-cs"/>
              </a:rPr>
              <a:t>Fill Gaps: </a:t>
            </a:r>
            <a:r>
              <a:rPr kumimoji="0" lang="en-GB" sz="1400" b="0" i="0" u="none" strike="noStrike" kern="1200" cap="none" spc="0" normalizeH="0" baseline="0" noProof="0">
                <a:ln>
                  <a:noFill/>
                </a:ln>
                <a:solidFill>
                  <a:srgbClr val="00326E"/>
                </a:solidFill>
                <a:effectLst/>
                <a:uLnTx/>
                <a:uFillTx/>
                <a:latin typeface="Roboto Condensed"/>
                <a:ea typeface="+mn-ea"/>
                <a:cs typeface="+mn-cs"/>
              </a:rPr>
              <a:t>Add missing ranges/</a:t>
            </a:r>
            <a:br>
              <a:rPr kumimoji="0" lang="en-GB" sz="1400" b="0" i="0" u="none" strike="noStrike" kern="1200" cap="none" spc="0" normalizeH="0" baseline="0" noProof="0">
                <a:ln>
                  <a:noFill/>
                </a:ln>
                <a:solidFill>
                  <a:srgbClr val="00326E"/>
                </a:solidFill>
                <a:effectLst/>
                <a:uLnTx/>
                <a:uFillTx/>
                <a:latin typeface="Roboto Condensed"/>
                <a:ea typeface="+mn-ea"/>
                <a:cs typeface="+mn-cs"/>
              </a:rPr>
            </a:br>
            <a:r>
              <a:rPr kumimoji="0" lang="en-GB" sz="1400" b="0" i="0" u="none" strike="noStrike" kern="1200" cap="none" spc="0" normalizeH="0" baseline="0" noProof="0">
                <a:ln>
                  <a:noFill/>
                </a:ln>
                <a:solidFill>
                  <a:srgbClr val="00326E"/>
                </a:solidFill>
                <a:effectLst/>
                <a:uLnTx/>
                <a:uFillTx/>
                <a:latin typeface="Roboto Condensed"/>
                <a:ea typeface="+mn-ea"/>
                <a:cs typeface="+mn-cs"/>
              </a:rPr>
              <a:t>products and develop opportunities</a:t>
            </a:r>
            <a:br>
              <a:rPr kumimoji="0" lang="en-GB" sz="1400" b="0" i="0" u="none" strike="noStrike" kern="1200" cap="none" spc="0" normalizeH="0" baseline="0" noProof="0">
                <a:ln>
                  <a:noFill/>
                </a:ln>
                <a:solidFill>
                  <a:srgbClr val="00326E"/>
                </a:solidFill>
                <a:effectLst/>
                <a:uLnTx/>
                <a:uFillTx/>
                <a:latin typeface="Roboto Condensed"/>
                <a:ea typeface="+mn-ea"/>
                <a:cs typeface="+mn-cs"/>
              </a:rPr>
            </a:br>
            <a:r>
              <a:rPr kumimoji="0" lang="en-GB" sz="1400" b="0" i="0" u="none" strike="noStrike" kern="1200" cap="none" spc="0" normalizeH="0" baseline="0" noProof="0">
                <a:ln>
                  <a:noFill/>
                </a:ln>
                <a:solidFill>
                  <a:srgbClr val="00326E"/>
                </a:solidFill>
                <a:effectLst/>
                <a:uLnTx/>
                <a:uFillTx/>
                <a:latin typeface="Roboto Condensed"/>
                <a:ea typeface="+mn-ea"/>
                <a:cs typeface="+mn-cs"/>
              </a:rPr>
              <a:t>Drainage, Decorating, Roofing</a:t>
            </a:r>
          </a:p>
        </p:txBody>
      </p:sp>
      <p:sp>
        <p:nvSpPr>
          <p:cNvPr id="36" name="TextBox 35">
            <a:extLst>
              <a:ext uri="{FF2B5EF4-FFF2-40B4-BE49-F238E27FC236}">
                <a16:creationId xmlns:a16="http://schemas.microsoft.com/office/drawing/2014/main" id="{B289CB63-B300-F8CA-F177-8CC022D1149F}"/>
              </a:ext>
            </a:extLst>
          </p:cNvPr>
          <p:cNvSpPr txBox="1"/>
          <p:nvPr/>
        </p:nvSpPr>
        <p:spPr>
          <a:xfrm>
            <a:off x="4628504" y="5160278"/>
            <a:ext cx="2843829" cy="1124869"/>
          </a:xfrm>
          <a:prstGeom prst="rect">
            <a:avLst/>
          </a:prstGeom>
          <a:solidFill>
            <a:schemeClr val="bg1"/>
          </a:solidFill>
        </p:spPr>
        <p:txBody>
          <a:bodyPr wrap="square" lIns="0" tIns="0" rIns="0" anchor="ctr">
            <a:noAutofit/>
          </a:bodyPr>
          <a:lstStyle/>
          <a:p>
            <a:pPr marL="0" marR="0" lvl="2"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326E"/>
                </a:solidFill>
                <a:effectLst/>
                <a:uLnTx/>
                <a:uFillTx/>
                <a:latin typeface="Roboto Condensed"/>
                <a:ea typeface="+mn-ea"/>
                <a:cs typeface="+mn-cs"/>
              </a:rPr>
              <a:t>Comprehensive Group approach</a:t>
            </a:r>
          </a:p>
          <a:p>
            <a:pPr marL="0" marR="0" lvl="2"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326E"/>
                </a:solidFill>
                <a:effectLst/>
                <a:uLnTx/>
                <a:uFillTx/>
                <a:latin typeface="Roboto Condensed"/>
                <a:ea typeface="+mn-ea"/>
                <a:cs typeface="+mn-cs"/>
              </a:rPr>
              <a:t>Screws and Ironmongery April – May</a:t>
            </a:r>
          </a:p>
          <a:p>
            <a:pPr marL="0" marR="0" lvl="2"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326E"/>
                </a:solidFill>
                <a:effectLst/>
                <a:uLnTx/>
                <a:uFillTx/>
                <a:latin typeface="Roboto Condensed"/>
                <a:ea typeface="+mn-ea"/>
                <a:cs typeface="+mn-cs"/>
              </a:rPr>
              <a:t>Exit S-G 2024</a:t>
            </a:r>
          </a:p>
        </p:txBody>
      </p:sp>
      <p:sp>
        <p:nvSpPr>
          <p:cNvPr id="37" name="TextBox 36">
            <a:extLst>
              <a:ext uri="{FF2B5EF4-FFF2-40B4-BE49-F238E27FC236}">
                <a16:creationId xmlns:a16="http://schemas.microsoft.com/office/drawing/2014/main" id="{853B259F-93E1-4B7F-526B-4D50129CFBC8}"/>
              </a:ext>
            </a:extLst>
          </p:cNvPr>
          <p:cNvSpPr txBox="1"/>
          <p:nvPr/>
        </p:nvSpPr>
        <p:spPr>
          <a:xfrm>
            <a:off x="8340410" y="5160278"/>
            <a:ext cx="2843829" cy="1124869"/>
          </a:xfrm>
          <a:prstGeom prst="rect">
            <a:avLst/>
          </a:prstGeom>
          <a:solidFill>
            <a:schemeClr val="bg1"/>
          </a:solidFill>
        </p:spPr>
        <p:txBody>
          <a:bodyPr wrap="square" lIns="0" tIns="0" rIns="0" anchor="ctr">
            <a:noAutofit/>
          </a:bodyPr>
          <a:lstStyle/>
          <a:p>
            <a:pPr marL="0" marR="0" lvl="2"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326E"/>
                </a:solidFill>
                <a:effectLst/>
                <a:uLnTx/>
                <a:uFillTx/>
                <a:latin typeface="Roboto Condensed"/>
                <a:ea typeface="+mn-ea"/>
                <a:cs typeface="+mn-cs"/>
              </a:rPr>
              <a:t>Trading Board</a:t>
            </a:r>
          </a:p>
          <a:p>
            <a:pPr marL="0" marR="0" lvl="2"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326E"/>
                </a:solidFill>
                <a:effectLst/>
                <a:uLnTx/>
                <a:uFillTx/>
                <a:latin typeface="Roboto Condensed"/>
                <a:ea typeface="+mn-ea"/>
                <a:cs typeface="+mn-cs"/>
              </a:rPr>
              <a:t>Customer Board</a:t>
            </a:r>
          </a:p>
        </p:txBody>
      </p:sp>
    </p:spTree>
    <p:extLst>
      <p:ext uri="{BB962C8B-B14F-4D97-AF65-F5344CB8AC3E}">
        <p14:creationId xmlns:p14="http://schemas.microsoft.com/office/powerpoint/2010/main" val="718072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250"/>
                                        <p:tgtEl>
                                          <p:spTgt spid="25"/>
                                        </p:tgtEl>
                                      </p:cBhvr>
                                    </p:animEffect>
                                  </p:childTnLst>
                                </p:cTn>
                              </p:par>
                              <p:par>
                                <p:cTn id="8" presetID="42" presetClass="path" presetSubtype="0" decel="100000" fill="hold" grpId="1" nodeType="withEffect">
                                  <p:stCondLst>
                                    <p:cond delay="0"/>
                                  </p:stCondLst>
                                  <p:childTnLst>
                                    <p:animMotion origin="layout" path="M -3.75E-6 -0.03472 L -3.75E-6 1.85185E-6 " pathEditMode="relative" rAng="0" ptsTypes="AA">
                                      <p:cBhvr>
                                        <p:cTn id="9" dur="500" fill="hold"/>
                                        <p:tgtEl>
                                          <p:spTgt spid="25"/>
                                        </p:tgtEl>
                                        <p:attrNameLst>
                                          <p:attrName>ppt_x</p:attrName>
                                          <p:attrName>ppt_y</p:attrName>
                                        </p:attrNameLst>
                                      </p:cBhvr>
                                      <p:rCtr x="0" y="1736"/>
                                    </p:animMotion>
                                  </p:childTnLst>
                                </p:cTn>
                              </p:par>
                              <p:par>
                                <p:cTn id="10" presetID="10" presetClass="entr" presetSubtype="0" fill="hold" nodeType="with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250"/>
                                        <p:tgtEl>
                                          <p:spTgt spid="26"/>
                                        </p:tgtEl>
                                      </p:cBhvr>
                                    </p:animEffect>
                                  </p:childTnLst>
                                </p:cTn>
                              </p:par>
                              <p:par>
                                <p:cTn id="13" presetID="42" presetClass="path" presetSubtype="0" decel="100000" fill="hold" nodeType="withEffect">
                                  <p:stCondLst>
                                    <p:cond delay="0"/>
                                  </p:stCondLst>
                                  <p:childTnLst>
                                    <p:animMotion origin="layout" path="M -3.75E-6 -0.03472 L -3.75E-6 1.85185E-6 " pathEditMode="relative" rAng="0" ptsTypes="AA">
                                      <p:cBhvr>
                                        <p:cTn id="14" dur="500" fill="hold"/>
                                        <p:tgtEl>
                                          <p:spTgt spid="26"/>
                                        </p:tgtEl>
                                        <p:attrNameLst>
                                          <p:attrName>ppt_x</p:attrName>
                                          <p:attrName>ppt_y</p:attrName>
                                        </p:attrNameLst>
                                      </p:cBhvr>
                                      <p:rCtr x="0" y="1736"/>
                                    </p:animMotion>
                                  </p:childTnLst>
                                </p:cTn>
                              </p:par>
                              <p:par>
                                <p:cTn id="15" presetID="10" presetClass="entr" presetSubtype="0" fill="hold" nodeType="withEffect">
                                  <p:stCondLst>
                                    <p:cond delay="0"/>
                                  </p:stCondLst>
                                  <p:childTnLst>
                                    <p:set>
                                      <p:cBhvr>
                                        <p:cTn id="16" dur="1" fill="hold">
                                          <p:stCondLst>
                                            <p:cond delay="0"/>
                                          </p:stCondLst>
                                        </p:cTn>
                                        <p:tgtEl>
                                          <p:spTgt spid="33"/>
                                        </p:tgtEl>
                                        <p:attrNameLst>
                                          <p:attrName>style.visibility</p:attrName>
                                        </p:attrNameLst>
                                      </p:cBhvr>
                                      <p:to>
                                        <p:strVal val="visible"/>
                                      </p:to>
                                    </p:set>
                                    <p:animEffect transition="in" filter="fade">
                                      <p:cBhvr>
                                        <p:cTn id="17" dur="250"/>
                                        <p:tgtEl>
                                          <p:spTgt spid="33"/>
                                        </p:tgtEl>
                                      </p:cBhvr>
                                    </p:animEffect>
                                  </p:childTnLst>
                                </p:cTn>
                              </p:par>
                              <p:par>
                                <p:cTn id="18" presetID="42" presetClass="path" presetSubtype="0" decel="100000" fill="hold" nodeType="withEffect">
                                  <p:stCondLst>
                                    <p:cond delay="0"/>
                                  </p:stCondLst>
                                  <p:childTnLst>
                                    <p:animMotion origin="layout" path="M -3.75E-6 -0.03472 L -3.75E-6 1.85185E-6 " pathEditMode="relative" rAng="0" ptsTypes="AA">
                                      <p:cBhvr>
                                        <p:cTn id="19" dur="500" fill="hold"/>
                                        <p:tgtEl>
                                          <p:spTgt spid="33"/>
                                        </p:tgtEl>
                                        <p:attrNameLst>
                                          <p:attrName>ppt_x</p:attrName>
                                          <p:attrName>ppt_y</p:attrName>
                                        </p:attrNameLst>
                                      </p:cBhvr>
                                      <p:rCtr x="0" y="1736"/>
                                    </p:animMotion>
                                  </p:childTnLst>
                                </p:cTn>
                              </p:par>
                              <p:par>
                                <p:cTn id="20" presetID="10" presetClass="entr" presetSubtype="0" fill="hold" grpId="0" nodeType="withEffect">
                                  <p:stCondLst>
                                    <p:cond delay="0"/>
                                  </p:stCondLst>
                                  <p:childTnLst>
                                    <p:set>
                                      <p:cBhvr>
                                        <p:cTn id="21" dur="1" fill="hold">
                                          <p:stCondLst>
                                            <p:cond delay="0"/>
                                          </p:stCondLst>
                                        </p:cTn>
                                        <p:tgtEl>
                                          <p:spTgt spid="37"/>
                                        </p:tgtEl>
                                        <p:attrNameLst>
                                          <p:attrName>style.visibility</p:attrName>
                                        </p:attrNameLst>
                                      </p:cBhvr>
                                      <p:to>
                                        <p:strVal val="visible"/>
                                      </p:to>
                                    </p:set>
                                    <p:animEffect transition="in" filter="fade">
                                      <p:cBhvr>
                                        <p:cTn id="22" dur="250"/>
                                        <p:tgtEl>
                                          <p:spTgt spid="37"/>
                                        </p:tgtEl>
                                      </p:cBhvr>
                                    </p:animEffect>
                                  </p:childTnLst>
                                </p:cTn>
                              </p:par>
                              <p:par>
                                <p:cTn id="23" presetID="42" presetClass="path" presetSubtype="0" decel="100000" fill="hold" grpId="1" nodeType="withEffect">
                                  <p:stCondLst>
                                    <p:cond delay="0"/>
                                  </p:stCondLst>
                                  <p:childTnLst>
                                    <p:animMotion origin="layout" path="M -3.75E-6 -0.03472 L -3.75E-6 1.85185E-6 " pathEditMode="relative" rAng="0" ptsTypes="AA">
                                      <p:cBhvr>
                                        <p:cTn id="24" dur="500" fill="hold"/>
                                        <p:tgtEl>
                                          <p:spTgt spid="37"/>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5" grpId="1"/>
      <p:bldP spid="37" grpId="0" animBg="1"/>
      <p:bldP spid="37" grpId="1"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C2C643-E648-67CB-0FEB-DDD8ABC52D49}"/>
              </a:ext>
            </a:extLst>
          </p:cNvPr>
          <p:cNvSpPr>
            <a:spLocks noGrp="1"/>
          </p:cNvSpPr>
          <p:nvPr>
            <p:ph type="title"/>
          </p:nvPr>
        </p:nvSpPr>
        <p:spPr/>
        <p:txBody>
          <a:bodyPr/>
          <a:lstStyle/>
          <a:p>
            <a:r>
              <a:rPr lang="en-US" sz="4000"/>
              <a:t>Category structure</a:t>
            </a:r>
          </a:p>
        </p:txBody>
      </p:sp>
      <p:grpSp>
        <p:nvGrpSpPr>
          <p:cNvPr id="10" name="Group 9">
            <a:extLst>
              <a:ext uri="{FF2B5EF4-FFF2-40B4-BE49-F238E27FC236}">
                <a16:creationId xmlns:a16="http://schemas.microsoft.com/office/drawing/2014/main" id="{690BA6B0-8F38-DD6F-32B1-FE51FD403753}"/>
              </a:ext>
            </a:extLst>
          </p:cNvPr>
          <p:cNvGrpSpPr/>
          <p:nvPr/>
        </p:nvGrpSpPr>
        <p:grpSpPr>
          <a:xfrm>
            <a:off x="5463015" y="2179609"/>
            <a:ext cx="2087180" cy="2404310"/>
            <a:chOff x="9592359" y="3837218"/>
            <a:chExt cx="2087180" cy="2404310"/>
          </a:xfrm>
        </p:grpSpPr>
        <p:grpSp>
          <p:nvGrpSpPr>
            <p:cNvPr id="4" name="Group 55">
              <a:extLst>
                <a:ext uri="{FF2B5EF4-FFF2-40B4-BE49-F238E27FC236}">
                  <a16:creationId xmlns:a16="http://schemas.microsoft.com/office/drawing/2014/main" id="{C5948480-3D16-E7B4-F4C0-308E5178D7F5}"/>
                </a:ext>
              </a:extLst>
            </p:cNvPr>
            <p:cNvGrpSpPr/>
            <p:nvPr/>
          </p:nvGrpSpPr>
          <p:grpSpPr>
            <a:xfrm>
              <a:off x="9592359" y="3837218"/>
              <a:ext cx="2087180" cy="2404310"/>
              <a:chOff x="0" y="0"/>
              <a:chExt cx="4174360" cy="4808620"/>
            </a:xfrm>
          </p:grpSpPr>
          <p:sp>
            <p:nvSpPr>
              <p:cNvPr id="5" name="Freeform 56">
                <a:extLst>
                  <a:ext uri="{FF2B5EF4-FFF2-40B4-BE49-F238E27FC236}">
                    <a16:creationId xmlns:a16="http://schemas.microsoft.com/office/drawing/2014/main" id="{2B69DE84-9C72-559E-7128-B0033BE26247}"/>
                  </a:ext>
                </a:extLst>
              </p:cNvPr>
              <p:cNvSpPr/>
              <p:nvPr/>
            </p:nvSpPr>
            <p:spPr>
              <a:xfrm>
                <a:off x="38100" y="38100"/>
                <a:ext cx="4098163" cy="4732528"/>
              </a:xfrm>
              <a:custGeom>
                <a:avLst/>
                <a:gdLst/>
                <a:ahLst/>
                <a:cxnLst/>
                <a:rect l="l" t="t" r="r" b="b"/>
                <a:pathLst>
                  <a:path w="4098163" h="4732528">
                    <a:moveTo>
                      <a:pt x="4098163" y="3549142"/>
                    </a:moveTo>
                    <a:lnTo>
                      <a:pt x="4098163" y="1183259"/>
                    </a:lnTo>
                    <a:lnTo>
                      <a:pt x="2049272" y="0"/>
                    </a:lnTo>
                    <a:lnTo>
                      <a:pt x="0" y="1183259"/>
                    </a:lnTo>
                    <a:lnTo>
                      <a:pt x="0" y="3549269"/>
                    </a:lnTo>
                    <a:lnTo>
                      <a:pt x="2049272" y="4732528"/>
                    </a:lnTo>
                    <a:lnTo>
                      <a:pt x="4098163" y="3549269"/>
                    </a:lnTo>
                    <a:close/>
                  </a:path>
                </a:pathLst>
              </a:custGeom>
              <a:blipFill>
                <a:blip r:embed="rId3"/>
                <a:stretch>
                  <a:fillRect l="-929" t="-873" r="-929" b="-870"/>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Roboto"/>
                  <a:ea typeface="+mn-ea"/>
                  <a:cs typeface="+mn-cs"/>
                </a:endParaRPr>
              </a:p>
            </p:txBody>
          </p:sp>
          <p:sp>
            <p:nvSpPr>
              <p:cNvPr id="6" name="Freeform 57">
                <a:extLst>
                  <a:ext uri="{FF2B5EF4-FFF2-40B4-BE49-F238E27FC236}">
                    <a16:creationId xmlns:a16="http://schemas.microsoft.com/office/drawing/2014/main" id="{3426BBDB-8267-6DFD-9FBD-F58C40308FF0}"/>
                  </a:ext>
                </a:extLst>
              </p:cNvPr>
              <p:cNvSpPr/>
              <p:nvPr/>
            </p:nvSpPr>
            <p:spPr>
              <a:xfrm>
                <a:off x="0" y="-1778"/>
                <a:ext cx="4174363" cy="4812157"/>
              </a:xfrm>
              <a:custGeom>
                <a:avLst/>
                <a:gdLst/>
                <a:ahLst/>
                <a:cxnLst/>
                <a:rect l="l" t="t" r="r" b="b"/>
                <a:pathLst>
                  <a:path w="4174363" h="4812157">
                    <a:moveTo>
                      <a:pt x="4098163" y="3589020"/>
                    </a:moveTo>
                    <a:lnTo>
                      <a:pt x="4098163" y="1223137"/>
                    </a:lnTo>
                    <a:lnTo>
                      <a:pt x="4136263" y="1223137"/>
                    </a:lnTo>
                    <a:lnTo>
                      <a:pt x="4117213" y="1256157"/>
                    </a:lnTo>
                    <a:lnTo>
                      <a:pt x="2068322" y="72898"/>
                    </a:lnTo>
                    <a:lnTo>
                      <a:pt x="2087372" y="39878"/>
                    </a:lnTo>
                    <a:lnTo>
                      <a:pt x="2106422" y="72898"/>
                    </a:lnTo>
                    <a:lnTo>
                      <a:pt x="57150" y="1256157"/>
                    </a:lnTo>
                    <a:lnTo>
                      <a:pt x="38100" y="1223137"/>
                    </a:lnTo>
                    <a:lnTo>
                      <a:pt x="76200" y="1223137"/>
                    </a:lnTo>
                    <a:lnTo>
                      <a:pt x="76200" y="3589147"/>
                    </a:lnTo>
                    <a:lnTo>
                      <a:pt x="38100" y="3589147"/>
                    </a:lnTo>
                    <a:lnTo>
                      <a:pt x="57150" y="3556127"/>
                    </a:lnTo>
                    <a:lnTo>
                      <a:pt x="2106422" y="4739386"/>
                    </a:lnTo>
                    <a:lnTo>
                      <a:pt x="2087372" y="4772406"/>
                    </a:lnTo>
                    <a:lnTo>
                      <a:pt x="2068322" y="4739386"/>
                    </a:lnTo>
                    <a:lnTo>
                      <a:pt x="4117213" y="3556127"/>
                    </a:lnTo>
                    <a:lnTo>
                      <a:pt x="4136263" y="3589147"/>
                    </a:lnTo>
                    <a:lnTo>
                      <a:pt x="4098163" y="3589147"/>
                    </a:lnTo>
                    <a:moveTo>
                      <a:pt x="4174363" y="3589147"/>
                    </a:moveTo>
                    <a:cubicBezTo>
                      <a:pt x="4174363" y="3602736"/>
                      <a:pt x="4167124" y="3615309"/>
                      <a:pt x="4155313" y="3622167"/>
                    </a:cubicBezTo>
                    <a:lnTo>
                      <a:pt x="2106422" y="4805299"/>
                    </a:lnTo>
                    <a:cubicBezTo>
                      <a:pt x="2094611" y="4812157"/>
                      <a:pt x="2080133" y="4812157"/>
                      <a:pt x="2068322" y="4805299"/>
                    </a:cubicBezTo>
                    <a:lnTo>
                      <a:pt x="19050" y="3622040"/>
                    </a:lnTo>
                    <a:cubicBezTo>
                      <a:pt x="7239" y="3615182"/>
                      <a:pt x="0" y="3602609"/>
                      <a:pt x="0" y="3589020"/>
                    </a:cubicBezTo>
                    <a:lnTo>
                      <a:pt x="0" y="1223137"/>
                    </a:lnTo>
                    <a:cubicBezTo>
                      <a:pt x="0" y="1209548"/>
                      <a:pt x="7239" y="1196975"/>
                      <a:pt x="19050" y="1190117"/>
                    </a:cubicBezTo>
                    <a:lnTo>
                      <a:pt x="2068322" y="6858"/>
                    </a:lnTo>
                    <a:cubicBezTo>
                      <a:pt x="2080133" y="0"/>
                      <a:pt x="2094611" y="0"/>
                      <a:pt x="2106422" y="6858"/>
                    </a:cubicBezTo>
                    <a:lnTo>
                      <a:pt x="4155313" y="1190117"/>
                    </a:lnTo>
                    <a:cubicBezTo>
                      <a:pt x="4167124" y="1196975"/>
                      <a:pt x="4174363" y="1209548"/>
                      <a:pt x="4174363" y="1223137"/>
                    </a:cubicBezTo>
                    <a:lnTo>
                      <a:pt x="4174363" y="3589147"/>
                    </a:lnTo>
                    <a:close/>
                  </a:path>
                </a:pathLst>
              </a:custGeom>
              <a:solidFill>
                <a:srgbClr val="00326E"/>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Roboto"/>
                  <a:ea typeface="+mn-ea"/>
                  <a:cs typeface="+mn-cs"/>
                </a:endParaRPr>
              </a:p>
            </p:txBody>
          </p:sp>
        </p:grpSp>
        <p:grpSp>
          <p:nvGrpSpPr>
            <p:cNvPr id="7" name="Group 62">
              <a:extLst>
                <a:ext uri="{FF2B5EF4-FFF2-40B4-BE49-F238E27FC236}">
                  <a16:creationId xmlns:a16="http://schemas.microsoft.com/office/drawing/2014/main" id="{4CF34D1B-3210-49B8-A2E4-4BE067CBDD38}"/>
                </a:ext>
              </a:extLst>
            </p:cNvPr>
            <p:cNvGrpSpPr/>
            <p:nvPr/>
          </p:nvGrpSpPr>
          <p:grpSpPr>
            <a:xfrm>
              <a:off x="9611409" y="3856267"/>
              <a:ext cx="2049080" cy="2366210"/>
              <a:chOff x="0" y="0"/>
              <a:chExt cx="4098160" cy="4732420"/>
            </a:xfrm>
          </p:grpSpPr>
          <p:sp>
            <p:nvSpPr>
              <p:cNvPr id="8" name="Freeform 63">
                <a:extLst>
                  <a:ext uri="{FF2B5EF4-FFF2-40B4-BE49-F238E27FC236}">
                    <a16:creationId xmlns:a16="http://schemas.microsoft.com/office/drawing/2014/main" id="{93C63A8F-93DF-C85F-8570-B64714C3DEB6}"/>
                  </a:ext>
                </a:extLst>
              </p:cNvPr>
              <p:cNvSpPr/>
              <p:nvPr/>
            </p:nvSpPr>
            <p:spPr>
              <a:xfrm>
                <a:off x="0" y="0"/>
                <a:ext cx="4098163" cy="4732528"/>
              </a:xfrm>
              <a:custGeom>
                <a:avLst/>
                <a:gdLst/>
                <a:ahLst/>
                <a:cxnLst/>
                <a:rect l="l" t="t" r="r" b="b"/>
                <a:pathLst>
                  <a:path w="4098163" h="4732528">
                    <a:moveTo>
                      <a:pt x="4098163" y="3549142"/>
                    </a:moveTo>
                    <a:lnTo>
                      <a:pt x="4098163" y="1183259"/>
                    </a:lnTo>
                    <a:lnTo>
                      <a:pt x="2049272" y="0"/>
                    </a:lnTo>
                    <a:lnTo>
                      <a:pt x="0" y="1183259"/>
                    </a:lnTo>
                    <a:lnTo>
                      <a:pt x="0" y="3549269"/>
                    </a:lnTo>
                    <a:lnTo>
                      <a:pt x="2049272" y="4732528"/>
                    </a:lnTo>
                    <a:lnTo>
                      <a:pt x="4098163" y="3549269"/>
                    </a:lnTo>
                    <a:close/>
                  </a:path>
                </a:pathLst>
              </a:custGeom>
              <a:gradFill rotWithShape="1">
                <a:gsLst>
                  <a:gs pos="0">
                    <a:srgbClr val="000000">
                      <a:alpha val="100000"/>
                    </a:srgbClr>
                  </a:gs>
                  <a:gs pos="54000">
                    <a:srgbClr val="000000">
                      <a:alpha val="0"/>
                    </a:srgbClr>
                  </a:gs>
                  <a:gs pos="83000">
                    <a:srgbClr val="4B9DFF">
                      <a:alpha val="0"/>
                    </a:srgbClr>
                  </a:gs>
                  <a:gs pos="100000">
                    <a:srgbClr val="87BEFF">
                      <a:alpha val="0"/>
                    </a:srgbClr>
                  </a:gs>
                </a:gsLst>
                <a:lin ang="16200000"/>
              </a:gra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Roboto"/>
                  <a:ea typeface="+mn-ea"/>
                  <a:cs typeface="+mn-cs"/>
                </a:endParaRPr>
              </a:p>
            </p:txBody>
          </p:sp>
        </p:grpSp>
        <p:sp>
          <p:nvSpPr>
            <p:cNvPr id="9" name="TextBox 78">
              <a:extLst>
                <a:ext uri="{FF2B5EF4-FFF2-40B4-BE49-F238E27FC236}">
                  <a16:creationId xmlns:a16="http://schemas.microsoft.com/office/drawing/2014/main" id="{4E4E2CA2-38C1-9AB9-049E-6542B615B1A0}"/>
                </a:ext>
              </a:extLst>
            </p:cNvPr>
            <p:cNvSpPr txBox="1"/>
            <p:nvPr/>
          </p:nvSpPr>
          <p:spPr>
            <a:xfrm>
              <a:off x="9893814" y="5292445"/>
              <a:ext cx="1484270" cy="445635"/>
            </a:xfrm>
            <a:prstGeom prst="rect">
              <a:avLst/>
            </a:prstGeom>
          </p:spPr>
          <p:txBody>
            <a:bodyPr lIns="0" tIns="0" rIns="0" bIns="0" rtlCol="0" anchor="t">
              <a:spAutoFit/>
            </a:bodyPr>
            <a:lstStyle/>
            <a:p>
              <a:pPr marL="0" marR="0" lvl="0" indent="0" algn="ctr" defTabSz="914400" rtl="0" eaLnBrk="1" fontAlgn="auto" latinLnBrk="0" hangingPunct="1">
                <a:lnSpc>
                  <a:spcPts val="1728"/>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Roboto Condensed Bold"/>
                  <a:ea typeface="+mn-ea"/>
                  <a:cs typeface="+mn-cs"/>
                </a:rPr>
                <a:t>BRANCH OF THE FUTURE</a:t>
              </a:r>
            </a:p>
          </p:txBody>
        </p:sp>
      </p:grpSp>
      <p:sp>
        <p:nvSpPr>
          <p:cNvPr id="17" name="Title 3">
            <a:extLst>
              <a:ext uri="{FF2B5EF4-FFF2-40B4-BE49-F238E27FC236}">
                <a16:creationId xmlns:a16="http://schemas.microsoft.com/office/drawing/2014/main" id="{1FD42548-5D1D-188E-1302-04C1335DC89D}"/>
              </a:ext>
            </a:extLst>
          </p:cNvPr>
          <p:cNvSpPr txBox="1">
            <a:spLocks/>
          </p:cNvSpPr>
          <p:nvPr/>
        </p:nvSpPr>
        <p:spPr>
          <a:xfrm>
            <a:off x="514801" y="1001221"/>
            <a:ext cx="4688136" cy="867866"/>
          </a:xfrm>
          <a:prstGeom prst="rect">
            <a:avLst/>
          </a:prstGeom>
        </p:spPr>
        <p:txBody>
          <a:bodyPr vert="horz" wrap="none" lIns="0" tIns="45720" rIns="0" bIns="0" rtlCol="0" anchor="t" anchorCtr="0">
            <a:noAutofit/>
          </a:bodyPr>
          <a:lstStyle>
            <a:lvl1pPr algn="l" defTabSz="914400" rtl="0" eaLnBrk="1" latinLnBrk="0" hangingPunct="1">
              <a:lnSpc>
                <a:spcPct val="90000"/>
              </a:lnSpc>
              <a:spcBef>
                <a:spcPct val="0"/>
              </a:spcBef>
              <a:buNone/>
              <a:defRPr sz="3600" b="1"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0" normalizeH="0" baseline="0" noProof="0">
                <a:ln>
                  <a:noFill/>
                </a:ln>
                <a:solidFill>
                  <a:srgbClr val="00326E"/>
                </a:solidFill>
                <a:effectLst/>
                <a:uLnTx/>
                <a:uFillTx/>
                <a:latin typeface="Roboto Condensed"/>
                <a:ea typeface="+mj-ea"/>
                <a:cs typeface="+mj-cs"/>
              </a:rPr>
              <a:t>category.support@jewson.co.uk</a:t>
            </a:r>
          </a:p>
        </p:txBody>
      </p:sp>
      <p:grpSp>
        <p:nvGrpSpPr>
          <p:cNvPr id="32" name="Group 31">
            <a:extLst>
              <a:ext uri="{FF2B5EF4-FFF2-40B4-BE49-F238E27FC236}">
                <a16:creationId xmlns:a16="http://schemas.microsoft.com/office/drawing/2014/main" id="{CDB8A329-FE29-ED9D-BD0A-238FD191E0B1}"/>
              </a:ext>
            </a:extLst>
          </p:cNvPr>
          <p:cNvGrpSpPr/>
          <p:nvPr/>
        </p:nvGrpSpPr>
        <p:grpSpPr>
          <a:xfrm>
            <a:off x="7661506" y="3678980"/>
            <a:ext cx="1406295" cy="1552976"/>
            <a:chOff x="7661506" y="3678980"/>
            <a:chExt cx="1406295" cy="1552976"/>
          </a:xfrm>
        </p:grpSpPr>
        <p:sp>
          <p:nvSpPr>
            <p:cNvPr id="19" name="Hexagon 18">
              <a:extLst>
                <a:ext uri="{FF2B5EF4-FFF2-40B4-BE49-F238E27FC236}">
                  <a16:creationId xmlns:a16="http://schemas.microsoft.com/office/drawing/2014/main" id="{02995A4E-AF0B-0FF3-212C-602E18EEC617}"/>
                </a:ext>
              </a:extLst>
            </p:cNvPr>
            <p:cNvSpPr>
              <a:spLocks noChangeAspect="1"/>
            </p:cNvSpPr>
            <p:nvPr/>
          </p:nvSpPr>
          <p:spPr>
            <a:xfrm rot="5400000">
              <a:off x="7588166" y="3752320"/>
              <a:ext cx="1552976" cy="1406295"/>
            </a:xfrm>
            <a:prstGeom prst="hexagon">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a:ea typeface="+mn-ea"/>
                <a:cs typeface="+mn-cs"/>
              </a:endParaRPr>
            </a:p>
          </p:txBody>
        </p:sp>
        <p:sp>
          <p:nvSpPr>
            <p:cNvPr id="24" name="Rounded Rectangle 38">
              <a:extLst>
                <a:ext uri="{FF2B5EF4-FFF2-40B4-BE49-F238E27FC236}">
                  <a16:creationId xmlns:a16="http://schemas.microsoft.com/office/drawing/2014/main" id="{BFC1B5AF-A534-293D-2760-03E835D31A0D}"/>
                </a:ext>
              </a:extLst>
            </p:cNvPr>
            <p:cNvSpPr/>
            <p:nvPr/>
          </p:nvSpPr>
          <p:spPr>
            <a:xfrm>
              <a:off x="7752155" y="3998008"/>
              <a:ext cx="1224995" cy="895704"/>
            </a:xfrm>
            <a:prstGeom prst="rect">
              <a:avLst/>
            </a:prstGeom>
            <a:noFill/>
            <a:ln w="38100" cap="flat">
              <a:noFill/>
              <a:prstDash val="solid"/>
              <a:miter/>
            </a:ln>
          </p:spPr>
          <p:txBody>
            <a:bodyPr wrap="none" lIns="216000" tIns="108000" rIns="216000" bIns="36000" rtlCol="0" anchor="ctr">
              <a:norm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5821E"/>
                  </a:solidFill>
                  <a:effectLst/>
                  <a:uLnTx/>
                  <a:uFillTx/>
                  <a:latin typeface="Roboto"/>
                  <a:ea typeface="+mn-ea"/>
                  <a:cs typeface="+mn-cs"/>
                </a:rPr>
                <a:t>Shaun Walsh</a:t>
              </a:r>
              <a:endParaRPr kumimoji="0" lang="en-GB" sz="1400" b="1" i="0" u="none" strike="noStrike" kern="1200" cap="none" spc="0" normalizeH="0" baseline="0" noProof="0">
                <a:ln>
                  <a:noFill/>
                </a:ln>
                <a:solidFill>
                  <a:srgbClr val="F5821E"/>
                </a:solidFill>
                <a:effectLst/>
                <a:uLnTx/>
                <a:uFillTx/>
                <a:latin typeface="Roboto"/>
                <a:ea typeface="Roboto"/>
                <a:cs typeface="Roboto"/>
              </a:endParaRPr>
            </a:p>
            <a:p>
              <a:pPr marL="0" marR="0" lvl="0" indent="0" algn="ctr" defTabSz="914400" rtl="0" eaLnBrk="1" fontAlgn="auto" latinLnBrk="0" hangingPunct="1">
                <a:lnSpc>
                  <a:spcPct val="80000"/>
                </a:lnSpc>
                <a:spcBef>
                  <a:spcPts val="0"/>
                </a:spcBef>
                <a:spcAft>
                  <a:spcPts val="600"/>
                </a:spcAft>
                <a:buClrTx/>
                <a:buSzTx/>
                <a:buFontTx/>
                <a:buNone/>
                <a:tabLst/>
                <a:defRPr/>
              </a:pPr>
              <a:r>
                <a:rPr kumimoji="0" lang="en-GB" sz="1200" b="0" i="0" u="none" strike="noStrike" kern="1200" cap="none" spc="0" normalizeH="0" baseline="0" noProof="0">
                  <a:ln>
                    <a:noFill/>
                  </a:ln>
                  <a:solidFill>
                    <a:srgbClr val="F5821E"/>
                  </a:solidFill>
                  <a:effectLst/>
                  <a:uLnTx/>
                  <a:uFillTx/>
                  <a:latin typeface="Roboto Condensed"/>
                  <a:ea typeface="+mn-ea"/>
                  <a:cs typeface="+mn-cs"/>
                </a:rPr>
                <a:t>Category Director</a:t>
              </a:r>
              <a:br>
                <a:rPr kumimoji="0" lang="en-GB" sz="1200" b="0" i="0" u="none" strike="noStrike" kern="1200" cap="none" spc="0" normalizeH="0" baseline="0" noProof="0">
                  <a:ln>
                    <a:noFill/>
                  </a:ln>
                  <a:solidFill>
                    <a:srgbClr val="F5821E"/>
                  </a:solidFill>
                  <a:effectLst/>
                  <a:uLnTx/>
                  <a:uFillTx/>
                  <a:latin typeface="Roboto Condensed"/>
                  <a:ea typeface="+mn-ea"/>
                  <a:cs typeface="+mn-cs"/>
                </a:rPr>
              </a:br>
              <a:r>
                <a:rPr kumimoji="0" lang="en-GB" sz="1200" b="0" i="0" u="none" strike="noStrike" kern="1200" cap="none" spc="0" normalizeH="0" baseline="0" noProof="0">
                  <a:ln>
                    <a:noFill/>
                  </a:ln>
                  <a:solidFill>
                    <a:srgbClr val="F5821E"/>
                  </a:solidFill>
                  <a:effectLst/>
                  <a:uLnTx/>
                  <a:uFillTx/>
                  <a:latin typeface="Roboto Condensed"/>
                  <a:ea typeface="+mn-ea"/>
                  <a:cs typeface="+mn-cs"/>
                </a:rPr>
                <a:t>HBM</a:t>
              </a:r>
              <a:endParaRPr kumimoji="0" lang="en-GB" sz="1200" b="0" i="0" u="none" strike="noStrike" kern="1200" cap="none" spc="0" normalizeH="0" baseline="0" noProof="0">
                <a:ln>
                  <a:noFill/>
                </a:ln>
                <a:solidFill>
                  <a:srgbClr val="F5821E"/>
                </a:solidFill>
                <a:effectLst/>
                <a:uLnTx/>
                <a:uFillTx/>
                <a:latin typeface="Roboto Condensed"/>
                <a:ea typeface="Roboto Condensed"/>
                <a:cs typeface="Roboto Condensed"/>
              </a:endParaRPr>
            </a:p>
          </p:txBody>
        </p:sp>
      </p:grpSp>
      <p:grpSp>
        <p:nvGrpSpPr>
          <p:cNvPr id="30" name="Group 29">
            <a:extLst>
              <a:ext uri="{FF2B5EF4-FFF2-40B4-BE49-F238E27FC236}">
                <a16:creationId xmlns:a16="http://schemas.microsoft.com/office/drawing/2014/main" id="{D1D99A8D-0266-59BE-5819-8661AE96FF54}"/>
              </a:ext>
            </a:extLst>
          </p:cNvPr>
          <p:cNvGrpSpPr/>
          <p:nvPr/>
        </p:nvGrpSpPr>
        <p:grpSpPr>
          <a:xfrm>
            <a:off x="5802888" y="533454"/>
            <a:ext cx="1406295" cy="1552976"/>
            <a:chOff x="5802888" y="533454"/>
            <a:chExt cx="1406295" cy="1552976"/>
          </a:xfrm>
        </p:grpSpPr>
        <p:sp>
          <p:nvSpPr>
            <p:cNvPr id="3" name="Hexagon 2">
              <a:extLst>
                <a:ext uri="{FF2B5EF4-FFF2-40B4-BE49-F238E27FC236}">
                  <a16:creationId xmlns:a16="http://schemas.microsoft.com/office/drawing/2014/main" id="{CC1540F4-27C5-E161-F747-969711AB0EB5}"/>
                </a:ext>
              </a:extLst>
            </p:cNvPr>
            <p:cNvSpPr>
              <a:spLocks noChangeAspect="1"/>
            </p:cNvSpPr>
            <p:nvPr/>
          </p:nvSpPr>
          <p:spPr>
            <a:xfrm rot="5400000">
              <a:off x="5729548" y="606794"/>
              <a:ext cx="1552976" cy="1406295"/>
            </a:xfrm>
            <a:prstGeom prst="hexagon">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a:ea typeface="+mn-ea"/>
                <a:cs typeface="+mn-cs"/>
              </a:endParaRPr>
            </a:p>
          </p:txBody>
        </p:sp>
        <p:sp>
          <p:nvSpPr>
            <p:cNvPr id="25" name="Rounded Rectangle 11">
              <a:extLst>
                <a:ext uri="{FF2B5EF4-FFF2-40B4-BE49-F238E27FC236}">
                  <a16:creationId xmlns:a16="http://schemas.microsoft.com/office/drawing/2014/main" id="{14EEE345-4BDD-D141-78E1-25D7D3566EB7}"/>
                </a:ext>
              </a:extLst>
            </p:cNvPr>
            <p:cNvSpPr/>
            <p:nvPr/>
          </p:nvSpPr>
          <p:spPr>
            <a:xfrm>
              <a:off x="5862956" y="805835"/>
              <a:ext cx="1301450" cy="978736"/>
            </a:xfrm>
            <a:prstGeom prst="rect">
              <a:avLst/>
            </a:prstGeom>
            <a:noFill/>
            <a:ln w="38100" cap="flat">
              <a:noFill/>
              <a:prstDash val="solid"/>
              <a:miter/>
            </a:ln>
          </p:spPr>
          <p:txBody>
            <a:bodyPr wrap="none" lIns="216000" tIns="108000" rIns="216000" bIns="36000" rtlCol="0" anchor="ct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5821E"/>
                  </a:solidFill>
                  <a:effectLst/>
                  <a:uLnTx/>
                  <a:uFillTx/>
                  <a:latin typeface="Roboto"/>
                  <a:ea typeface="+mn-ea"/>
                  <a:cs typeface="+mn-cs"/>
                </a:rPr>
                <a:t>Rich Sykes</a:t>
              </a:r>
              <a:endParaRPr kumimoji="0" lang="en-GB" sz="1400" b="1" i="0" u="none" strike="noStrike" kern="1200" cap="none" spc="0" normalizeH="0" baseline="0" noProof="0">
                <a:ln>
                  <a:noFill/>
                </a:ln>
                <a:solidFill>
                  <a:srgbClr val="F5821E"/>
                </a:solidFill>
                <a:effectLst/>
                <a:uLnTx/>
                <a:uFillTx/>
                <a:latin typeface="Roboto"/>
                <a:ea typeface="Roboto"/>
                <a:cs typeface="Roboto"/>
              </a:endParaRPr>
            </a:p>
            <a:p>
              <a:pPr marL="0" marR="0" lvl="0" indent="0" algn="ctr" defTabSz="914400" rtl="0" eaLnBrk="1" fontAlgn="auto" latinLnBrk="0" hangingPunct="1">
                <a:lnSpc>
                  <a:spcPct val="80000"/>
                </a:lnSpc>
                <a:spcBef>
                  <a:spcPts val="0"/>
                </a:spcBef>
                <a:spcAft>
                  <a:spcPts val="600"/>
                </a:spcAft>
                <a:buClrTx/>
                <a:buSzTx/>
                <a:buFontTx/>
                <a:buNone/>
                <a:tabLst/>
                <a:defRPr/>
              </a:pPr>
              <a:r>
                <a:rPr kumimoji="0" lang="en-GB" sz="1200" b="0" i="0" u="none" strike="noStrike" kern="1200" cap="none" spc="0" normalizeH="0" baseline="0" noProof="0">
                  <a:ln>
                    <a:noFill/>
                  </a:ln>
                  <a:solidFill>
                    <a:srgbClr val="F5821E"/>
                  </a:solidFill>
                  <a:effectLst/>
                  <a:uLnTx/>
                  <a:uFillTx/>
                  <a:latin typeface="Roboto Condensed"/>
                  <a:ea typeface="+mn-ea"/>
                  <a:cs typeface="+mn-cs"/>
                </a:rPr>
                <a:t>Product </a:t>
              </a:r>
              <a:br>
                <a:rPr kumimoji="0" lang="en-GB" sz="1200" b="0" i="0" u="none" strike="noStrike" kern="1200" cap="none" spc="0" normalizeH="0" baseline="0" noProof="0">
                  <a:ln>
                    <a:noFill/>
                  </a:ln>
                  <a:solidFill>
                    <a:srgbClr val="F5821E"/>
                  </a:solidFill>
                  <a:effectLst/>
                  <a:uLnTx/>
                  <a:uFillTx/>
                  <a:latin typeface="Roboto Condensed"/>
                  <a:ea typeface="+mn-ea"/>
                  <a:cs typeface="+mn-cs"/>
                </a:rPr>
              </a:br>
              <a:r>
                <a:rPr kumimoji="0" lang="en-GB" sz="1200" b="0" i="0" u="none" strike="noStrike" kern="1200" cap="none" spc="0" normalizeH="0" baseline="0" noProof="0">
                  <a:ln>
                    <a:noFill/>
                  </a:ln>
                  <a:solidFill>
                    <a:srgbClr val="F5821E"/>
                  </a:solidFill>
                  <a:effectLst/>
                  <a:uLnTx/>
                  <a:uFillTx/>
                  <a:latin typeface="Roboto Condensed"/>
                  <a:ea typeface="+mn-ea"/>
                  <a:cs typeface="+mn-cs"/>
                </a:rPr>
                <a:t>Sustainability</a:t>
              </a:r>
              <a:br>
                <a:rPr kumimoji="0" lang="en-GB" sz="1200" b="0" i="0" u="none" strike="noStrike" kern="1200" cap="none" spc="0" normalizeH="0" baseline="0" noProof="0">
                  <a:ln>
                    <a:noFill/>
                  </a:ln>
                  <a:solidFill>
                    <a:srgbClr val="F5821E"/>
                  </a:solidFill>
                  <a:effectLst/>
                  <a:uLnTx/>
                  <a:uFillTx/>
                  <a:latin typeface="Roboto Condensed"/>
                  <a:ea typeface="+mn-ea"/>
                  <a:cs typeface="+mn-cs"/>
                </a:rPr>
              </a:br>
              <a:r>
                <a:rPr kumimoji="0" lang="en-GB" sz="1200" b="0" i="0" u="none" strike="noStrike" kern="1200" cap="none" spc="0" normalizeH="0" baseline="0" noProof="0">
                  <a:ln>
                    <a:noFill/>
                  </a:ln>
                  <a:solidFill>
                    <a:srgbClr val="F5821E"/>
                  </a:solidFill>
                  <a:effectLst/>
                  <a:uLnTx/>
                  <a:uFillTx/>
                  <a:latin typeface="Roboto Condensed"/>
                  <a:ea typeface="+mn-ea"/>
                  <a:cs typeface="+mn-cs"/>
                </a:rPr>
                <a:t>&amp; Compliance </a:t>
              </a:r>
              <a:br>
                <a:rPr kumimoji="0" lang="en-GB" sz="1200" b="0" i="0" u="none" strike="noStrike" kern="1200" cap="none" spc="0" normalizeH="0" baseline="0" noProof="0">
                  <a:ln>
                    <a:noFill/>
                  </a:ln>
                  <a:solidFill>
                    <a:srgbClr val="F5821E"/>
                  </a:solidFill>
                  <a:effectLst/>
                  <a:uLnTx/>
                  <a:uFillTx/>
                  <a:latin typeface="Roboto Condensed"/>
                  <a:ea typeface="+mn-ea"/>
                  <a:cs typeface="+mn-cs"/>
                </a:rPr>
              </a:br>
              <a:r>
                <a:rPr kumimoji="0" lang="en-GB" sz="1200" b="0" i="0" u="none" strike="noStrike" kern="1200" cap="none" spc="0" normalizeH="0" baseline="0" noProof="0">
                  <a:ln>
                    <a:noFill/>
                  </a:ln>
                  <a:solidFill>
                    <a:srgbClr val="F5821E"/>
                  </a:solidFill>
                  <a:effectLst/>
                  <a:uLnTx/>
                  <a:uFillTx/>
                  <a:latin typeface="Roboto Condensed"/>
                  <a:ea typeface="+mn-ea"/>
                  <a:cs typeface="+mn-cs"/>
                </a:rPr>
                <a:t>Director</a:t>
              </a:r>
              <a:endParaRPr kumimoji="0" lang="en-GB" sz="1200" b="0" i="0" u="none" strike="noStrike" kern="1200" cap="none" spc="0" normalizeH="0" baseline="0" noProof="0">
                <a:ln>
                  <a:noFill/>
                </a:ln>
                <a:solidFill>
                  <a:srgbClr val="F5821E"/>
                </a:solidFill>
                <a:effectLst/>
                <a:uLnTx/>
                <a:uFillTx/>
                <a:latin typeface="Roboto Condensed"/>
                <a:ea typeface="Roboto Condensed"/>
                <a:cs typeface="Roboto Condensed"/>
              </a:endParaRPr>
            </a:p>
          </p:txBody>
        </p:sp>
      </p:grpSp>
      <p:grpSp>
        <p:nvGrpSpPr>
          <p:cNvPr id="33" name="Group 32">
            <a:extLst>
              <a:ext uri="{FF2B5EF4-FFF2-40B4-BE49-F238E27FC236}">
                <a16:creationId xmlns:a16="http://schemas.microsoft.com/office/drawing/2014/main" id="{8BA67822-A931-B663-EBAB-1DB7AEB68816}"/>
              </a:ext>
            </a:extLst>
          </p:cNvPr>
          <p:cNvGrpSpPr/>
          <p:nvPr/>
        </p:nvGrpSpPr>
        <p:grpSpPr>
          <a:xfrm>
            <a:off x="5463015" y="4677091"/>
            <a:ext cx="2082933" cy="1552976"/>
            <a:chOff x="5463015" y="4677091"/>
            <a:chExt cx="2082933" cy="1552976"/>
          </a:xfrm>
        </p:grpSpPr>
        <p:sp>
          <p:nvSpPr>
            <p:cNvPr id="20" name="Hexagon 19">
              <a:extLst>
                <a:ext uri="{FF2B5EF4-FFF2-40B4-BE49-F238E27FC236}">
                  <a16:creationId xmlns:a16="http://schemas.microsoft.com/office/drawing/2014/main" id="{46207D4B-600E-5D8A-92B1-C2714F31E7EC}"/>
                </a:ext>
              </a:extLst>
            </p:cNvPr>
            <p:cNvSpPr>
              <a:spLocks noChangeAspect="1"/>
            </p:cNvSpPr>
            <p:nvPr/>
          </p:nvSpPr>
          <p:spPr>
            <a:xfrm rot="5400000">
              <a:off x="5730117" y="4750431"/>
              <a:ext cx="1552976" cy="1406295"/>
            </a:xfrm>
            <a:prstGeom prst="hexagon">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a:ea typeface="+mn-ea"/>
                <a:cs typeface="+mn-cs"/>
              </a:endParaRPr>
            </a:p>
          </p:txBody>
        </p:sp>
        <p:sp>
          <p:nvSpPr>
            <p:cNvPr id="26" name="Rounded Rectangle 11">
              <a:extLst>
                <a:ext uri="{FF2B5EF4-FFF2-40B4-BE49-F238E27FC236}">
                  <a16:creationId xmlns:a16="http://schemas.microsoft.com/office/drawing/2014/main" id="{E01C3853-37D6-78F3-E73F-F341C632C7AA}"/>
                </a:ext>
              </a:extLst>
            </p:cNvPr>
            <p:cNvSpPr/>
            <p:nvPr/>
          </p:nvSpPr>
          <p:spPr>
            <a:xfrm>
              <a:off x="5463015" y="4906332"/>
              <a:ext cx="2082933" cy="1023329"/>
            </a:xfrm>
            <a:prstGeom prst="rect">
              <a:avLst/>
            </a:prstGeom>
            <a:noFill/>
            <a:ln w="38100" cap="flat">
              <a:noFill/>
              <a:prstDash val="solid"/>
              <a:miter/>
            </a:ln>
          </p:spPr>
          <p:txBody>
            <a:bodyPr wrap="none" lIns="216000" tIns="108000" rIns="216000" bIns="36000" rtlCol="0" anchor="ct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5821E"/>
                  </a:solidFill>
                  <a:effectLst/>
                  <a:uLnTx/>
                  <a:uFillTx/>
                  <a:latin typeface="Roboto"/>
                  <a:ea typeface="+mn-ea"/>
                  <a:cs typeface="+mn-cs"/>
                </a:rPr>
                <a:t>Steve </a:t>
              </a:r>
              <a:r>
                <a:rPr kumimoji="0" lang="en-GB" sz="1400" b="1" i="0" u="none" strike="noStrike" kern="1200" cap="none" spc="0" normalizeH="0" baseline="0" noProof="0" err="1">
                  <a:ln>
                    <a:noFill/>
                  </a:ln>
                  <a:solidFill>
                    <a:srgbClr val="F5821E"/>
                  </a:solidFill>
                  <a:effectLst/>
                  <a:uLnTx/>
                  <a:uFillTx/>
                  <a:latin typeface="Roboto"/>
                  <a:ea typeface="+mn-ea"/>
                  <a:cs typeface="+mn-cs"/>
                </a:rPr>
                <a:t>MacDavid</a:t>
              </a:r>
              <a:endParaRPr kumimoji="0" lang="en-GB" sz="1400" b="1" i="0" u="none" strike="noStrike" kern="1200" cap="none" spc="0" normalizeH="0" baseline="0" noProof="0">
                <a:ln>
                  <a:noFill/>
                </a:ln>
                <a:solidFill>
                  <a:srgbClr val="F5821E"/>
                </a:solidFill>
                <a:effectLst/>
                <a:uLnTx/>
                <a:uFillTx/>
                <a:latin typeface="Roboto"/>
                <a:ea typeface="Roboto"/>
                <a:cs typeface="Roboto"/>
              </a:endParaRPr>
            </a:p>
            <a:p>
              <a:pPr marL="0" marR="0" lvl="0" indent="0" algn="ctr" defTabSz="914400" rtl="0" eaLnBrk="1" fontAlgn="auto" latinLnBrk="0" hangingPunct="1">
                <a:lnSpc>
                  <a:spcPct val="80000"/>
                </a:lnSpc>
                <a:spcBef>
                  <a:spcPts val="0"/>
                </a:spcBef>
                <a:spcAft>
                  <a:spcPts val="600"/>
                </a:spcAft>
                <a:buClrTx/>
                <a:buSzTx/>
                <a:buFontTx/>
                <a:buNone/>
                <a:tabLst/>
                <a:defRPr/>
              </a:pPr>
              <a:r>
                <a:rPr kumimoji="0" lang="en-GB" sz="1200" b="0" i="0" u="none" strike="noStrike" kern="1200" cap="none" spc="0" normalizeH="0" baseline="0" noProof="0">
                  <a:ln>
                    <a:noFill/>
                  </a:ln>
                  <a:solidFill>
                    <a:srgbClr val="F5821E"/>
                  </a:solidFill>
                  <a:effectLst/>
                  <a:uLnTx/>
                  <a:uFillTx/>
                  <a:latin typeface="Roboto Condensed"/>
                  <a:ea typeface="+mn-ea"/>
                  <a:cs typeface="+mn-cs"/>
                </a:rPr>
                <a:t>Category Director </a:t>
              </a:r>
              <a:br>
                <a:rPr kumimoji="0" lang="en-GB" sz="1200" b="0" i="0" u="none" strike="noStrike" kern="1200" cap="none" spc="0" normalizeH="0" baseline="0" noProof="0">
                  <a:ln>
                    <a:noFill/>
                  </a:ln>
                  <a:solidFill>
                    <a:srgbClr val="F5821E"/>
                  </a:solidFill>
                  <a:effectLst/>
                  <a:uLnTx/>
                  <a:uFillTx/>
                  <a:latin typeface="Roboto Condensed"/>
                  <a:ea typeface="+mn-ea"/>
                  <a:cs typeface="+mn-cs"/>
                </a:rPr>
              </a:br>
              <a:r>
                <a:rPr kumimoji="0" lang="en-GB" sz="1200" b="0" i="0" u="none" strike="noStrike" kern="1200" cap="none" spc="0" normalizeH="0" baseline="0" noProof="0">
                  <a:ln>
                    <a:noFill/>
                  </a:ln>
                  <a:solidFill>
                    <a:srgbClr val="F5821E"/>
                  </a:solidFill>
                  <a:effectLst/>
                  <a:uLnTx/>
                  <a:uFillTx/>
                  <a:latin typeface="Roboto Condensed"/>
                  <a:ea typeface="+mn-ea"/>
                  <a:cs typeface="+mn-cs"/>
                </a:rPr>
                <a:t>LBM &amp; Finishings </a:t>
              </a:r>
              <a:endParaRPr kumimoji="0" lang="en-GB" sz="1200" b="0" i="0" u="none" strike="noStrike" kern="1200" cap="none" spc="0" normalizeH="0" baseline="0" noProof="0">
                <a:ln>
                  <a:noFill/>
                </a:ln>
                <a:solidFill>
                  <a:srgbClr val="F5821E"/>
                </a:solidFill>
                <a:effectLst/>
                <a:uLnTx/>
                <a:uFillTx/>
                <a:latin typeface="Roboto Condensed"/>
                <a:ea typeface="Roboto Condensed"/>
                <a:cs typeface="Roboto Condensed"/>
              </a:endParaRPr>
            </a:p>
          </p:txBody>
        </p:sp>
      </p:grpSp>
      <p:grpSp>
        <p:nvGrpSpPr>
          <p:cNvPr id="31" name="Group 30">
            <a:extLst>
              <a:ext uri="{FF2B5EF4-FFF2-40B4-BE49-F238E27FC236}">
                <a16:creationId xmlns:a16="http://schemas.microsoft.com/office/drawing/2014/main" id="{9943D8D3-B15B-D1F2-E2C2-DEEC5B24A59E}"/>
              </a:ext>
            </a:extLst>
          </p:cNvPr>
          <p:cNvGrpSpPr/>
          <p:nvPr/>
        </p:nvGrpSpPr>
        <p:grpSpPr>
          <a:xfrm>
            <a:off x="7661506" y="1522189"/>
            <a:ext cx="1406295" cy="1552976"/>
            <a:chOff x="7661506" y="1522189"/>
            <a:chExt cx="1406295" cy="1552976"/>
          </a:xfrm>
        </p:grpSpPr>
        <p:sp>
          <p:nvSpPr>
            <p:cNvPr id="18" name="Hexagon 17">
              <a:extLst>
                <a:ext uri="{FF2B5EF4-FFF2-40B4-BE49-F238E27FC236}">
                  <a16:creationId xmlns:a16="http://schemas.microsoft.com/office/drawing/2014/main" id="{D3AE0701-6A68-766F-B8D1-9240440214A3}"/>
                </a:ext>
              </a:extLst>
            </p:cNvPr>
            <p:cNvSpPr>
              <a:spLocks noChangeAspect="1"/>
            </p:cNvSpPr>
            <p:nvPr/>
          </p:nvSpPr>
          <p:spPr>
            <a:xfrm rot="5400000">
              <a:off x="7588166" y="1595529"/>
              <a:ext cx="1552976" cy="1406295"/>
            </a:xfrm>
            <a:prstGeom prst="hexagon">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a:ea typeface="+mn-ea"/>
                <a:cs typeface="+mn-cs"/>
              </a:endParaRPr>
            </a:p>
          </p:txBody>
        </p:sp>
        <p:sp>
          <p:nvSpPr>
            <p:cNvPr id="27" name="Rounded Rectangle 11">
              <a:extLst>
                <a:ext uri="{FF2B5EF4-FFF2-40B4-BE49-F238E27FC236}">
                  <a16:creationId xmlns:a16="http://schemas.microsoft.com/office/drawing/2014/main" id="{2FA50470-5BAF-CC26-1601-B6299794D79A}"/>
                </a:ext>
              </a:extLst>
            </p:cNvPr>
            <p:cNvSpPr/>
            <p:nvPr/>
          </p:nvSpPr>
          <p:spPr>
            <a:xfrm>
              <a:off x="7807837" y="1818489"/>
              <a:ext cx="1113632" cy="930922"/>
            </a:xfrm>
            <a:prstGeom prst="rect">
              <a:avLst/>
            </a:prstGeom>
            <a:noFill/>
            <a:ln w="38100" cap="flat">
              <a:noFill/>
              <a:prstDash val="solid"/>
              <a:miter/>
            </a:ln>
          </p:spPr>
          <p:txBody>
            <a:bodyPr wrap="none" lIns="216000" tIns="108000" rIns="216000" bIns="36000" rtlCol="0" anchor="ctr">
              <a:norm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5821E"/>
                  </a:solidFill>
                  <a:effectLst/>
                  <a:uLnTx/>
                  <a:uFillTx/>
                  <a:latin typeface="Roboto"/>
                  <a:ea typeface="+mn-ea"/>
                  <a:cs typeface="+mn-cs"/>
                </a:rPr>
                <a:t>Gary Venn</a:t>
              </a:r>
              <a:endParaRPr kumimoji="0" lang="en-GB" sz="1400" b="1" i="0" u="none" strike="noStrike" kern="1200" cap="none" spc="0" normalizeH="0" baseline="0" noProof="0">
                <a:ln>
                  <a:noFill/>
                </a:ln>
                <a:solidFill>
                  <a:srgbClr val="F5821E"/>
                </a:solidFill>
                <a:effectLst/>
                <a:uLnTx/>
                <a:uFillTx/>
                <a:latin typeface="Roboto"/>
                <a:ea typeface="Roboto"/>
                <a:cs typeface="Roboto"/>
              </a:endParaRPr>
            </a:p>
            <a:p>
              <a:pPr marL="0" marR="0" lvl="0" indent="0" algn="ctr" defTabSz="914400" rtl="0" eaLnBrk="1" fontAlgn="auto" latinLnBrk="0" hangingPunct="1">
                <a:lnSpc>
                  <a:spcPct val="80000"/>
                </a:lnSpc>
                <a:spcBef>
                  <a:spcPts val="0"/>
                </a:spcBef>
                <a:spcAft>
                  <a:spcPts val="600"/>
                </a:spcAft>
                <a:buClrTx/>
                <a:buSzTx/>
                <a:buFontTx/>
                <a:buNone/>
                <a:tabLst/>
                <a:defRPr/>
              </a:pPr>
              <a:r>
                <a:rPr kumimoji="0" lang="en-GB" sz="1200" b="0" i="0" u="none" strike="noStrike" kern="1200" cap="none" spc="0" normalizeH="0" baseline="0" noProof="0">
                  <a:ln>
                    <a:noFill/>
                  </a:ln>
                  <a:solidFill>
                    <a:srgbClr val="F5821E"/>
                  </a:solidFill>
                  <a:effectLst/>
                  <a:uLnTx/>
                  <a:uFillTx/>
                  <a:latin typeface="Roboto Condensed"/>
                  <a:ea typeface="+mn-ea"/>
                  <a:cs typeface="+mn-cs"/>
                </a:rPr>
                <a:t>Commercial</a:t>
              </a:r>
              <a:br>
                <a:rPr kumimoji="0" lang="en-GB" sz="1200" b="0" i="0" u="none" strike="noStrike" kern="1200" cap="none" spc="0" normalizeH="0" baseline="0" noProof="0">
                  <a:ln>
                    <a:noFill/>
                  </a:ln>
                  <a:solidFill>
                    <a:srgbClr val="F5821E"/>
                  </a:solidFill>
                  <a:effectLst/>
                  <a:uLnTx/>
                  <a:uFillTx/>
                  <a:latin typeface="Roboto Condensed"/>
                  <a:ea typeface="+mn-ea"/>
                  <a:cs typeface="+mn-cs"/>
                </a:rPr>
              </a:br>
              <a:r>
                <a:rPr kumimoji="0" lang="en-GB" sz="1200" b="0" i="0" u="none" strike="noStrike" kern="1200" cap="none" spc="0" normalizeH="0" baseline="0" noProof="0">
                  <a:ln>
                    <a:noFill/>
                  </a:ln>
                  <a:solidFill>
                    <a:srgbClr val="F5821E"/>
                  </a:solidFill>
                  <a:effectLst/>
                  <a:uLnTx/>
                  <a:uFillTx/>
                  <a:latin typeface="Roboto Condensed"/>
                  <a:ea typeface="+mn-ea"/>
                  <a:cs typeface="+mn-cs"/>
                </a:rPr>
                <a:t>Director</a:t>
              </a:r>
              <a:endParaRPr kumimoji="0" lang="en-GB" sz="1200" b="0" i="0" u="none" strike="noStrike" kern="1200" cap="none" spc="0" normalizeH="0" baseline="0" noProof="0">
                <a:ln>
                  <a:noFill/>
                </a:ln>
                <a:solidFill>
                  <a:srgbClr val="F5821E"/>
                </a:solidFill>
                <a:effectLst/>
                <a:uLnTx/>
                <a:uFillTx/>
                <a:latin typeface="Roboto Condensed"/>
                <a:ea typeface="Roboto Condensed"/>
                <a:cs typeface="Roboto Condensed"/>
              </a:endParaRPr>
            </a:p>
          </p:txBody>
        </p:sp>
      </p:grpSp>
      <p:grpSp>
        <p:nvGrpSpPr>
          <p:cNvPr id="35" name="Group 34">
            <a:extLst>
              <a:ext uri="{FF2B5EF4-FFF2-40B4-BE49-F238E27FC236}">
                <a16:creationId xmlns:a16="http://schemas.microsoft.com/office/drawing/2014/main" id="{F3A3E57F-4CEB-B63D-E269-FD3351D58412}"/>
              </a:ext>
            </a:extLst>
          </p:cNvPr>
          <p:cNvGrpSpPr/>
          <p:nvPr/>
        </p:nvGrpSpPr>
        <p:grpSpPr>
          <a:xfrm>
            <a:off x="3979440" y="1522189"/>
            <a:ext cx="1406295" cy="1552976"/>
            <a:chOff x="3979440" y="1522189"/>
            <a:chExt cx="1406295" cy="1552976"/>
          </a:xfrm>
        </p:grpSpPr>
        <p:sp>
          <p:nvSpPr>
            <p:cNvPr id="22" name="Hexagon 21">
              <a:extLst>
                <a:ext uri="{FF2B5EF4-FFF2-40B4-BE49-F238E27FC236}">
                  <a16:creationId xmlns:a16="http://schemas.microsoft.com/office/drawing/2014/main" id="{B7BFF4EA-D411-C3C1-F94A-16CFD659841E}"/>
                </a:ext>
              </a:extLst>
            </p:cNvPr>
            <p:cNvSpPr>
              <a:spLocks noChangeAspect="1"/>
            </p:cNvSpPr>
            <p:nvPr/>
          </p:nvSpPr>
          <p:spPr>
            <a:xfrm rot="5400000">
              <a:off x="3906100" y="1595529"/>
              <a:ext cx="1552976" cy="1406295"/>
            </a:xfrm>
            <a:prstGeom prst="hexagon">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a:ea typeface="+mn-ea"/>
                <a:cs typeface="+mn-cs"/>
              </a:endParaRPr>
            </a:p>
          </p:txBody>
        </p:sp>
        <p:sp>
          <p:nvSpPr>
            <p:cNvPr id="28" name="Rounded Rectangle 11">
              <a:extLst>
                <a:ext uri="{FF2B5EF4-FFF2-40B4-BE49-F238E27FC236}">
                  <a16:creationId xmlns:a16="http://schemas.microsoft.com/office/drawing/2014/main" id="{9C4ED66B-F9A6-2FE5-9FDB-97BCA88BDDA0}"/>
                </a:ext>
              </a:extLst>
            </p:cNvPr>
            <p:cNvSpPr/>
            <p:nvPr/>
          </p:nvSpPr>
          <p:spPr>
            <a:xfrm>
              <a:off x="4009785" y="1801956"/>
              <a:ext cx="1360731" cy="962365"/>
            </a:xfrm>
            <a:prstGeom prst="rect">
              <a:avLst/>
            </a:prstGeom>
            <a:noFill/>
            <a:ln w="38100" cap="flat">
              <a:noFill/>
              <a:prstDash val="solid"/>
              <a:miter/>
            </a:ln>
          </p:spPr>
          <p:txBody>
            <a:bodyPr wrap="none" lIns="216000" tIns="108000" rIns="216000" bIns="36000" rtlCol="0" anchor="ctr">
              <a:norm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5821E"/>
                  </a:solidFill>
                  <a:effectLst/>
                  <a:uLnTx/>
                  <a:uFillTx/>
                  <a:latin typeface="Roboto"/>
                  <a:ea typeface="+mn-ea"/>
                  <a:cs typeface="+mn-cs"/>
                </a:rPr>
                <a:t>Rob Williams</a:t>
              </a:r>
              <a:endParaRPr kumimoji="0" lang="en-GB" sz="1400" b="1" i="0" u="none" strike="noStrike" kern="1200" cap="none" spc="0" normalizeH="0" baseline="0" noProof="0">
                <a:ln>
                  <a:noFill/>
                </a:ln>
                <a:solidFill>
                  <a:srgbClr val="F5821E"/>
                </a:solidFill>
                <a:effectLst/>
                <a:uLnTx/>
                <a:uFillTx/>
                <a:latin typeface="Roboto"/>
                <a:ea typeface="Roboto"/>
                <a:cs typeface="Roboto"/>
              </a:endParaRP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5821E"/>
                  </a:solidFill>
                  <a:effectLst/>
                  <a:uLnTx/>
                  <a:uFillTx/>
                  <a:latin typeface="Roboto"/>
                  <a:ea typeface="+mn-ea"/>
                  <a:cs typeface="+mn-cs"/>
                </a:rPr>
                <a:t> </a:t>
              </a:r>
              <a:r>
                <a:rPr kumimoji="0" lang="en-GB" sz="1200" b="0" i="0" u="none" strike="noStrike" kern="1200" cap="none" spc="0" normalizeH="0" baseline="0" noProof="0">
                  <a:ln>
                    <a:noFill/>
                  </a:ln>
                  <a:solidFill>
                    <a:srgbClr val="F5821E"/>
                  </a:solidFill>
                  <a:effectLst/>
                  <a:uLnTx/>
                  <a:uFillTx/>
                  <a:latin typeface="Roboto Condensed"/>
                  <a:ea typeface="+mn-ea"/>
                  <a:cs typeface="+mn-cs"/>
                </a:rPr>
                <a:t>Category Director</a:t>
              </a:r>
              <a:endParaRPr kumimoji="0" lang="en-GB" sz="1200" b="0" i="0" u="none" strike="noStrike" kern="1200" cap="none" spc="0" normalizeH="0" baseline="0" noProof="0">
                <a:ln>
                  <a:noFill/>
                </a:ln>
                <a:solidFill>
                  <a:srgbClr val="F5821E"/>
                </a:solidFill>
                <a:effectLst/>
                <a:uLnTx/>
                <a:uFillTx/>
                <a:latin typeface="Roboto Condensed"/>
                <a:ea typeface="Roboto Condensed"/>
                <a:cs typeface="Roboto Condensed"/>
              </a:endParaRP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5821E"/>
                  </a:solidFill>
                  <a:effectLst/>
                  <a:uLnTx/>
                  <a:uFillTx/>
                  <a:latin typeface="Roboto Condensed"/>
                  <a:ea typeface="+mn-ea"/>
                  <a:cs typeface="+mn-cs"/>
                </a:rPr>
                <a:t>Timber &amp; Panel</a:t>
              </a:r>
              <a:endParaRPr kumimoji="0" lang="en-GB" sz="1200" b="0" i="0" u="none" strike="noStrike" kern="1200" cap="none" spc="0" normalizeH="0" baseline="0" noProof="0">
                <a:ln>
                  <a:noFill/>
                </a:ln>
                <a:solidFill>
                  <a:srgbClr val="F5821E"/>
                </a:solidFill>
                <a:effectLst/>
                <a:uLnTx/>
                <a:uFillTx/>
                <a:latin typeface="Roboto Condensed"/>
                <a:ea typeface="Roboto Condensed"/>
                <a:cs typeface="Roboto Condensed"/>
              </a:endParaRPr>
            </a:p>
          </p:txBody>
        </p:sp>
      </p:grpSp>
      <p:grpSp>
        <p:nvGrpSpPr>
          <p:cNvPr id="34" name="Group 33">
            <a:extLst>
              <a:ext uri="{FF2B5EF4-FFF2-40B4-BE49-F238E27FC236}">
                <a16:creationId xmlns:a16="http://schemas.microsoft.com/office/drawing/2014/main" id="{03A927E1-25B9-DDDD-15B1-8ADBC8C11101}"/>
              </a:ext>
            </a:extLst>
          </p:cNvPr>
          <p:cNvGrpSpPr/>
          <p:nvPr/>
        </p:nvGrpSpPr>
        <p:grpSpPr>
          <a:xfrm>
            <a:off x="3979440" y="3678980"/>
            <a:ext cx="1406295" cy="1552976"/>
            <a:chOff x="3979440" y="3678980"/>
            <a:chExt cx="1406295" cy="1552976"/>
          </a:xfrm>
        </p:grpSpPr>
        <p:sp>
          <p:nvSpPr>
            <p:cNvPr id="23" name="Hexagon 22">
              <a:extLst>
                <a:ext uri="{FF2B5EF4-FFF2-40B4-BE49-F238E27FC236}">
                  <a16:creationId xmlns:a16="http://schemas.microsoft.com/office/drawing/2014/main" id="{40AC2A66-D267-DFF2-09A8-ABA0B801B816}"/>
                </a:ext>
              </a:extLst>
            </p:cNvPr>
            <p:cNvSpPr>
              <a:spLocks noChangeAspect="1"/>
            </p:cNvSpPr>
            <p:nvPr/>
          </p:nvSpPr>
          <p:spPr>
            <a:xfrm rot="5400000">
              <a:off x="3906100" y="3752320"/>
              <a:ext cx="1552976" cy="1406295"/>
            </a:xfrm>
            <a:prstGeom prst="hexagon">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a:ea typeface="+mn-ea"/>
                <a:cs typeface="+mn-cs"/>
              </a:endParaRPr>
            </a:p>
          </p:txBody>
        </p:sp>
        <p:sp>
          <p:nvSpPr>
            <p:cNvPr id="29" name="Rounded Rectangle 126">
              <a:extLst>
                <a:ext uri="{FF2B5EF4-FFF2-40B4-BE49-F238E27FC236}">
                  <a16:creationId xmlns:a16="http://schemas.microsoft.com/office/drawing/2014/main" id="{19F9C414-8F18-8BBA-707C-463AC908F7ED}"/>
                </a:ext>
              </a:extLst>
            </p:cNvPr>
            <p:cNvSpPr/>
            <p:nvPr/>
          </p:nvSpPr>
          <p:spPr>
            <a:xfrm>
              <a:off x="4011573" y="3973162"/>
              <a:ext cx="1357156" cy="961051"/>
            </a:xfrm>
            <a:prstGeom prst="rect">
              <a:avLst/>
            </a:prstGeom>
            <a:noFill/>
            <a:ln w="38100" cap="flat">
              <a:noFill/>
              <a:prstDash val="solid"/>
              <a:miter/>
            </a:ln>
          </p:spPr>
          <p:txBody>
            <a:bodyPr wrap="none" lIns="216000" tIns="108000" rIns="216000" bIns="36000" rtlCol="0" anchor="ct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5821E"/>
                  </a:solidFill>
                  <a:effectLst/>
                  <a:uLnTx/>
                  <a:uFillTx/>
                  <a:latin typeface="Roboto"/>
                  <a:ea typeface="+mn-ea"/>
                  <a:cs typeface="+mn-cs"/>
                </a:rPr>
                <a:t>Ann Whittle</a:t>
              </a:r>
            </a:p>
            <a:p>
              <a:pPr marL="0" marR="0" lvl="0" indent="0" algn="ctr" defTabSz="914400" rtl="0" eaLnBrk="1" fontAlgn="auto" latinLnBrk="0" hangingPunct="1">
                <a:lnSpc>
                  <a:spcPct val="80000"/>
                </a:lnSpc>
                <a:spcBef>
                  <a:spcPts val="0"/>
                </a:spcBef>
                <a:spcAft>
                  <a:spcPts val="600"/>
                </a:spcAft>
                <a:buClrTx/>
                <a:buSzTx/>
                <a:buFontTx/>
                <a:buNone/>
                <a:tabLst/>
                <a:defRPr/>
              </a:pPr>
              <a:r>
                <a:rPr kumimoji="0" lang="en-GB" sz="1200" b="0" i="0" u="none" strike="noStrike" kern="1200" cap="none" spc="0" normalizeH="0" baseline="0" noProof="0">
                  <a:ln>
                    <a:noFill/>
                  </a:ln>
                  <a:solidFill>
                    <a:srgbClr val="F5821E"/>
                  </a:solidFill>
                  <a:effectLst/>
                  <a:uLnTx/>
                  <a:uFillTx/>
                  <a:latin typeface="Roboto Condensed"/>
                  <a:ea typeface="+mn-ea"/>
                  <a:cs typeface="+mn-cs"/>
                </a:rPr>
                <a:t>Head of Supplier </a:t>
              </a:r>
              <a:br>
                <a:rPr kumimoji="0" lang="en-GB" sz="1200" b="0" i="0" u="none" strike="noStrike" kern="1200" cap="none" spc="0" normalizeH="0" baseline="0" noProof="0">
                  <a:ln>
                    <a:noFill/>
                  </a:ln>
                  <a:solidFill>
                    <a:srgbClr val="F5821E"/>
                  </a:solidFill>
                  <a:effectLst/>
                  <a:uLnTx/>
                  <a:uFillTx/>
                  <a:latin typeface="Roboto Condensed"/>
                  <a:ea typeface="+mn-ea"/>
                  <a:cs typeface="+mn-cs"/>
                </a:rPr>
              </a:br>
              <a:r>
                <a:rPr kumimoji="0" lang="en-GB" sz="1200" b="0" i="0" u="none" strike="noStrike" kern="1200" cap="none" spc="0" normalizeH="0" baseline="0" noProof="0">
                  <a:ln>
                    <a:noFill/>
                  </a:ln>
                  <a:solidFill>
                    <a:srgbClr val="F5821E"/>
                  </a:solidFill>
                  <a:effectLst/>
                  <a:uLnTx/>
                  <a:uFillTx/>
                  <a:latin typeface="Roboto Condensed"/>
                  <a:ea typeface="+mn-ea"/>
                  <a:cs typeface="+mn-cs"/>
                </a:rPr>
                <a:t>Engagement</a:t>
              </a:r>
              <a:endParaRPr kumimoji="0" lang="en-GB" sz="1200" b="0" i="0" u="none" strike="noStrike" kern="1200" cap="none" spc="0" normalizeH="0" baseline="0" noProof="0">
                <a:ln>
                  <a:noFill/>
                </a:ln>
                <a:solidFill>
                  <a:srgbClr val="F5821E"/>
                </a:solidFill>
                <a:effectLst/>
                <a:uLnTx/>
                <a:uFillTx/>
                <a:latin typeface="Roboto Condensed"/>
                <a:ea typeface="Roboto Condensed"/>
                <a:cs typeface="Roboto Condensed"/>
              </a:endParaRPr>
            </a:p>
          </p:txBody>
        </p:sp>
      </p:grpSp>
    </p:spTree>
    <p:extLst>
      <p:ext uri="{BB962C8B-B14F-4D97-AF65-F5344CB8AC3E}">
        <p14:creationId xmlns:p14="http://schemas.microsoft.com/office/powerpoint/2010/main" val="3056456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250"/>
                                        <p:tgtEl>
                                          <p:spTgt spid="30"/>
                                        </p:tgtEl>
                                      </p:cBhvr>
                                    </p:animEffect>
                                  </p:childTnLst>
                                </p:cTn>
                              </p:par>
                              <p:par>
                                <p:cTn id="8" presetID="42" presetClass="path" presetSubtype="0" decel="100000" fill="hold" nodeType="withEffect">
                                  <p:stCondLst>
                                    <p:cond delay="100"/>
                                  </p:stCondLst>
                                  <p:childTnLst>
                                    <p:animMotion origin="layout" path="M -3.75E-6 -0.03472 L -3.75E-6 1.85185E-6 " pathEditMode="relative" rAng="0" ptsTypes="AA">
                                      <p:cBhvr>
                                        <p:cTn id="9" dur="500" fill="hold"/>
                                        <p:tgtEl>
                                          <p:spTgt spid="30"/>
                                        </p:tgtEl>
                                        <p:attrNameLst>
                                          <p:attrName>ppt_x</p:attrName>
                                          <p:attrName>ppt_y</p:attrName>
                                        </p:attrNameLst>
                                      </p:cBhvr>
                                      <p:rCtr x="0" y="1736"/>
                                    </p:animMotion>
                                  </p:childTnLst>
                                </p:cTn>
                              </p:par>
                              <p:par>
                                <p:cTn id="10" presetID="10" presetClass="entr" presetSubtype="0" fill="hold" nodeType="withEffect">
                                  <p:stCondLst>
                                    <p:cond delay="2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250"/>
                                        <p:tgtEl>
                                          <p:spTgt spid="31"/>
                                        </p:tgtEl>
                                      </p:cBhvr>
                                    </p:animEffect>
                                  </p:childTnLst>
                                </p:cTn>
                              </p:par>
                              <p:par>
                                <p:cTn id="13" presetID="42" presetClass="path" presetSubtype="0" decel="100000" fill="hold" nodeType="withEffect">
                                  <p:stCondLst>
                                    <p:cond delay="200"/>
                                  </p:stCondLst>
                                  <p:childTnLst>
                                    <p:animMotion origin="layout" path="M -3.75E-6 -0.03472 L -3.75E-6 1.85185E-6 " pathEditMode="relative" rAng="0" ptsTypes="AA">
                                      <p:cBhvr>
                                        <p:cTn id="14" dur="500" fill="hold"/>
                                        <p:tgtEl>
                                          <p:spTgt spid="31"/>
                                        </p:tgtEl>
                                        <p:attrNameLst>
                                          <p:attrName>ppt_x</p:attrName>
                                          <p:attrName>ppt_y</p:attrName>
                                        </p:attrNameLst>
                                      </p:cBhvr>
                                      <p:rCtr x="0" y="1736"/>
                                    </p:animMotion>
                                  </p:childTnLst>
                                </p:cTn>
                              </p:par>
                              <p:par>
                                <p:cTn id="15" presetID="10" presetClass="entr" presetSubtype="0" fill="hold" nodeType="withEffect">
                                  <p:stCondLst>
                                    <p:cond delay="30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250"/>
                                        <p:tgtEl>
                                          <p:spTgt spid="32"/>
                                        </p:tgtEl>
                                      </p:cBhvr>
                                    </p:animEffect>
                                  </p:childTnLst>
                                </p:cTn>
                              </p:par>
                              <p:par>
                                <p:cTn id="18" presetID="42" presetClass="path" presetSubtype="0" decel="100000" fill="hold" nodeType="withEffect">
                                  <p:stCondLst>
                                    <p:cond delay="300"/>
                                  </p:stCondLst>
                                  <p:childTnLst>
                                    <p:animMotion origin="layout" path="M -3.75E-6 -0.03472 L -3.75E-6 1.85185E-6 " pathEditMode="relative" rAng="0" ptsTypes="AA">
                                      <p:cBhvr>
                                        <p:cTn id="19" dur="500" fill="hold"/>
                                        <p:tgtEl>
                                          <p:spTgt spid="32"/>
                                        </p:tgtEl>
                                        <p:attrNameLst>
                                          <p:attrName>ppt_x</p:attrName>
                                          <p:attrName>ppt_y</p:attrName>
                                        </p:attrNameLst>
                                      </p:cBhvr>
                                      <p:rCtr x="0" y="1736"/>
                                    </p:animMotion>
                                  </p:childTnLst>
                                </p:cTn>
                              </p:par>
                              <p:par>
                                <p:cTn id="20" presetID="10" presetClass="entr" presetSubtype="0" fill="hold" nodeType="withEffect">
                                  <p:stCondLst>
                                    <p:cond delay="40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250"/>
                                        <p:tgtEl>
                                          <p:spTgt spid="33"/>
                                        </p:tgtEl>
                                      </p:cBhvr>
                                    </p:animEffect>
                                  </p:childTnLst>
                                </p:cTn>
                              </p:par>
                              <p:par>
                                <p:cTn id="23" presetID="42" presetClass="path" presetSubtype="0" decel="100000" fill="hold" nodeType="withEffect">
                                  <p:stCondLst>
                                    <p:cond delay="400"/>
                                  </p:stCondLst>
                                  <p:childTnLst>
                                    <p:animMotion origin="layout" path="M -3.75E-6 -0.03472 L -3.75E-6 1.85185E-6 " pathEditMode="relative" rAng="0" ptsTypes="AA">
                                      <p:cBhvr>
                                        <p:cTn id="24" dur="500" fill="hold"/>
                                        <p:tgtEl>
                                          <p:spTgt spid="33"/>
                                        </p:tgtEl>
                                        <p:attrNameLst>
                                          <p:attrName>ppt_x</p:attrName>
                                          <p:attrName>ppt_y</p:attrName>
                                        </p:attrNameLst>
                                      </p:cBhvr>
                                      <p:rCtr x="0" y="1736"/>
                                    </p:animMotion>
                                  </p:childTnLst>
                                </p:cTn>
                              </p:par>
                              <p:par>
                                <p:cTn id="25" presetID="10" presetClass="entr" presetSubtype="0" fill="hold" nodeType="withEffect">
                                  <p:stCondLst>
                                    <p:cond delay="50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250"/>
                                        <p:tgtEl>
                                          <p:spTgt spid="34"/>
                                        </p:tgtEl>
                                      </p:cBhvr>
                                    </p:animEffect>
                                  </p:childTnLst>
                                </p:cTn>
                              </p:par>
                              <p:par>
                                <p:cTn id="28" presetID="42" presetClass="path" presetSubtype="0" decel="100000" fill="hold" nodeType="withEffect">
                                  <p:stCondLst>
                                    <p:cond delay="500"/>
                                  </p:stCondLst>
                                  <p:childTnLst>
                                    <p:animMotion origin="layout" path="M -3.75E-6 -0.03472 L -3.75E-6 1.85185E-6 " pathEditMode="relative" rAng="0" ptsTypes="AA">
                                      <p:cBhvr>
                                        <p:cTn id="29" dur="500" fill="hold"/>
                                        <p:tgtEl>
                                          <p:spTgt spid="34"/>
                                        </p:tgtEl>
                                        <p:attrNameLst>
                                          <p:attrName>ppt_x</p:attrName>
                                          <p:attrName>ppt_y</p:attrName>
                                        </p:attrNameLst>
                                      </p:cBhvr>
                                      <p:rCtr x="0" y="1736"/>
                                    </p:animMotion>
                                  </p:childTnLst>
                                </p:cTn>
                              </p:par>
                              <p:par>
                                <p:cTn id="30" presetID="10" presetClass="entr" presetSubtype="0" fill="hold" nodeType="withEffect">
                                  <p:stCondLst>
                                    <p:cond delay="600"/>
                                  </p:stCondLst>
                                  <p:childTnLst>
                                    <p:set>
                                      <p:cBhvr>
                                        <p:cTn id="31" dur="1" fill="hold">
                                          <p:stCondLst>
                                            <p:cond delay="0"/>
                                          </p:stCondLst>
                                        </p:cTn>
                                        <p:tgtEl>
                                          <p:spTgt spid="35"/>
                                        </p:tgtEl>
                                        <p:attrNameLst>
                                          <p:attrName>style.visibility</p:attrName>
                                        </p:attrNameLst>
                                      </p:cBhvr>
                                      <p:to>
                                        <p:strVal val="visible"/>
                                      </p:to>
                                    </p:set>
                                    <p:animEffect transition="in" filter="fade">
                                      <p:cBhvr>
                                        <p:cTn id="32" dur="250"/>
                                        <p:tgtEl>
                                          <p:spTgt spid="35"/>
                                        </p:tgtEl>
                                      </p:cBhvr>
                                    </p:animEffect>
                                  </p:childTnLst>
                                </p:cTn>
                              </p:par>
                              <p:par>
                                <p:cTn id="33" presetID="42" presetClass="path" presetSubtype="0" decel="100000" fill="hold" nodeType="withEffect">
                                  <p:stCondLst>
                                    <p:cond delay="600"/>
                                  </p:stCondLst>
                                  <p:childTnLst>
                                    <p:animMotion origin="layout" path="M -3.75E-6 -0.03472 L -3.75E-6 1.85185E-6 " pathEditMode="relative" rAng="0" ptsTypes="AA">
                                      <p:cBhvr>
                                        <p:cTn id="34" dur="500" fill="hold"/>
                                        <p:tgtEl>
                                          <p:spTgt spid="35"/>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bject 3"/>
          <p:cNvPicPr/>
          <p:nvPr/>
        </p:nvPicPr>
        <p:blipFill rotWithShape="1">
          <a:blip r:embed="rId3" cstate="print"/>
          <a:srcRect l="5612" t="3992" r="3457" b="5667"/>
          <a:stretch/>
        </p:blipFill>
        <p:spPr>
          <a:xfrm>
            <a:off x="0" y="0"/>
            <a:ext cx="12192001" cy="6453188"/>
          </a:xfrm>
          <a:prstGeom prst="rect">
            <a:avLst/>
          </a:prstGeom>
        </p:spPr>
      </p:pic>
      <p:sp>
        <p:nvSpPr>
          <p:cNvPr id="4" name="object 4"/>
          <p:cNvSpPr txBox="1"/>
          <p:nvPr/>
        </p:nvSpPr>
        <p:spPr>
          <a:xfrm>
            <a:off x="503326" y="1322324"/>
            <a:ext cx="2632710" cy="33083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a:ea typeface="+mn-ea"/>
              <a:cs typeface="Arial"/>
            </a:endParaRPr>
          </a:p>
        </p:txBody>
      </p:sp>
      <p:sp>
        <p:nvSpPr>
          <p:cNvPr id="5" name="object 5"/>
          <p:cNvSpPr txBox="1">
            <a:spLocks noGrp="1"/>
          </p:cNvSpPr>
          <p:nvPr>
            <p:ph type="title"/>
          </p:nvPr>
        </p:nvSpPr>
        <p:spPr>
          <a:xfrm>
            <a:off x="514350" y="333375"/>
            <a:ext cx="11161713" cy="511422"/>
          </a:xfrm>
        </p:spPr>
        <p:txBody>
          <a:bodyPr vert="horz" wrap="square" lIns="0" tIns="12700" rIns="0" bIns="0" rtlCol="0">
            <a:spAutoFit/>
          </a:bodyPr>
          <a:lstStyle/>
          <a:p>
            <a:r>
              <a:rPr lang="en-GB"/>
              <a:t>The new brand house</a:t>
            </a:r>
          </a:p>
        </p:txBody>
      </p:sp>
      <p:pic>
        <p:nvPicPr>
          <p:cNvPr id="7" name="object 7"/>
          <p:cNvPicPr/>
          <p:nvPr/>
        </p:nvPicPr>
        <p:blipFill>
          <a:blip r:embed="rId4" cstate="print"/>
          <a:stretch>
            <a:fillRect/>
          </a:stretch>
        </p:blipFill>
        <p:spPr>
          <a:xfrm>
            <a:off x="6403816" y="4243579"/>
            <a:ext cx="807318" cy="611312"/>
          </a:xfrm>
          <a:prstGeom prst="rect">
            <a:avLst/>
          </a:prstGeom>
        </p:spPr>
      </p:pic>
    </p:spTree>
    <p:extLst>
      <p:ext uri="{BB962C8B-B14F-4D97-AF65-F5344CB8AC3E}">
        <p14:creationId xmlns:p14="http://schemas.microsoft.com/office/powerpoint/2010/main" val="34653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collage of several people&#10;&#10;Description automatically generated">
            <a:extLst>
              <a:ext uri="{FF2B5EF4-FFF2-40B4-BE49-F238E27FC236}">
                <a16:creationId xmlns:a16="http://schemas.microsoft.com/office/drawing/2014/main" id="{2CE748D7-9D85-0393-BE21-231468393547}"/>
              </a:ext>
            </a:extLst>
          </p:cNvPr>
          <p:cNvPicPr>
            <a:picLocks noChangeAspect="1"/>
          </p:cNvPicPr>
          <p:nvPr/>
        </p:nvPicPr>
        <p:blipFill rotWithShape="1">
          <a:blip r:embed="rId3"/>
          <a:srcRect l="-2535" t="-475" r="-2171" b="-3137"/>
          <a:stretch/>
        </p:blipFill>
        <p:spPr>
          <a:xfrm>
            <a:off x="3200400" y="647733"/>
            <a:ext cx="8475663" cy="5382364"/>
          </a:xfrm>
          <a:prstGeom prst="rect">
            <a:avLst/>
          </a:prstGeom>
          <a:solidFill>
            <a:schemeClr val="bg1"/>
          </a:solidFill>
        </p:spPr>
      </p:pic>
      <p:pic>
        <p:nvPicPr>
          <p:cNvPr id="9" name="Billede 4" descr="Et billede, der indeholder tekst, Font/skrifttype, skærmbillede, Grafik&#10;&#10;Automatisk genereret beskrivelse">
            <a:extLst>
              <a:ext uri="{FF2B5EF4-FFF2-40B4-BE49-F238E27FC236}">
                <a16:creationId xmlns:a16="http://schemas.microsoft.com/office/drawing/2014/main" id="{A32E667F-7E6F-C74D-7E28-A2D34F97892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5938" y="1376363"/>
            <a:ext cx="2239178" cy="703561"/>
          </a:xfrm>
          <a:prstGeom prst="rect">
            <a:avLst/>
          </a:prstGeom>
        </p:spPr>
      </p:pic>
      <p:sp>
        <p:nvSpPr>
          <p:cNvPr id="10" name="TextBox 9">
            <a:extLst>
              <a:ext uri="{FF2B5EF4-FFF2-40B4-BE49-F238E27FC236}">
                <a16:creationId xmlns:a16="http://schemas.microsoft.com/office/drawing/2014/main" id="{96047AC0-3CC0-46D4-4808-637581C4CE43}"/>
              </a:ext>
            </a:extLst>
          </p:cNvPr>
          <p:cNvSpPr txBox="1"/>
          <p:nvPr/>
        </p:nvSpPr>
        <p:spPr>
          <a:xfrm>
            <a:off x="515938" y="2445916"/>
            <a:ext cx="2876470" cy="267765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326E"/>
                </a:solidFill>
                <a:effectLst/>
                <a:uLnTx/>
                <a:uFillTx/>
                <a:latin typeface="Roboto Condensed"/>
                <a:ea typeface="Roboto" panose="02000000000000000000" pitchFamily="2" charset="0"/>
                <a:cs typeface="Roboto" panose="02000000000000000000" pitchFamily="2" charset="0"/>
              </a:rPr>
              <a:t>‘Everything that </a:t>
            </a:r>
            <a:br>
              <a:rPr kumimoji="0" lang="en-GB" sz="2000" b="1" i="0" u="none" strike="noStrike" kern="1200" cap="none" spc="0" normalizeH="0" baseline="0" noProof="0">
                <a:ln>
                  <a:noFill/>
                </a:ln>
                <a:solidFill>
                  <a:srgbClr val="00326E"/>
                </a:solidFill>
                <a:effectLst/>
                <a:uLnTx/>
                <a:uFillTx/>
                <a:latin typeface="Roboto Condensed"/>
                <a:ea typeface="Roboto" panose="02000000000000000000" pitchFamily="2" charset="0"/>
                <a:cs typeface="Roboto" panose="02000000000000000000" pitchFamily="2" charset="0"/>
              </a:rPr>
            </a:br>
            <a:r>
              <a:rPr kumimoji="0" lang="en-GB" sz="2000" b="1" i="0" u="none" strike="noStrike" kern="1200" cap="none" spc="0" normalizeH="0" baseline="0" noProof="0">
                <a:ln>
                  <a:noFill/>
                </a:ln>
                <a:solidFill>
                  <a:srgbClr val="00326E"/>
                </a:solidFill>
                <a:effectLst/>
                <a:uLnTx/>
                <a:uFillTx/>
                <a:latin typeface="Roboto Condensed"/>
                <a:ea typeface="Roboto" panose="02000000000000000000" pitchFamily="2" charset="0"/>
                <a:cs typeface="Roboto" panose="02000000000000000000" pitchFamily="2" charset="0"/>
              </a:rPr>
              <a:t>assists the tradesmen</a:t>
            </a:r>
            <a:br>
              <a:rPr kumimoji="0" lang="en-GB" sz="2000" b="1" i="0" u="none" strike="noStrike" kern="1200" cap="none" spc="0" normalizeH="0" baseline="0" noProof="0">
                <a:ln>
                  <a:noFill/>
                </a:ln>
                <a:solidFill>
                  <a:srgbClr val="00326E"/>
                </a:solidFill>
                <a:effectLst/>
                <a:uLnTx/>
                <a:uFillTx/>
                <a:latin typeface="Roboto Condensed"/>
                <a:ea typeface="Roboto" panose="02000000000000000000" pitchFamily="2" charset="0"/>
                <a:cs typeface="Roboto" panose="02000000000000000000" pitchFamily="2" charset="0"/>
              </a:rPr>
            </a:br>
            <a:r>
              <a:rPr kumimoji="0" lang="en-GB" sz="2000" b="1" i="0" u="none" strike="noStrike" kern="1200" cap="none" spc="0" normalizeH="0" baseline="0" noProof="0">
                <a:ln>
                  <a:noFill/>
                </a:ln>
                <a:solidFill>
                  <a:srgbClr val="00326E"/>
                </a:solidFill>
                <a:effectLst/>
                <a:uLnTx/>
                <a:uFillTx/>
                <a:latin typeface="Roboto Condensed"/>
                <a:ea typeface="Roboto" panose="02000000000000000000" pitchFamily="2" charset="0"/>
                <a:cs typeface="Roboto" panose="02000000000000000000" pitchFamily="2" charset="0"/>
              </a:rPr>
              <a:t>in completing the job’</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00326E"/>
              </a:solidFill>
              <a:effectLst/>
              <a:uLnTx/>
              <a:uFillTx/>
              <a:latin typeface="Roboto" panose="02000000000000000000" pitchFamily="2" charset="0"/>
              <a:ea typeface="Roboto" panose="02000000000000000000" pitchFamily="2" charset="0"/>
              <a:cs typeface="Roboto" panose="020000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326E"/>
                </a:solidFill>
                <a:effectLst/>
                <a:uLnTx/>
                <a:uFillTx/>
                <a:latin typeface="Roboto Condensed"/>
                <a:ea typeface="Roboto" panose="02000000000000000000" pitchFamily="2" charset="0"/>
                <a:cs typeface="Roboto" panose="02000000000000000000" pitchFamily="2" charset="0"/>
              </a:rPr>
              <a:t>The Enable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a:ln>
                  <a:noFill/>
                </a:ln>
                <a:solidFill>
                  <a:srgbClr val="00326E"/>
                </a:solidFill>
                <a:effectLst/>
                <a:uLnTx/>
                <a:uFillTx/>
                <a:latin typeface="Roboto Condensed"/>
                <a:ea typeface="Roboto" panose="02000000000000000000" pitchFamily="2" charset="0"/>
                <a:cs typeface="Roboto" panose="02000000000000000000" pitchFamily="2" charset="0"/>
              </a:rPr>
              <a:t>Tool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a:ln>
                  <a:noFill/>
                </a:ln>
                <a:solidFill>
                  <a:srgbClr val="00326E"/>
                </a:solidFill>
                <a:effectLst/>
                <a:uLnTx/>
                <a:uFillTx/>
                <a:latin typeface="Roboto Condensed"/>
                <a:ea typeface="Roboto" panose="02000000000000000000" pitchFamily="2" charset="0"/>
                <a:cs typeface="Roboto" panose="02000000000000000000" pitchFamily="2" charset="0"/>
              </a:rPr>
              <a:t>Light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a:ln>
                  <a:noFill/>
                </a:ln>
                <a:solidFill>
                  <a:srgbClr val="00326E"/>
                </a:solidFill>
                <a:effectLst/>
                <a:uLnTx/>
                <a:uFillTx/>
                <a:latin typeface="Roboto Condensed"/>
                <a:ea typeface="Roboto" panose="02000000000000000000" pitchFamily="2" charset="0"/>
                <a:cs typeface="Roboto" panose="02000000000000000000" pitchFamily="2" charset="0"/>
              </a:rPr>
              <a:t>Equip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a:ln>
                  <a:noFill/>
                </a:ln>
                <a:solidFill>
                  <a:srgbClr val="00326E"/>
                </a:solidFill>
                <a:effectLst/>
                <a:uLnTx/>
                <a:uFillTx/>
                <a:latin typeface="Roboto Condensed"/>
                <a:ea typeface="Roboto" panose="02000000000000000000" pitchFamily="2" charset="0"/>
                <a:cs typeface="Roboto" panose="02000000000000000000" pitchFamily="2" charset="0"/>
              </a:rPr>
              <a:t>Workwea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a:ln>
                  <a:noFill/>
                </a:ln>
                <a:solidFill>
                  <a:srgbClr val="00326E"/>
                </a:solidFill>
                <a:effectLst/>
                <a:uLnTx/>
                <a:uFillTx/>
                <a:latin typeface="Roboto Condensed"/>
                <a:ea typeface="Roboto" panose="02000000000000000000" pitchFamily="2" charset="0"/>
                <a:cs typeface="Roboto" panose="02000000000000000000" pitchFamily="2" charset="0"/>
              </a:rPr>
              <a:t>Fastenings</a:t>
            </a:r>
          </a:p>
        </p:txBody>
      </p:sp>
    </p:spTree>
    <p:extLst>
      <p:ext uri="{BB962C8B-B14F-4D97-AF65-F5344CB8AC3E}">
        <p14:creationId xmlns:p14="http://schemas.microsoft.com/office/powerpoint/2010/main" val="1670561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250"/>
                                        <p:tgtEl>
                                          <p:spTgt spid="9"/>
                                        </p:tgtEl>
                                      </p:cBhvr>
                                    </p:animEffect>
                                  </p:childTnLst>
                                </p:cTn>
                              </p:par>
                              <p:par>
                                <p:cTn id="8" presetID="42" presetClass="path" presetSubtype="0" decel="100000" fill="hold" nodeType="withEffect">
                                  <p:stCondLst>
                                    <p:cond delay="0"/>
                                  </p:stCondLst>
                                  <p:childTnLst>
                                    <p:animMotion origin="layout" path="M -0.01719 -0.00023 L -1.25E-6 1.85185E-6 " pathEditMode="relative" rAng="0" ptsTypes="AA">
                                      <p:cBhvr>
                                        <p:cTn id="9" dur="500" fill="hold"/>
                                        <p:tgtEl>
                                          <p:spTgt spid="9"/>
                                        </p:tgtEl>
                                        <p:attrNameLst>
                                          <p:attrName>ppt_x</p:attrName>
                                          <p:attrName>ppt_y</p:attrName>
                                        </p:attrNameLst>
                                      </p:cBhvr>
                                      <p:rCtr x="859"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250"/>
                                        <p:tgtEl>
                                          <p:spTgt spid="10"/>
                                        </p:tgtEl>
                                      </p:cBhvr>
                                    </p:animEffect>
                                  </p:childTnLst>
                                </p:cTn>
                              </p:par>
                              <p:par>
                                <p:cTn id="13" presetID="42" presetClass="path" presetSubtype="0" decel="100000" fill="hold" grpId="1" nodeType="withEffect">
                                  <p:stCondLst>
                                    <p:cond delay="0"/>
                                  </p:stCondLst>
                                  <p:childTnLst>
                                    <p:animMotion origin="layout" path="M -0.01719 -0.00023 L -1.25E-6 1.85185E-6 " pathEditMode="relative" rAng="0" ptsTypes="AA">
                                      <p:cBhvr>
                                        <p:cTn id="14" dur="500" fill="hold"/>
                                        <p:tgtEl>
                                          <p:spTgt spid="10"/>
                                        </p:tgtEl>
                                        <p:attrNameLst>
                                          <p:attrName>ppt_x</p:attrName>
                                          <p:attrName>ppt_y</p:attrName>
                                        </p:attrNameLst>
                                      </p:cBhvr>
                                      <p:rCtr x="859" y="0"/>
                                    </p:animMotion>
                                  </p:childTnLst>
                                </p:cTn>
                              </p:par>
                              <p:par>
                                <p:cTn id="15" presetID="10" presetClass="entr" presetSubtype="0" fill="hold" nodeType="with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250"/>
                                        <p:tgtEl>
                                          <p:spTgt spid="8"/>
                                        </p:tgtEl>
                                      </p:cBhvr>
                                    </p:animEffect>
                                  </p:childTnLst>
                                </p:cTn>
                              </p:par>
                              <p:par>
                                <p:cTn id="18" presetID="42" presetClass="path" presetSubtype="0" decel="100000" fill="hold" nodeType="withEffect">
                                  <p:stCondLst>
                                    <p:cond delay="0"/>
                                  </p:stCondLst>
                                  <p:childTnLst>
                                    <p:animMotion origin="layout" path="M 0.01666 -0.00046 L 3.75E-6 1.85185E-6 " pathEditMode="relative" rAng="0" ptsTypes="AA">
                                      <p:cBhvr>
                                        <p:cTn id="19" dur="500" fill="hold"/>
                                        <p:tgtEl>
                                          <p:spTgt spid="8"/>
                                        </p:tgtEl>
                                        <p:attrNameLst>
                                          <p:attrName>ppt_x</p:attrName>
                                          <p:attrName>ppt_y</p:attrName>
                                        </p:attrNameLst>
                                      </p:cBhvr>
                                      <p:rCtr x="-833"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lede 6" descr="Et billede, der indeholder skærmbillede, logo, Font/skrifttype, Grafik&#10;&#10;Automatisk genereret beskrivelse">
            <a:extLst>
              <a:ext uri="{FF2B5EF4-FFF2-40B4-BE49-F238E27FC236}">
                <a16:creationId xmlns:a16="http://schemas.microsoft.com/office/drawing/2014/main" id="{C57DE67D-AC33-F1A5-4270-48D6BCE9ED1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7283" y="927447"/>
            <a:ext cx="1372002" cy="802361"/>
          </a:xfrm>
          <a:prstGeom prst="rect">
            <a:avLst/>
          </a:prstGeom>
        </p:spPr>
      </p:pic>
      <p:sp>
        <p:nvSpPr>
          <p:cNvPr id="9" name="TextBox 8">
            <a:extLst>
              <a:ext uri="{FF2B5EF4-FFF2-40B4-BE49-F238E27FC236}">
                <a16:creationId xmlns:a16="http://schemas.microsoft.com/office/drawing/2014/main" id="{8E5A0817-96FA-1536-7E19-636352671ED9}"/>
              </a:ext>
            </a:extLst>
          </p:cNvPr>
          <p:cNvSpPr txBox="1"/>
          <p:nvPr/>
        </p:nvSpPr>
        <p:spPr>
          <a:xfrm>
            <a:off x="567283" y="1775569"/>
            <a:ext cx="2495463" cy="372409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326E"/>
                </a:solidFill>
                <a:effectLst/>
                <a:uLnTx/>
                <a:uFillTx/>
                <a:latin typeface="Roboto Condensed"/>
                <a:ea typeface="Roboto" panose="02000000000000000000" pitchFamily="2" charset="0"/>
                <a:cs typeface="Roboto" panose="02000000000000000000" pitchFamily="2" charset="0"/>
              </a:rPr>
              <a:t>‘The foundation of building construction wor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rgbClr val="00326E"/>
              </a:solidFill>
              <a:effectLst/>
              <a:uLnTx/>
              <a:uFillTx/>
              <a:latin typeface="Roboto Condensed"/>
              <a:ea typeface="Roboto" panose="02000000000000000000" pitchFamily="2" charset="0"/>
              <a:cs typeface="Roboto" panose="020000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326E"/>
                </a:solidFill>
                <a:effectLst/>
                <a:uLnTx/>
                <a:uFillTx/>
                <a:latin typeface="Roboto Condensed"/>
                <a:ea typeface="Roboto" panose="02000000000000000000" pitchFamily="2" charset="0"/>
                <a:cs typeface="Roboto" panose="02000000000000000000" pitchFamily="2" charset="0"/>
              </a:rPr>
              <a:t>The invisible construction materia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a:ln>
                  <a:noFill/>
                </a:ln>
                <a:solidFill>
                  <a:srgbClr val="00326E"/>
                </a:solidFill>
                <a:effectLst/>
                <a:uLnTx/>
                <a:uFillTx/>
                <a:latin typeface="Roboto Condensed"/>
                <a:ea typeface="Roboto" panose="02000000000000000000" pitchFamily="2" charset="0"/>
                <a:cs typeface="Roboto" panose="02000000000000000000" pitchFamily="2" charset="0"/>
              </a:rPr>
              <a:t>C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a:ln>
                  <a:noFill/>
                </a:ln>
                <a:solidFill>
                  <a:srgbClr val="00326E"/>
                </a:solidFill>
                <a:effectLst/>
                <a:uLnTx/>
                <a:uFillTx/>
                <a:latin typeface="Roboto Condensed"/>
                <a:ea typeface="Roboto" panose="02000000000000000000" pitchFamily="2" charset="0"/>
                <a:cs typeface="Roboto" panose="02000000000000000000" pitchFamily="2" charset="0"/>
              </a:rPr>
              <a:t>Plasterboar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a:ln>
                  <a:noFill/>
                </a:ln>
                <a:solidFill>
                  <a:srgbClr val="00326E"/>
                </a:solidFill>
                <a:effectLst/>
                <a:uLnTx/>
                <a:uFillTx/>
                <a:latin typeface="Roboto Condensed"/>
                <a:ea typeface="Roboto" panose="02000000000000000000" pitchFamily="2" charset="0"/>
                <a:cs typeface="Roboto" panose="02000000000000000000" pitchFamily="2" charset="0"/>
              </a:rPr>
              <a:t>Roof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a:ln>
                  <a:noFill/>
                </a:ln>
                <a:solidFill>
                  <a:srgbClr val="00326E"/>
                </a:solidFill>
                <a:effectLst/>
                <a:uLnTx/>
                <a:uFillTx/>
                <a:latin typeface="Roboto Condensed"/>
                <a:ea typeface="Roboto" panose="02000000000000000000" pitchFamily="2" charset="0"/>
                <a:cs typeface="Roboto" panose="02000000000000000000" pitchFamily="2" charset="0"/>
              </a:rPr>
              <a:t>Block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a:ln>
                  <a:noFill/>
                </a:ln>
                <a:solidFill>
                  <a:srgbClr val="00326E"/>
                </a:solidFill>
                <a:effectLst/>
                <a:uLnTx/>
                <a:uFillTx/>
                <a:latin typeface="Roboto Condensed"/>
                <a:ea typeface="Roboto" panose="02000000000000000000" pitchFamily="2" charset="0"/>
                <a:cs typeface="Roboto" panose="02000000000000000000" pitchFamily="2" charset="0"/>
              </a:rPr>
              <a:t>Insul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a:ln>
                  <a:noFill/>
                </a:ln>
                <a:solidFill>
                  <a:srgbClr val="00326E"/>
                </a:solidFill>
                <a:effectLst/>
                <a:uLnTx/>
                <a:uFillTx/>
                <a:latin typeface="Roboto Condensed"/>
                <a:ea typeface="Roboto" panose="02000000000000000000" pitchFamily="2" charset="0"/>
                <a:cs typeface="Roboto" panose="02000000000000000000" pitchFamily="2" charset="0"/>
              </a:rPr>
              <a:t>Timb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a:ln>
                  <a:noFill/>
                </a:ln>
                <a:solidFill>
                  <a:srgbClr val="00326E"/>
                </a:solidFill>
                <a:effectLst/>
                <a:uLnTx/>
                <a:uFillTx/>
                <a:latin typeface="Roboto Condensed"/>
                <a:ea typeface="Roboto" panose="02000000000000000000" pitchFamily="2" charset="0"/>
                <a:cs typeface="Roboto" panose="02000000000000000000" pitchFamily="2" charset="0"/>
              </a:rPr>
              <a:t>Drainage</a:t>
            </a:r>
            <a:endParaRPr kumimoji="0" lang="en-GB" sz="1050" b="1" i="0" u="none" strike="noStrike" kern="1200" cap="none" spc="0" normalizeH="0" baseline="0" noProof="0">
              <a:ln>
                <a:noFill/>
              </a:ln>
              <a:solidFill>
                <a:prstClr val="black"/>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Roboto"/>
              <a:ea typeface="+mn-ea"/>
              <a:cs typeface="+mn-cs"/>
            </a:endParaRPr>
          </a:p>
        </p:txBody>
      </p:sp>
      <p:pic>
        <p:nvPicPr>
          <p:cNvPr id="2" name="Picture 1" descr="A collage of people working on a construction site">
            <a:extLst>
              <a:ext uri="{FF2B5EF4-FFF2-40B4-BE49-F238E27FC236}">
                <a16:creationId xmlns:a16="http://schemas.microsoft.com/office/drawing/2014/main" id="{D68E05C2-5021-09CA-5DEF-72305D534CE9}"/>
              </a:ext>
            </a:extLst>
          </p:cNvPr>
          <p:cNvPicPr>
            <a:picLocks noChangeAspect="1"/>
          </p:cNvPicPr>
          <p:nvPr/>
        </p:nvPicPr>
        <p:blipFill rotWithShape="1">
          <a:blip r:embed="rId4"/>
          <a:srcRect l="-2951" t="-5624" r="-3558" b="-5624"/>
          <a:stretch/>
        </p:blipFill>
        <p:spPr>
          <a:xfrm>
            <a:off x="3200399" y="647733"/>
            <a:ext cx="8475663" cy="5382363"/>
          </a:xfrm>
          <a:prstGeom prst="rect">
            <a:avLst/>
          </a:prstGeom>
          <a:solidFill>
            <a:schemeClr val="bg1"/>
          </a:solidFill>
        </p:spPr>
      </p:pic>
    </p:spTree>
    <p:extLst>
      <p:ext uri="{BB962C8B-B14F-4D97-AF65-F5344CB8AC3E}">
        <p14:creationId xmlns:p14="http://schemas.microsoft.com/office/powerpoint/2010/main" val="3810282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250"/>
                                        <p:tgtEl>
                                          <p:spTgt spid="7"/>
                                        </p:tgtEl>
                                      </p:cBhvr>
                                    </p:animEffect>
                                  </p:childTnLst>
                                </p:cTn>
                              </p:par>
                              <p:par>
                                <p:cTn id="8" presetID="42" presetClass="path" presetSubtype="0" decel="100000" fill="hold" nodeType="withEffect">
                                  <p:stCondLst>
                                    <p:cond delay="0"/>
                                  </p:stCondLst>
                                  <p:childTnLst>
                                    <p:animMotion origin="layout" path="M -0.01719 -0.00023 L -1.25E-6 1.85185E-6 " pathEditMode="relative" rAng="0" ptsTypes="AA">
                                      <p:cBhvr>
                                        <p:cTn id="9" dur="500" fill="hold"/>
                                        <p:tgtEl>
                                          <p:spTgt spid="7"/>
                                        </p:tgtEl>
                                        <p:attrNameLst>
                                          <p:attrName>ppt_x</p:attrName>
                                          <p:attrName>ppt_y</p:attrName>
                                        </p:attrNameLst>
                                      </p:cBhvr>
                                      <p:rCtr x="859" y="0"/>
                                    </p:animMotion>
                                  </p:childTnLst>
                                </p:cTn>
                              </p:par>
                              <p:par>
                                <p:cTn id="10" presetID="10" presetClass="entr" presetSubtype="0"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250"/>
                                        <p:tgtEl>
                                          <p:spTgt spid="9"/>
                                        </p:tgtEl>
                                      </p:cBhvr>
                                    </p:animEffect>
                                  </p:childTnLst>
                                </p:cTn>
                              </p:par>
                              <p:par>
                                <p:cTn id="13" presetID="42" presetClass="path" presetSubtype="0" decel="100000" fill="hold" grpId="1" nodeType="withEffect">
                                  <p:stCondLst>
                                    <p:cond delay="0"/>
                                  </p:stCondLst>
                                  <p:childTnLst>
                                    <p:animMotion origin="layout" path="M -0.01719 -0.00023 L -1.25E-6 1.85185E-6 " pathEditMode="relative" rAng="0" ptsTypes="AA">
                                      <p:cBhvr>
                                        <p:cTn id="14" dur="500" fill="hold"/>
                                        <p:tgtEl>
                                          <p:spTgt spid="9"/>
                                        </p:tgtEl>
                                        <p:attrNameLst>
                                          <p:attrName>ppt_x</p:attrName>
                                          <p:attrName>ppt_y</p:attrName>
                                        </p:attrNameLst>
                                      </p:cBhvr>
                                      <p:rCtr x="859" y="0"/>
                                    </p:animMotion>
                                  </p:childTnLst>
                                </p:cTn>
                              </p:par>
                              <p:par>
                                <p:cTn id="15" presetID="10" presetClass="entr" presetSubtype="0" fill="hold" nodeType="with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250"/>
                                        <p:tgtEl>
                                          <p:spTgt spid="2"/>
                                        </p:tgtEl>
                                      </p:cBhvr>
                                    </p:animEffect>
                                  </p:childTnLst>
                                </p:cTn>
                              </p:par>
                              <p:par>
                                <p:cTn id="18" presetID="42" presetClass="path" presetSubtype="0" decel="100000" fill="hold" nodeType="withEffect">
                                  <p:stCondLst>
                                    <p:cond delay="0"/>
                                  </p:stCondLst>
                                  <p:childTnLst>
                                    <p:animMotion origin="layout" path="M 0.01666 -0.00046 L 3.75E-6 1.85185E-6 " pathEditMode="relative" rAng="0" ptsTypes="AA">
                                      <p:cBhvr>
                                        <p:cTn id="19" dur="500" fill="hold"/>
                                        <p:tgtEl>
                                          <p:spTgt spid="2"/>
                                        </p:tgtEl>
                                        <p:attrNameLst>
                                          <p:attrName>ppt_x</p:attrName>
                                          <p:attrName>ppt_y</p:attrName>
                                        </p:attrNameLst>
                                      </p:cBhvr>
                                      <p:rCtr x="-833"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1D58E24-DB31-9FF2-02D1-BBB289C89527}"/>
              </a:ext>
            </a:extLst>
          </p:cNvPr>
          <p:cNvPicPr>
            <a:picLocks noChangeAspect="1"/>
          </p:cNvPicPr>
          <p:nvPr/>
        </p:nvPicPr>
        <p:blipFill>
          <a:blip r:embed="rId3"/>
          <a:stretch>
            <a:fillRect/>
          </a:stretch>
        </p:blipFill>
        <p:spPr>
          <a:xfrm>
            <a:off x="651861" y="957524"/>
            <a:ext cx="1905098" cy="374669"/>
          </a:xfrm>
          <a:prstGeom prst="rect">
            <a:avLst/>
          </a:prstGeom>
        </p:spPr>
      </p:pic>
      <p:sp>
        <p:nvSpPr>
          <p:cNvPr id="10" name="TextBox 9">
            <a:extLst>
              <a:ext uri="{FF2B5EF4-FFF2-40B4-BE49-F238E27FC236}">
                <a16:creationId xmlns:a16="http://schemas.microsoft.com/office/drawing/2014/main" id="{F354E4DC-8E83-915F-1454-410A70A17C0C}"/>
              </a:ext>
            </a:extLst>
          </p:cNvPr>
          <p:cNvSpPr txBox="1"/>
          <p:nvPr/>
        </p:nvSpPr>
        <p:spPr>
          <a:xfrm>
            <a:off x="515937" y="1536174"/>
            <a:ext cx="2573252" cy="36625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326E"/>
                </a:solidFill>
                <a:effectLst/>
                <a:uLnTx/>
                <a:uFillTx/>
                <a:latin typeface="Roboto Condensed"/>
                <a:ea typeface="Roboto" panose="02000000000000000000" pitchFamily="2" charset="0"/>
                <a:cs typeface="Roboto" panose="02000000000000000000" pitchFamily="2" charset="0"/>
              </a:rPr>
              <a:t>‘Transporting Wellbeing into every roo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black"/>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326E"/>
                </a:solidFill>
                <a:effectLst/>
                <a:uLnTx/>
                <a:uFillTx/>
                <a:latin typeface="Roboto Condensed"/>
                <a:ea typeface="Roboto" panose="02000000000000000000" pitchFamily="2" charset="0"/>
                <a:cs typeface="Roboto" panose="02000000000000000000" pitchFamily="2" charset="0"/>
              </a:rPr>
              <a:t>The decorative building products improving th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326E"/>
                </a:solidFill>
                <a:effectLst/>
                <a:uLnTx/>
                <a:uFillTx/>
                <a:latin typeface="Roboto Condensed"/>
                <a:ea typeface="Roboto" panose="02000000000000000000" pitchFamily="2" charset="0"/>
                <a:cs typeface="Roboto" panose="02000000000000000000" pitchFamily="2" charset="0"/>
              </a:rPr>
              <a:t>look and feel inside your hom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a:ln>
                  <a:noFill/>
                </a:ln>
                <a:solidFill>
                  <a:srgbClr val="00326E"/>
                </a:solidFill>
                <a:effectLst/>
                <a:uLnTx/>
                <a:uFillTx/>
                <a:latin typeface="Roboto Condensed"/>
                <a:ea typeface="Roboto" panose="02000000000000000000" pitchFamily="2" charset="0"/>
                <a:cs typeface="Roboto" panose="02000000000000000000" pitchFamily="2" charset="0"/>
              </a:rPr>
              <a:t>Tile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a:ln>
                  <a:noFill/>
                </a:ln>
                <a:solidFill>
                  <a:srgbClr val="00326E"/>
                </a:solidFill>
                <a:effectLst/>
                <a:uLnTx/>
                <a:uFillTx/>
                <a:latin typeface="Roboto Condensed"/>
                <a:ea typeface="Roboto" panose="02000000000000000000" pitchFamily="2" charset="0"/>
                <a:cs typeface="Roboto" panose="02000000000000000000" pitchFamily="2" charset="0"/>
              </a:rPr>
              <a:t>Flooring</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a:ln>
                  <a:noFill/>
                </a:ln>
                <a:solidFill>
                  <a:srgbClr val="00326E"/>
                </a:solidFill>
                <a:effectLst/>
                <a:uLnTx/>
                <a:uFillTx/>
                <a:latin typeface="Roboto Condensed"/>
                <a:ea typeface="Roboto" panose="02000000000000000000" pitchFamily="2" charset="0"/>
                <a:cs typeface="Roboto" panose="02000000000000000000" pitchFamily="2" charset="0"/>
              </a:rPr>
              <a:t>Kitche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a:ln>
                  <a:noFill/>
                </a:ln>
                <a:solidFill>
                  <a:srgbClr val="00326E"/>
                </a:solidFill>
                <a:effectLst/>
                <a:uLnTx/>
                <a:uFillTx/>
                <a:latin typeface="Roboto Condensed"/>
                <a:ea typeface="Roboto" panose="02000000000000000000" pitchFamily="2" charset="0"/>
                <a:cs typeface="Roboto" panose="02000000000000000000" pitchFamily="2" charset="0"/>
              </a:rPr>
              <a:t>Bathroom</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a:ln>
                  <a:noFill/>
                </a:ln>
                <a:solidFill>
                  <a:srgbClr val="00326E"/>
                </a:solidFill>
                <a:effectLst/>
                <a:uLnTx/>
                <a:uFillTx/>
                <a:latin typeface="Roboto Condensed"/>
                <a:ea typeface="Roboto" panose="02000000000000000000" pitchFamily="2" charset="0"/>
                <a:cs typeface="Roboto" panose="02000000000000000000" pitchFamily="2" charset="0"/>
              </a:rPr>
              <a:t>Door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a:ln>
                  <a:noFill/>
                </a:ln>
                <a:solidFill>
                  <a:srgbClr val="00326E"/>
                </a:solidFill>
                <a:effectLst/>
                <a:uLnTx/>
                <a:uFillTx/>
                <a:latin typeface="Roboto Condensed"/>
                <a:ea typeface="Roboto" panose="02000000000000000000" pitchFamily="2" charset="0"/>
                <a:cs typeface="Roboto" panose="02000000000000000000" pitchFamily="2" charset="0"/>
              </a:rPr>
              <a:t>Paint</a:t>
            </a:r>
          </a:p>
        </p:txBody>
      </p:sp>
      <p:pic>
        <p:nvPicPr>
          <p:cNvPr id="8" name="Picture 7" descr="A collage of different furniture items&#10;&#10;Description automatically generated">
            <a:extLst>
              <a:ext uri="{FF2B5EF4-FFF2-40B4-BE49-F238E27FC236}">
                <a16:creationId xmlns:a16="http://schemas.microsoft.com/office/drawing/2014/main" id="{2F81C659-DFCC-D289-1ECC-89D4EA50A057}"/>
              </a:ext>
            </a:extLst>
          </p:cNvPr>
          <p:cNvPicPr>
            <a:picLocks noChangeAspect="1"/>
          </p:cNvPicPr>
          <p:nvPr/>
        </p:nvPicPr>
        <p:blipFill rotWithShape="1">
          <a:blip r:embed="rId4"/>
          <a:srcRect l="-3118" t="2564" r="-2944" b="-4445"/>
          <a:stretch/>
        </p:blipFill>
        <p:spPr>
          <a:xfrm>
            <a:off x="3200399" y="647733"/>
            <a:ext cx="8475664" cy="5382362"/>
          </a:xfrm>
          <a:prstGeom prst="rect">
            <a:avLst/>
          </a:prstGeom>
          <a:solidFill>
            <a:schemeClr val="bg1"/>
          </a:solidFill>
        </p:spPr>
      </p:pic>
    </p:spTree>
    <p:extLst>
      <p:ext uri="{BB962C8B-B14F-4D97-AF65-F5344CB8AC3E}">
        <p14:creationId xmlns:p14="http://schemas.microsoft.com/office/powerpoint/2010/main" val="10130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250"/>
                                        <p:tgtEl>
                                          <p:spTgt spid="7"/>
                                        </p:tgtEl>
                                      </p:cBhvr>
                                    </p:animEffect>
                                  </p:childTnLst>
                                </p:cTn>
                              </p:par>
                              <p:par>
                                <p:cTn id="8" presetID="42" presetClass="path" presetSubtype="0" decel="100000" fill="hold" nodeType="withEffect">
                                  <p:stCondLst>
                                    <p:cond delay="0"/>
                                  </p:stCondLst>
                                  <p:childTnLst>
                                    <p:animMotion origin="layout" path="M -0.01719 -0.00023 L -1.25E-6 1.85185E-6 " pathEditMode="relative" rAng="0" ptsTypes="AA">
                                      <p:cBhvr>
                                        <p:cTn id="9" dur="500" fill="hold"/>
                                        <p:tgtEl>
                                          <p:spTgt spid="7"/>
                                        </p:tgtEl>
                                        <p:attrNameLst>
                                          <p:attrName>ppt_x</p:attrName>
                                          <p:attrName>ppt_y</p:attrName>
                                        </p:attrNameLst>
                                      </p:cBhvr>
                                      <p:rCtr x="859"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250"/>
                                        <p:tgtEl>
                                          <p:spTgt spid="10"/>
                                        </p:tgtEl>
                                      </p:cBhvr>
                                    </p:animEffect>
                                  </p:childTnLst>
                                </p:cTn>
                              </p:par>
                              <p:par>
                                <p:cTn id="13" presetID="42" presetClass="path" presetSubtype="0" decel="100000" fill="hold" grpId="1" nodeType="withEffect">
                                  <p:stCondLst>
                                    <p:cond delay="0"/>
                                  </p:stCondLst>
                                  <p:childTnLst>
                                    <p:animMotion origin="layout" path="M -0.01719 -0.00023 L -1.25E-6 1.85185E-6 " pathEditMode="relative" rAng="0" ptsTypes="AA">
                                      <p:cBhvr>
                                        <p:cTn id="14" dur="500" fill="hold"/>
                                        <p:tgtEl>
                                          <p:spTgt spid="10"/>
                                        </p:tgtEl>
                                        <p:attrNameLst>
                                          <p:attrName>ppt_x</p:attrName>
                                          <p:attrName>ppt_y</p:attrName>
                                        </p:attrNameLst>
                                      </p:cBhvr>
                                      <p:rCtr x="859" y="0"/>
                                    </p:animMotion>
                                  </p:childTnLst>
                                </p:cTn>
                              </p:par>
                              <p:par>
                                <p:cTn id="15" presetID="10" presetClass="entr" presetSubtype="0" fill="hold" nodeType="with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250"/>
                                        <p:tgtEl>
                                          <p:spTgt spid="8"/>
                                        </p:tgtEl>
                                      </p:cBhvr>
                                    </p:animEffect>
                                  </p:childTnLst>
                                </p:cTn>
                              </p:par>
                              <p:par>
                                <p:cTn id="18" presetID="42" presetClass="path" presetSubtype="0" decel="100000" fill="hold" nodeType="withEffect">
                                  <p:stCondLst>
                                    <p:cond delay="0"/>
                                  </p:stCondLst>
                                  <p:childTnLst>
                                    <p:animMotion origin="layout" path="M 0.01666 -0.00046 L 3.75E-6 1.85185E-6 " pathEditMode="relative" rAng="0" ptsTypes="AA">
                                      <p:cBhvr>
                                        <p:cTn id="19" dur="500" fill="hold"/>
                                        <p:tgtEl>
                                          <p:spTgt spid="8"/>
                                        </p:tgtEl>
                                        <p:attrNameLst>
                                          <p:attrName>ppt_x</p:attrName>
                                          <p:attrName>ppt_y</p:attrName>
                                        </p:attrNameLst>
                                      </p:cBhvr>
                                      <p:rCtr x="-833"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AA09CAA-A74F-6B3A-619F-B06D05FF080F}"/>
              </a:ext>
            </a:extLst>
          </p:cNvPr>
          <p:cNvPicPr>
            <a:picLocks noChangeAspect="1"/>
          </p:cNvPicPr>
          <p:nvPr/>
        </p:nvPicPr>
        <p:blipFill>
          <a:blip r:embed="rId3"/>
          <a:stretch>
            <a:fillRect/>
          </a:stretch>
        </p:blipFill>
        <p:spPr>
          <a:xfrm>
            <a:off x="761476" y="884046"/>
            <a:ext cx="1293743" cy="327748"/>
          </a:xfrm>
          <a:prstGeom prst="rect">
            <a:avLst/>
          </a:prstGeom>
        </p:spPr>
      </p:pic>
      <p:sp>
        <p:nvSpPr>
          <p:cNvPr id="10" name="TextBox 9">
            <a:extLst>
              <a:ext uri="{FF2B5EF4-FFF2-40B4-BE49-F238E27FC236}">
                <a16:creationId xmlns:a16="http://schemas.microsoft.com/office/drawing/2014/main" id="{6CD728BE-2C5B-F3EB-5DAF-11CE1EC1D61F}"/>
              </a:ext>
            </a:extLst>
          </p:cNvPr>
          <p:cNvSpPr txBox="1"/>
          <p:nvPr/>
        </p:nvSpPr>
        <p:spPr>
          <a:xfrm>
            <a:off x="619374" y="1339144"/>
            <a:ext cx="2457458" cy="403187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326E"/>
                </a:solidFill>
                <a:effectLst/>
                <a:uLnTx/>
                <a:uFillTx/>
                <a:latin typeface="Roboto Condensed"/>
                <a:ea typeface="Roboto" panose="02000000000000000000" pitchFamily="2" charset="0"/>
                <a:cs typeface="Roboto" panose="02000000000000000000" pitchFamily="2" charset="0"/>
              </a:rPr>
              <a:t>‘Everything you need for your garden concep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srgbClr val="00326E"/>
              </a:solidFill>
              <a:effectLst/>
              <a:uLnTx/>
              <a:uFillTx/>
              <a:latin typeface="Roboto Condensed"/>
              <a:ea typeface="Roboto" panose="02000000000000000000" pitchFamily="2" charset="0"/>
              <a:cs typeface="Roboto" panose="020000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326E"/>
                </a:solidFill>
                <a:effectLst/>
                <a:uLnTx/>
                <a:uFillTx/>
                <a:latin typeface="Roboto Condensed"/>
                <a:ea typeface="Roboto" panose="02000000000000000000" pitchFamily="2" charset="0"/>
                <a:cs typeface="Roboto" panose="02000000000000000000" pitchFamily="2" charset="0"/>
              </a:rPr>
              <a:t>Products and solutions </a:t>
            </a:r>
            <a:br>
              <a:rPr kumimoji="0" lang="en-GB" sz="1600" b="1" i="0" u="none" strike="noStrike" kern="1200" cap="none" spc="0" normalizeH="0" baseline="0" noProof="0">
                <a:ln>
                  <a:noFill/>
                </a:ln>
                <a:solidFill>
                  <a:srgbClr val="00326E"/>
                </a:solidFill>
                <a:effectLst/>
                <a:uLnTx/>
                <a:uFillTx/>
                <a:latin typeface="Roboto Condensed"/>
                <a:ea typeface="Roboto" panose="02000000000000000000" pitchFamily="2" charset="0"/>
                <a:cs typeface="Roboto" panose="02000000000000000000" pitchFamily="2" charset="0"/>
              </a:rPr>
            </a:br>
            <a:r>
              <a:rPr kumimoji="0" lang="en-GB" sz="1600" b="1" i="0" u="none" strike="noStrike" kern="1200" cap="none" spc="0" normalizeH="0" baseline="0" noProof="0">
                <a:ln>
                  <a:noFill/>
                </a:ln>
                <a:solidFill>
                  <a:srgbClr val="00326E"/>
                </a:solidFill>
                <a:effectLst/>
                <a:uLnTx/>
                <a:uFillTx/>
                <a:latin typeface="Roboto Condensed"/>
                <a:ea typeface="Roboto" panose="02000000000000000000" pitchFamily="2" charset="0"/>
                <a:cs typeface="Roboto" panose="02000000000000000000" pitchFamily="2" charset="0"/>
              </a:rPr>
              <a:t>for all your landscaping, gardening, and outdoor construction </a:t>
            </a:r>
          </a:p>
          <a:p>
            <a:pPr marL="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a:ln>
                  <a:noFill/>
                </a:ln>
                <a:solidFill>
                  <a:srgbClr val="00326E"/>
                </a:solidFill>
                <a:effectLst/>
                <a:uLnTx/>
                <a:uFillTx/>
                <a:latin typeface="Roboto Condensed"/>
                <a:ea typeface="Roboto" panose="02000000000000000000" pitchFamily="2" charset="0"/>
                <a:cs typeface="Roboto" panose="02000000000000000000" pitchFamily="2" charset="0"/>
              </a:rPr>
              <a:t>Paving</a:t>
            </a:r>
          </a:p>
          <a:p>
            <a:pPr marL="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a:ln>
                  <a:noFill/>
                </a:ln>
                <a:solidFill>
                  <a:srgbClr val="00326E"/>
                </a:solidFill>
                <a:effectLst/>
                <a:uLnTx/>
                <a:uFillTx/>
                <a:latin typeface="Roboto Condensed"/>
                <a:ea typeface="Roboto" panose="02000000000000000000" pitchFamily="2" charset="0"/>
                <a:cs typeface="Roboto" panose="02000000000000000000" pitchFamily="2" charset="0"/>
              </a:rPr>
              <a:t>Decking</a:t>
            </a:r>
          </a:p>
          <a:p>
            <a:pPr marL="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a:ln>
                  <a:noFill/>
                </a:ln>
                <a:solidFill>
                  <a:srgbClr val="00326E"/>
                </a:solidFill>
                <a:effectLst/>
                <a:uLnTx/>
                <a:uFillTx/>
                <a:latin typeface="Roboto Condensed"/>
                <a:ea typeface="Roboto" panose="02000000000000000000" pitchFamily="2" charset="0"/>
                <a:cs typeface="Roboto" panose="02000000000000000000" pitchFamily="2" charset="0"/>
              </a:rPr>
              <a:t>Garden Buildings</a:t>
            </a:r>
          </a:p>
          <a:p>
            <a:pPr marL="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a:ln>
                  <a:noFill/>
                </a:ln>
                <a:solidFill>
                  <a:srgbClr val="00326E"/>
                </a:solidFill>
                <a:effectLst/>
                <a:uLnTx/>
                <a:uFillTx/>
                <a:latin typeface="Roboto Condensed"/>
                <a:ea typeface="Roboto" panose="02000000000000000000" pitchFamily="2" charset="0"/>
                <a:cs typeface="Roboto" panose="02000000000000000000" pitchFamily="2" charset="0"/>
              </a:rPr>
              <a:t>Driveways</a:t>
            </a:r>
          </a:p>
          <a:p>
            <a:pPr marL="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a:ln>
                  <a:noFill/>
                </a:ln>
                <a:solidFill>
                  <a:srgbClr val="00326E"/>
                </a:solidFill>
                <a:effectLst/>
                <a:uLnTx/>
                <a:uFillTx/>
                <a:latin typeface="Roboto Condensed"/>
                <a:ea typeface="Roboto" panose="02000000000000000000" pitchFamily="2" charset="0"/>
                <a:cs typeface="Roboto" panose="02000000000000000000" pitchFamily="2" charset="0"/>
              </a:rPr>
              <a:t>Artificial Turf</a:t>
            </a:r>
          </a:p>
          <a:p>
            <a:pPr marL="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a:ln>
                  <a:noFill/>
                </a:ln>
                <a:solidFill>
                  <a:srgbClr val="00326E"/>
                </a:solidFill>
                <a:effectLst/>
                <a:uLnTx/>
                <a:uFillTx/>
                <a:latin typeface="Roboto Condensed"/>
                <a:ea typeface="Roboto" panose="02000000000000000000" pitchFamily="2" charset="0"/>
                <a:cs typeface="Roboto" panose="02000000000000000000" pitchFamily="2" charset="0"/>
              </a:rPr>
              <a:t>Fencing</a:t>
            </a:r>
          </a:p>
          <a:p>
            <a:pPr marL="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a:ln>
                  <a:noFill/>
                </a:ln>
                <a:solidFill>
                  <a:srgbClr val="00326E"/>
                </a:solidFill>
                <a:effectLst/>
                <a:uLnTx/>
                <a:uFillTx/>
                <a:latin typeface="Roboto Condensed"/>
                <a:ea typeface="Roboto" panose="02000000000000000000" pitchFamily="2" charset="0"/>
                <a:cs typeface="Roboto" panose="02000000000000000000" pitchFamily="2" charset="0"/>
              </a:rPr>
              <a:t>Natural Stone</a:t>
            </a:r>
          </a:p>
        </p:txBody>
      </p:sp>
      <p:pic>
        <p:nvPicPr>
          <p:cNvPr id="3" name="Picture 2" descr="A collage of different types of outdoor furniture&#10;&#10;Description automatically generated">
            <a:extLst>
              <a:ext uri="{FF2B5EF4-FFF2-40B4-BE49-F238E27FC236}">
                <a16:creationId xmlns:a16="http://schemas.microsoft.com/office/drawing/2014/main" id="{35254DEB-0E2D-531E-559C-619802F84BE1}"/>
              </a:ext>
            </a:extLst>
          </p:cNvPr>
          <p:cNvPicPr>
            <a:picLocks noChangeAspect="1"/>
          </p:cNvPicPr>
          <p:nvPr/>
        </p:nvPicPr>
        <p:blipFill rotWithShape="1">
          <a:blip r:embed="rId4"/>
          <a:srcRect l="-2910" r="-1742" b="-4186"/>
          <a:stretch/>
        </p:blipFill>
        <p:spPr>
          <a:xfrm>
            <a:off x="3200399" y="647733"/>
            <a:ext cx="8475664" cy="5382362"/>
          </a:xfrm>
          <a:prstGeom prst="rect">
            <a:avLst/>
          </a:prstGeom>
          <a:solidFill>
            <a:schemeClr val="bg1"/>
          </a:solidFill>
        </p:spPr>
      </p:pic>
    </p:spTree>
    <p:extLst>
      <p:ext uri="{BB962C8B-B14F-4D97-AF65-F5344CB8AC3E}">
        <p14:creationId xmlns:p14="http://schemas.microsoft.com/office/powerpoint/2010/main" val="4154152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250"/>
                                        <p:tgtEl>
                                          <p:spTgt spid="9"/>
                                        </p:tgtEl>
                                      </p:cBhvr>
                                    </p:animEffect>
                                  </p:childTnLst>
                                </p:cTn>
                              </p:par>
                              <p:par>
                                <p:cTn id="8" presetID="42" presetClass="path" presetSubtype="0" decel="100000" fill="hold" nodeType="withEffect">
                                  <p:stCondLst>
                                    <p:cond delay="0"/>
                                  </p:stCondLst>
                                  <p:childTnLst>
                                    <p:animMotion origin="layout" path="M -0.01719 -0.00023 L -1.25E-6 1.85185E-6 " pathEditMode="relative" rAng="0" ptsTypes="AA">
                                      <p:cBhvr>
                                        <p:cTn id="9" dur="500" fill="hold"/>
                                        <p:tgtEl>
                                          <p:spTgt spid="9"/>
                                        </p:tgtEl>
                                        <p:attrNameLst>
                                          <p:attrName>ppt_x</p:attrName>
                                          <p:attrName>ppt_y</p:attrName>
                                        </p:attrNameLst>
                                      </p:cBhvr>
                                      <p:rCtr x="859" y="0"/>
                                    </p:animMotion>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250"/>
                                        <p:tgtEl>
                                          <p:spTgt spid="10"/>
                                        </p:tgtEl>
                                      </p:cBhvr>
                                    </p:animEffect>
                                  </p:childTnLst>
                                </p:cTn>
                              </p:par>
                              <p:par>
                                <p:cTn id="13" presetID="42" presetClass="path" presetSubtype="0" decel="100000" fill="hold" grpId="1" nodeType="withEffect">
                                  <p:stCondLst>
                                    <p:cond delay="0"/>
                                  </p:stCondLst>
                                  <p:childTnLst>
                                    <p:animMotion origin="layout" path="M -0.01719 -0.00023 L -1.25E-6 1.85185E-6 " pathEditMode="relative" rAng="0" ptsTypes="AA">
                                      <p:cBhvr>
                                        <p:cTn id="14" dur="500" fill="hold"/>
                                        <p:tgtEl>
                                          <p:spTgt spid="10"/>
                                        </p:tgtEl>
                                        <p:attrNameLst>
                                          <p:attrName>ppt_x</p:attrName>
                                          <p:attrName>ppt_y</p:attrName>
                                        </p:attrNameLst>
                                      </p:cBhvr>
                                      <p:rCtr x="859" y="0"/>
                                    </p:animMotion>
                                  </p:childTnLst>
                                </p:cTn>
                              </p:par>
                              <p:par>
                                <p:cTn id="15" presetID="10" presetClass="entr" presetSubtype="0" fill="hold"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250"/>
                                        <p:tgtEl>
                                          <p:spTgt spid="3"/>
                                        </p:tgtEl>
                                      </p:cBhvr>
                                    </p:animEffect>
                                  </p:childTnLst>
                                </p:cTn>
                              </p:par>
                              <p:par>
                                <p:cTn id="18" presetID="42" presetClass="path" presetSubtype="0" decel="100000" fill="hold" nodeType="withEffect">
                                  <p:stCondLst>
                                    <p:cond delay="0"/>
                                  </p:stCondLst>
                                  <p:childTnLst>
                                    <p:animMotion origin="layout" path="M 0.01666 -0.00046 L 3.75E-6 1.85185E-6 " pathEditMode="relative" rAng="0" ptsTypes="AA">
                                      <p:cBhvr>
                                        <p:cTn id="19" dur="500" fill="hold"/>
                                        <p:tgtEl>
                                          <p:spTgt spid="3"/>
                                        </p:tgtEl>
                                        <p:attrNameLst>
                                          <p:attrName>ppt_x</p:attrName>
                                          <p:attrName>ppt_y</p:attrName>
                                        </p:attrNameLst>
                                      </p:cBhvr>
                                      <p:rCtr x="-833"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51A9448-4001-8DC3-4923-18AF75C02BF0}"/>
              </a:ext>
            </a:extLst>
          </p:cNvPr>
          <p:cNvSpPr>
            <a:spLocks noGrp="1"/>
          </p:cNvSpPr>
          <p:nvPr>
            <p:ph type="ctrTitle"/>
          </p:nvPr>
        </p:nvSpPr>
        <p:spPr>
          <a:xfrm>
            <a:off x="919163" y="2188399"/>
            <a:ext cx="7229475" cy="1498872"/>
          </a:xfrm>
        </p:spPr>
        <p:txBody>
          <a:bodyPr/>
          <a:lstStyle/>
          <a:p>
            <a:r>
              <a:rPr lang="en-US" b="1" dirty="0">
                <a:solidFill>
                  <a:srgbClr val="002060"/>
                </a:solidFill>
                <a:latin typeface="Roboto Condensed"/>
                <a:ea typeface="Roboto Condensed"/>
                <a:cs typeface="Roboto Condensed"/>
              </a:rPr>
              <a:t>What’s getting</a:t>
            </a:r>
            <a:br>
              <a:rPr lang="en-US" b="1" dirty="0">
                <a:solidFill>
                  <a:srgbClr val="002060"/>
                </a:solidFill>
                <a:latin typeface="Roboto Condensed"/>
                <a:ea typeface="Roboto Condensed"/>
                <a:cs typeface="Roboto Condensed"/>
              </a:rPr>
            </a:br>
            <a:r>
              <a:rPr lang="en-US" b="1" dirty="0">
                <a:solidFill>
                  <a:srgbClr val="002060"/>
                </a:solidFill>
                <a:latin typeface="Roboto Condensed"/>
                <a:ea typeface="Roboto Condensed"/>
                <a:cs typeface="Roboto Condensed"/>
              </a:rPr>
              <a:t>in the way?</a:t>
            </a:r>
            <a:endParaRPr lang="en-GB" b="1" dirty="0">
              <a:latin typeface="Roboto Condensed"/>
              <a:ea typeface="Roboto Condensed"/>
              <a:cs typeface="Roboto Condensed"/>
            </a:endParaRPr>
          </a:p>
        </p:txBody>
      </p:sp>
      <p:pic>
        <p:nvPicPr>
          <p:cNvPr id="8" name="Picture 7">
            <a:extLst>
              <a:ext uri="{FF2B5EF4-FFF2-40B4-BE49-F238E27FC236}">
                <a16:creationId xmlns:a16="http://schemas.microsoft.com/office/drawing/2014/main" id="{0A7F5F43-1D10-9E66-3C48-C26311EB584D}"/>
              </a:ext>
            </a:extLst>
          </p:cNvPr>
          <p:cNvPicPr>
            <a:picLocks/>
          </p:cNvPicPr>
          <p:nvPr/>
        </p:nvPicPr>
        <p:blipFill rotWithShape="1">
          <a:blip r:embed="rId3" cstate="email">
            <a:extLst>
              <a:ext uri="{28A0092B-C50C-407E-A947-70E740481C1C}">
                <a14:useLocalDpi xmlns:a14="http://schemas.microsoft.com/office/drawing/2010/main"/>
              </a:ext>
            </a:extLst>
          </a:blip>
          <a:srcRect/>
          <a:stretch/>
        </p:blipFill>
        <p:spPr>
          <a:xfrm>
            <a:off x="982535" y="0"/>
            <a:ext cx="1612901" cy="711200"/>
          </a:xfrm>
          <a:prstGeom prst="rect">
            <a:avLst/>
          </a:prstGeom>
        </p:spPr>
      </p:pic>
      <p:pic>
        <p:nvPicPr>
          <p:cNvPr id="2" name="Picture 1">
            <a:extLst>
              <a:ext uri="{FF2B5EF4-FFF2-40B4-BE49-F238E27FC236}">
                <a16:creationId xmlns:a16="http://schemas.microsoft.com/office/drawing/2014/main" id="{35B40A5E-1F05-3C65-10CA-8691D6ECD216}"/>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8028471" y="863601"/>
            <a:ext cx="2959336" cy="4963884"/>
          </a:xfrm>
          <a:prstGeom prst="rect">
            <a:avLst/>
          </a:prstGeom>
        </p:spPr>
      </p:pic>
    </p:spTree>
    <p:extLst>
      <p:ext uri="{BB962C8B-B14F-4D97-AF65-F5344CB8AC3E}">
        <p14:creationId xmlns:p14="http://schemas.microsoft.com/office/powerpoint/2010/main" val="1555506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B96B1600-F409-D788-1303-50BE3A17FEC8}"/>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5EFFBCB-3A2E-46AB-9574-82A9AA71B8D7}" type="datetime4">
              <a:rPr kumimoji="0" lang="en-GB" sz="500" b="0" i="0" u="none" strike="noStrike" kern="1200" cap="none" spc="0" normalizeH="0" baseline="0" noProof="0" smtClean="0">
                <a:ln>
                  <a:noFill/>
                </a:ln>
                <a:solidFill>
                  <a:srgbClr val="ECECEC"/>
                </a:solidFill>
                <a:effectLst/>
                <a:uLnTx/>
                <a:uFillTx/>
                <a:latin typeface="Robot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 February 2024</a:t>
            </a:fld>
            <a:endParaRPr kumimoji="0" lang="en-GB" sz="500" b="0" i="0" u="none" strike="noStrike" kern="1200" cap="none" spc="0" normalizeH="0" baseline="0" noProof="0">
              <a:ln>
                <a:noFill/>
              </a:ln>
              <a:solidFill>
                <a:srgbClr val="ECECEC"/>
              </a:solidFill>
              <a:effectLst/>
              <a:uLnTx/>
              <a:uFillTx/>
              <a:latin typeface="Roboto"/>
              <a:ea typeface="+mn-ea"/>
              <a:cs typeface="+mn-cs"/>
            </a:endParaRPr>
          </a:p>
        </p:txBody>
      </p:sp>
      <p:sp>
        <p:nvSpPr>
          <p:cNvPr id="12" name="Title 5">
            <a:extLst>
              <a:ext uri="{FF2B5EF4-FFF2-40B4-BE49-F238E27FC236}">
                <a16:creationId xmlns:a16="http://schemas.microsoft.com/office/drawing/2014/main" id="{EF831639-BCBA-32CD-5CDF-0E37DA54A6F1}"/>
              </a:ext>
            </a:extLst>
          </p:cNvPr>
          <p:cNvSpPr>
            <a:spLocks noGrp="1"/>
          </p:cNvSpPr>
          <p:nvPr>
            <p:ph type="title"/>
          </p:nvPr>
        </p:nvSpPr>
        <p:spPr>
          <a:xfrm>
            <a:off x="514800" y="334800"/>
            <a:ext cx="5436738" cy="554400"/>
          </a:xfrm>
        </p:spPr>
        <p:txBody>
          <a:bodyPr/>
          <a:lstStyle/>
          <a:p>
            <a:r>
              <a:rPr lang="en-US" b="1" dirty="0">
                <a:solidFill>
                  <a:srgbClr val="002060"/>
                </a:solidFill>
                <a:latin typeface="Roboto Condensed"/>
                <a:ea typeface="Roboto Condensed"/>
                <a:cs typeface="Roboto Condensed"/>
              </a:rPr>
              <a:t>Stop, Start, Continue</a:t>
            </a:r>
            <a:endParaRPr lang="en-GB" b="1" dirty="0">
              <a:solidFill>
                <a:srgbClr val="002060"/>
              </a:solidFill>
              <a:latin typeface="Roboto Condensed"/>
              <a:ea typeface="Roboto Condensed"/>
              <a:cs typeface="Roboto Condensed"/>
            </a:endParaRPr>
          </a:p>
        </p:txBody>
      </p:sp>
      <p:pic>
        <p:nvPicPr>
          <p:cNvPr id="8194" name="Picture 2">
            <a:extLst>
              <a:ext uri="{FF2B5EF4-FFF2-40B4-BE49-F238E27FC236}">
                <a16:creationId xmlns:a16="http://schemas.microsoft.com/office/drawing/2014/main" id="{18CFB2C0-CFFD-B5A9-A84B-7211738E01C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46157" y="1212617"/>
            <a:ext cx="7114731" cy="5032854"/>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DD2F5D07-BE4B-A051-AF1F-1887B0D77850}"/>
              </a:ext>
            </a:extLst>
          </p:cNvPr>
          <p:cNvGrpSpPr/>
          <p:nvPr/>
        </p:nvGrpSpPr>
        <p:grpSpPr>
          <a:xfrm>
            <a:off x="514800" y="3056980"/>
            <a:ext cx="3453696" cy="3405626"/>
            <a:chOff x="964120" y="1373292"/>
            <a:chExt cx="5639880" cy="5484708"/>
          </a:xfrm>
        </p:grpSpPr>
        <p:pic>
          <p:nvPicPr>
            <p:cNvPr id="4" name="Picture 3" descr="A green and yellow traffic light&#10;&#10;Description automatically generated">
              <a:extLst>
                <a:ext uri="{FF2B5EF4-FFF2-40B4-BE49-F238E27FC236}">
                  <a16:creationId xmlns:a16="http://schemas.microsoft.com/office/drawing/2014/main" id="{684FCE2A-7020-1760-0326-F8BC916188E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64120" y="1373292"/>
              <a:ext cx="1706472" cy="5484708"/>
            </a:xfrm>
            <a:prstGeom prst="rect">
              <a:avLst/>
            </a:prstGeom>
          </p:spPr>
        </p:pic>
        <p:pic>
          <p:nvPicPr>
            <p:cNvPr id="7" name="Picture 6" descr="A yellow light on a green light&#10;&#10;Description automatically generated">
              <a:extLst>
                <a:ext uri="{FF2B5EF4-FFF2-40B4-BE49-F238E27FC236}">
                  <a16:creationId xmlns:a16="http://schemas.microsoft.com/office/drawing/2014/main" id="{1E27EBAA-5B3A-F616-049A-603A86F4FA2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930861" y="1373292"/>
              <a:ext cx="1706435" cy="5484590"/>
            </a:xfrm>
            <a:prstGeom prst="rect">
              <a:avLst/>
            </a:prstGeom>
          </p:spPr>
        </p:pic>
        <p:pic>
          <p:nvPicPr>
            <p:cNvPr id="8" name="Picture 7" descr="A green light with a yellow circle&#10;&#10;Description automatically generated">
              <a:extLst>
                <a:ext uri="{FF2B5EF4-FFF2-40B4-BE49-F238E27FC236}">
                  <a16:creationId xmlns:a16="http://schemas.microsoft.com/office/drawing/2014/main" id="{E964D514-4C68-F78C-F681-D0BDF6BD304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897565" y="1373292"/>
              <a:ext cx="1706435" cy="5484590"/>
            </a:xfrm>
            <a:prstGeom prst="rect">
              <a:avLst/>
            </a:prstGeom>
          </p:spPr>
        </p:pic>
      </p:grpSp>
    </p:spTree>
    <p:extLst>
      <p:ext uri="{BB962C8B-B14F-4D97-AF65-F5344CB8AC3E}">
        <p14:creationId xmlns:p14="http://schemas.microsoft.com/office/powerpoint/2010/main" val="36701408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98C23A-DAD8-DB51-829C-7077B3189E43}"/>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959D3F0D-9BC4-6C8C-1D8C-5EDA2CF57A65}"/>
              </a:ext>
            </a:extLst>
          </p:cNvPr>
          <p:cNvSpPr>
            <a:spLocks noGrp="1"/>
          </p:cNvSpPr>
          <p:nvPr>
            <p:ph type="ctrTitle"/>
          </p:nvPr>
        </p:nvSpPr>
        <p:spPr>
          <a:xfrm>
            <a:off x="919035" y="2619190"/>
            <a:ext cx="5532565" cy="1498872"/>
          </a:xfrm>
        </p:spPr>
        <p:txBody>
          <a:bodyPr/>
          <a:lstStyle/>
          <a:p>
            <a:r>
              <a:rPr lang="en-US" b="1" dirty="0">
                <a:solidFill>
                  <a:srgbClr val="002060"/>
                </a:solidFill>
                <a:latin typeface="Roboto Condensed"/>
                <a:ea typeface="Roboto Condensed"/>
                <a:cs typeface="Roboto Condensed"/>
              </a:rPr>
              <a:t>Safe to do the right thing</a:t>
            </a:r>
          </a:p>
        </p:txBody>
      </p:sp>
    </p:spTree>
    <p:extLst>
      <p:ext uri="{BB962C8B-B14F-4D97-AF65-F5344CB8AC3E}">
        <p14:creationId xmlns:p14="http://schemas.microsoft.com/office/powerpoint/2010/main" val="2886985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B96B1600-F409-D788-1303-50BE3A17FEC8}"/>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5EFFBCB-3A2E-46AB-9574-82A9AA71B8D7}" type="datetime4">
              <a:rPr kumimoji="0" lang="en-GB" sz="500" b="0" i="0" u="none" strike="noStrike" kern="1200" cap="none" spc="0" normalizeH="0" baseline="0" noProof="0" smtClean="0">
                <a:ln>
                  <a:noFill/>
                </a:ln>
                <a:solidFill>
                  <a:srgbClr val="ECECEC"/>
                </a:solidFill>
                <a:effectLst/>
                <a:uLnTx/>
                <a:uFillTx/>
                <a:latin typeface="Robot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 February 2024</a:t>
            </a:fld>
            <a:endParaRPr kumimoji="0" lang="en-GB" sz="500" b="0" i="0" u="none" strike="noStrike" kern="1200" cap="none" spc="0" normalizeH="0" baseline="0" noProof="0">
              <a:ln>
                <a:noFill/>
              </a:ln>
              <a:solidFill>
                <a:srgbClr val="ECECEC"/>
              </a:solidFill>
              <a:effectLst/>
              <a:uLnTx/>
              <a:uFillTx/>
              <a:latin typeface="Roboto"/>
              <a:ea typeface="+mn-ea"/>
              <a:cs typeface="+mn-cs"/>
            </a:endParaRPr>
          </a:p>
        </p:txBody>
      </p:sp>
      <p:pic>
        <p:nvPicPr>
          <p:cNvPr id="8" name="Picture 2">
            <a:extLst>
              <a:ext uri="{FF2B5EF4-FFF2-40B4-BE49-F238E27FC236}">
                <a16:creationId xmlns:a16="http://schemas.microsoft.com/office/drawing/2014/main" id="{27BB2B03-7639-9B99-E4A8-ADCB1E36188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69807" y="1867067"/>
            <a:ext cx="5506256" cy="388771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 descr="A blue and white background with white text&#10;&#10;Description automatically generated">
            <a:extLst>
              <a:ext uri="{FF2B5EF4-FFF2-40B4-BE49-F238E27FC236}">
                <a16:creationId xmlns:a16="http://schemas.microsoft.com/office/drawing/2014/main" id="{1D948CFA-8628-6580-53AF-492AEE1B30F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1425" y="1867067"/>
            <a:ext cx="5506255" cy="3883587"/>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5">
            <a:extLst>
              <a:ext uri="{FF2B5EF4-FFF2-40B4-BE49-F238E27FC236}">
                <a16:creationId xmlns:a16="http://schemas.microsoft.com/office/drawing/2014/main" id="{E1D6C88A-657F-11B5-FC5C-C1D9C53CF905}"/>
              </a:ext>
            </a:extLst>
          </p:cNvPr>
          <p:cNvSpPr>
            <a:spLocks noGrp="1"/>
          </p:cNvSpPr>
          <p:nvPr>
            <p:ph type="title"/>
          </p:nvPr>
        </p:nvSpPr>
        <p:spPr>
          <a:xfrm>
            <a:off x="514800" y="334800"/>
            <a:ext cx="5436738" cy="554400"/>
          </a:xfrm>
        </p:spPr>
        <p:txBody>
          <a:bodyPr/>
          <a:lstStyle/>
          <a:p>
            <a:r>
              <a:rPr lang="en-US" b="1" dirty="0">
                <a:solidFill>
                  <a:srgbClr val="002060"/>
                </a:solidFill>
                <a:latin typeface="Roboto Condensed"/>
                <a:ea typeface="Roboto Condensed"/>
                <a:cs typeface="Roboto Condensed"/>
              </a:rPr>
              <a:t>Our Trust in Better Stories</a:t>
            </a:r>
            <a:endParaRPr lang="en-GB" b="1" dirty="0">
              <a:solidFill>
                <a:srgbClr val="002060"/>
              </a:solidFill>
              <a:latin typeface="Roboto Condensed"/>
              <a:ea typeface="Roboto Condensed"/>
              <a:cs typeface="Roboto Condensed"/>
            </a:endParaRPr>
          </a:p>
        </p:txBody>
      </p:sp>
    </p:spTree>
    <p:extLst>
      <p:ext uri="{BB962C8B-B14F-4D97-AF65-F5344CB8AC3E}">
        <p14:creationId xmlns:p14="http://schemas.microsoft.com/office/powerpoint/2010/main" val="327693865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716C6C15-0D3B-2115-B1F1-A0EAE57A2392}"/>
              </a:ext>
            </a:extLst>
          </p:cNvPr>
          <p:cNvSpPr txBox="1">
            <a:spLocks/>
          </p:cNvSpPr>
          <p:nvPr/>
        </p:nvSpPr>
        <p:spPr>
          <a:xfrm>
            <a:off x="939171" y="2386962"/>
            <a:ext cx="6611385" cy="1452705"/>
          </a:xfrm>
          <a:prstGeom prst="rect">
            <a:avLst/>
          </a:prstGeom>
          <a:ln>
            <a:noFill/>
          </a:ln>
        </p:spPr>
        <p:txBody>
          <a:bodyPr vert="horz" wrap="square" lIns="0" tIns="0" rIns="0" bIns="0" rtlCol="0" anchor="t" anchorCtr="0">
            <a:spAutoFit/>
          </a:bodyPr>
          <a:lstStyle>
            <a:lvl1pPr algn="l" defTabSz="914400" rtl="0" eaLnBrk="1" latinLnBrk="0" hangingPunct="1">
              <a:lnSpc>
                <a:spcPct val="78000"/>
              </a:lnSpc>
              <a:spcBef>
                <a:spcPts val="0"/>
              </a:spcBef>
              <a:buNone/>
              <a:defRPr sz="6000" b="1" kern="0" cap="all" spc="-150" baseline="0">
                <a:solidFill>
                  <a:schemeClr val="tx2"/>
                </a:solidFill>
                <a:latin typeface="+mj-lt"/>
                <a:ea typeface="+mj-ea"/>
                <a:cs typeface="+mj-cs"/>
              </a:defRPr>
            </a:lvl1pPr>
          </a:lstStyle>
          <a:p>
            <a:pPr marL="0" marR="0" lvl="0" indent="0" algn="l" defTabSz="914400" rtl="0" eaLnBrk="1" fontAlgn="auto" latinLnBrk="0" hangingPunct="1">
              <a:lnSpc>
                <a:spcPct val="78000"/>
              </a:lnSpc>
              <a:spcBef>
                <a:spcPts val="0"/>
              </a:spcBef>
              <a:spcAft>
                <a:spcPts val="0"/>
              </a:spcAft>
              <a:buClrTx/>
              <a:buSzTx/>
              <a:buFontTx/>
              <a:buNone/>
              <a:tabLst/>
              <a:defRPr/>
            </a:pPr>
            <a:r>
              <a:rPr kumimoji="0" lang="en-US" sz="6000" b="1" i="0" u="none" strike="noStrike" kern="0" cap="all" spc="-150" normalizeH="0" baseline="0" noProof="0">
                <a:ln>
                  <a:noFill/>
                </a:ln>
                <a:solidFill>
                  <a:srgbClr val="00326E"/>
                </a:solidFill>
                <a:effectLst/>
                <a:uLnTx/>
                <a:uFillTx/>
                <a:latin typeface="Roboto Condensed"/>
                <a:ea typeface="+mj-ea"/>
                <a:cs typeface="+mj-cs"/>
              </a:rPr>
              <a:t>Tell us! </a:t>
            </a:r>
            <a:br>
              <a:rPr kumimoji="0" lang="en-US" sz="6000" b="1" i="0" u="none" strike="noStrike" kern="0" cap="all" spc="-150" normalizeH="0" baseline="0" noProof="0">
                <a:ln>
                  <a:noFill/>
                </a:ln>
                <a:solidFill>
                  <a:srgbClr val="00326E"/>
                </a:solidFill>
                <a:effectLst/>
                <a:uLnTx/>
                <a:uFillTx/>
                <a:latin typeface="Roboto Condensed"/>
                <a:ea typeface="+mj-ea"/>
                <a:cs typeface="+mj-cs"/>
              </a:rPr>
            </a:br>
            <a:r>
              <a:rPr kumimoji="0" lang="en-US" sz="6000" b="1" i="0" u="none" strike="noStrike" kern="0" cap="all" spc="-150" normalizeH="0" baseline="0" noProof="0">
                <a:ln>
                  <a:noFill/>
                </a:ln>
                <a:solidFill>
                  <a:srgbClr val="00326E"/>
                </a:solidFill>
                <a:effectLst/>
                <a:uLnTx/>
                <a:uFillTx/>
                <a:latin typeface="Roboto Condensed"/>
                <a:ea typeface="+mj-ea"/>
                <a:cs typeface="+mj-cs"/>
              </a:rPr>
              <a:t>Survey results</a:t>
            </a:r>
            <a:endParaRPr kumimoji="0" lang="en-GB" sz="6000" b="1" i="0" u="none" strike="noStrike" kern="0" cap="all" spc="-150" normalizeH="0" baseline="0" noProof="0">
              <a:ln>
                <a:noFill/>
              </a:ln>
              <a:solidFill>
                <a:srgbClr val="00326E"/>
              </a:solidFill>
              <a:effectLst/>
              <a:uLnTx/>
              <a:uFillTx/>
              <a:latin typeface="Roboto Condensed"/>
              <a:ea typeface="+mj-ea"/>
              <a:cs typeface="+mj-cs"/>
            </a:endParaRPr>
          </a:p>
        </p:txBody>
      </p:sp>
    </p:spTree>
    <p:extLst>
      <p:ext uri="{BB962C8B-B14F-4D97-AF65-F5344CB8AC3E}">
        <p14:creationId xmlns:p14="http://schemas.microsoft.com/office/powerpoint/2010/main" val="2992613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D202819-348A-30F7-9318-DC781B067CF9}"/>
              </a:ext>
            </a:extLst>
          </p:cNvPr>
          <p:cNvPicPr>
            <a:picLocks noChangeAspect="1"/>
          </p:cNvPicPr>
          <p:nvPr/>
        </p:nvPicPr>
        <p:blipFill>
          <a:blip r:embed="rId3"/>
          <a:stretch>
            <a:fillRect/>
          </a:stretch>
        </p:blipFill>
        <p:spPr>
          <a:xfrm>
            <a:off x="3262704" y="1280185"/>
            <a:ext cx="4236716" cy="1982500"/>
          </a:xfrm>
          <a:prstGeom prst="rect">
            <a:avLst/>
          </a:prstGeom>
          <a:ln w="12700">
            <a:solidFill>
              <a:schemeClr val="accent1"/>
            </a:solidFill>
          </a:ln>
        </p:spPr>
      </p:pic>
      <p:sp>
        <p:nvSpPr>
          <p:cNvPr id="24" name="Freeform 6">
            <a:extLst>
              <a:ext uri="{FF2B5EF4-FFF2-40B4-BE49-F238E27FC236}">
                <a16:creationId xmlns:a16="http://schemas.microsoft.com/office/drawing/2014/main" id="{02F07F66-A3A8-E6DD-24D8-AE363E30065D}"/>
              </a:ext>
            </a:extLst>
          </p:cNvPr>
          <p:cNvSpPr>
            <a:spLocks/>
          </p:cNvSpPr>
          <p:nvPr/>
        </p:nvSpPr>
        <p:spPr bwMode="auto">
          <a:xfrm>
            <a:off x="269902" y="1254591"/>
            <a:ext cx="2674007" cy="3901609"/>
          </a:xfrm>
          <a:custGeom>
            <a:avLst/>
            <a:gdLst>
              <a:gd name="T0" fmla="*/ 0 w 5216"/>
              <a:gd name="T1" fmla="*/ 0 h 2133"/>
              <a:gd name="T2" fmla="*/ 2147483646 w 5216"/>
              <a:gd name="T3" fmla="*/ 0 h 2133"/>
              <a:gd name="T4" fmla="*/ 2147483646 w 5216"/>
              <a:gd name="T5" fmla="*/ 2147483646 h 2133"/>
              <a:gd name="T6" fmla="*/ 0 w 5216"/>
              <a:gd name="T7" fmla="*/ 2147483646 h 2133"/>
              <a:gd name="T8" fmla="*/ 0 w 5216"/>
              <a:gd name="T9" fmla="*/ 0 h 2133"/>
              <a:gd name="T10" fmla="*/ 0 w 5216"/>
              <a:gd name="T11" fmla="*/ 0 h 213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216" h="2133">
                <a:moveTo>
                  <a:pt x="0" y="0"/>
                </a:moveTo>
                <a:lnTo>
                  <a:pt x="5216" y="0"/>
                </a:lnTo>
                <a:lnTo>
                  <a:pt x="5216" y="2133"/>
                </a:lnTo>
                <a:lnTo>
                  <a:pt x="0" y="2133"/>
                </a:lnTo>
                <a:lnTo>
                  <a:pt x="0" y="0"/>
                </a:lnTo>
                <a:close/>
              </a:path>
            </a:pathLst>
          </a:custGeom>
          <a:solidFill>
            <a:schemeClr val="bg1"/>
          </a:solidFill>
          <a:ln w="12700">
            <a:solidFill>
              <a:schemeClr val="accent1"/>
            </a:solidFill>
          </a:ln>
        </p:spPr>
        <p:txBody>
          <a:bodyPr lIns="91435" tIns="45717" rIns="91435" bIns="4571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effectLst/>
              <a:uLnTx/>
              <a:uFillTx/>
            </a:endParaRPr>
          </a:p>
        </p:txBody>
      </p:sp>
      <p:sp>
        <p:nvSpPr>
          <p:cNvPr id="25" name="Rectangle 5">
            <a:extLst>
              <a:ext uri="{FF2B5EF4-FFF2-40B4-BE49-F238E27FC236}">
                <a16:creationId xmlns:a16="http://schemas.microsoft.com/office/drawing/2014/main" id="{8379D546-AD9D-AD42-124D-51DDAB78D4F9}"/>
              </a:ext>
            </a:extLst>
          </p:cNvPr>
          <p:cNvSpPr>
            <a:spLocks noChangeArrowheads="1"/>
          </p:cNvSpPr>
          <p:nvPr/>
        </p:nvSpPr>
        <p:spPr bwMode="auto">
          <a:xfrm>
            <a:off x="460717" y="1391985"/>
            <a:ext cx="2379162" cy="11840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a:spcBef>
                <a:spcPct val="0"/>
              </a:spcBef>
              <a:buFontTx/>
              <a:buNone/>
            </a:pPr>
            <a:r>
              <a:rPr lang="da-DK" altLang="da-DK" sz="5999" b="1">
                <a:latin typeface="Trebuchet MS" panose="020B0603020202020204" pitchFamily="34" charset="0"/>
              </a:rPr>
              <a:t>80</a:t>
            </a:r>
            <a:r>
              <a:rPr lang="da-DK" altLang="da-DK" sz="3199">
                <a:latin typeface="Trebuchet MS" panose="020B0603020202020204" pitchFamily="34" charset="0"/>
              </a:rPr>
              <a:t>% </a:t>
            </a:r>
            <a:endParaRPr lang="da-DK" altLang="da-DK" sz="1600">
              <a:latin typeface="Trebuchet MS" panose="020B0603020202020204" pitchFamily="34" charset="0"/>
            </a:endParaRPr>
          </a:p>
        </p:txBody>
      </p:sp>
      <p:sp>
        <p:nvSpPr>
          <p:cNvPr id="26" name="Rectangle 2">
            <a:extLst>
              <a:ext uri="{FF2B5EF4-FFF2-40B4-BE49-F238E27FC236}">
                <a16:creationId xmlns:a16="http://schemas.microsoft.com/office/drawing/2014/main" id="{AB97B3FB-F943-8022-BF90-22FAA391CEFE}"/>
              </a:ext>
            </a:extLst>
          </p:cNvPr>
          <p:cNvSpPr txBox="1">
            <a:spLocks noChangeArrowheads="1"/>
          </p:cNvSpPr>
          <p:nvPr/>
        </p:nvSpPr>
        <p:spPr bwMode="auto">
          <a:xfrm>
            <a:off x="460717" y="2237691"/>
            <a:ext cx="2155372" cy="690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1042988">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defTabSz="1042988">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defTabSz="1042988">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defTabSz="1042988">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defTabSz="1042988">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defTabSz="1042988"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defTabSz="1042988"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defTabSz="1042988"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defTabSz="1042988"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a:spcBef>
                <a:spcPct val="0"/>
              </a:spcBef>
              <a:buFontTx/>
              <a:buNone/>
            </a:pPr>
            <a:r>
              <a:rPr lang="da-DK" altLang="da-DK" sz="1600">
                <a:latin typeface="Trebuchet MS" panose="020B0603020202020204" pitchFamily="34" charset="0"/>
              </a:rPr>
              <a:t>6,171/7,739</a:t>
            </a:r>
            <a:endParaRPr lang="da-DK" altLang="da-DK" sz="1100">
              <a:latin typeface="Trebuchet MS" panose="020B0603020202020204" pitchFamily="34" charset="0"/>
            </a:endParaRPr>
          </a:p>
        </p:txBody>
      </p:sp>
      <p:sp>
        <p:nvSpPr>
          <p:cNvPr id="27" name="object 30">
            <a:extLst>
              <a:ext uri="{FF2B5EF4-FFF2-40B4-BE49-F238E27FC236}">
                <a16:creationId xmlns:a16="http://schemas.microsoft.com/office/drawing/2014/main" id="{B82FAC3A-731E-D897-2C3C-8ABF260897A5}"/>
              </a:ext>
            </a:extLst>
          </p:cNvPr>
          <p:cNvSpPr>
            <a:spLocks/>
          </p:cNvSpPr>
          <p:nvPr/>
        </p:nvSpPr>
        <p:spPr bwMode="auto">
          <a:xfrm flipV="1">
            <a:off x="872108" y="2623087"/>
            <a:ext cx="1239578" cy="77772"/>
          </a:xfrm>
          <a:custGeom>
            <a:avLst/>
            <a:gdLst>
              <a:gd name="T0" fmla="*/ 0 w 1240155"/>
              <a:gd name="T1" fmla="*/ 70059 h 78105"/>
              <a:gd name="T2" fmla="*/ 538558 w 1240155"/>
              <a:gd name="T3" fmla="*/ 70059 h 78105"/>
              <a:gd name="T4" fmla="*/ 615837 w 1240155"/>
              <a:gd name="T5" fmla="*/ 0 h 78105"/>
              <a:gd name="T6" fmla="*/ 693129 w 1240155"/>
              <a:gd name="T7" fmla="*/ 70059 h 78105"/>
              <a:gd name="T8" fmla="*/ 1232102 w 1240155"/>
              <a:gd name="T9" fmla="*/ 70059 h 7810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40155" h="78105">
                <a:moveTo>
                  <a:pt x="0" y="77558"/>
                </a:moveTo>
                <a:lnTo>
                  <a:pt x="542010" y="77558"/>
                </a:lnTo>
                <a:lnTo>
                  <a:pt x="619785" y="0"/>
                </a:lnTo>
                <a:lnTo>
                  <a:pt x="697572" y="77558"/>
                </a:lnTo>
                <a:lnTo>
                  <a:pt x="1240002" y="77558"/>
                </a:lnTo>
              </a:path>
            </a:pathLst>
          </a:custGeom>
          <a:noFill/>
          <a:ln w="3175">
            <a:solidFill>
              <a:srgbClr val="8A918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effectLst/>
              <a:uLnTx/>
              <a:uFillTx/>
            </a:endParaRPr>
          </a:p>
        </p:txBody>
      </p:sp>
      <p:grpSp>
        <p:nvGrpSpPr>
          <p:cNvPr id="28" name="Group 1">
            <a:extLst>
              <a:ext uri="{FF2B5EF4-FFF2-40B4-BE49-F238E27FC236}">
                <a16:creationId xmlns:a16="http://schemas.microsoft.com/office/drawing/2014/main" id="{E8162288-1DEE-6A3C-847A-7DC2D46B00D7}"/>
              </a:ext>
            </a:extLst>
          </p:cNvPr>
          <p:cNvGrpSpPr/>
          <p:nvPr/>
        </p:nvGrpSpPr>
        <p:grpSpPr>
          <a:xfrm>
            <a:off x="570913" y="2811006"/>
            <a:ext cx="2087124" cy="2004591"/>
            <a:chOff x="2296324" y="3668992"/>
            <a:chExt cx="2087124" cy="2004591"/>
          </a:xfrm>
        </p:grpSpPr>
        <p:sp>
          <p:nvSpPr>
            <p:cNvPr id="29" name="object 4">
              <a:extLst>
                <a:ext uri="{FF2B5EF4-FFF2-40B4-BE49-F238E27FC236}">
                  <a16:creationId xmlns:a16="http://schemas.microsoft.com/office/drawing/2014/main" id="{5429A2CB-F3ED-2C2A-A58C-3CCFB89DAC2D}"/>
                </a:ext>
              </a:extLst>
            </p:cNvPr>
            <p:cNvSpPr>
              <a:spLocks noChangeArrowheads="1"/>
            </p:cNvSpPr>
            <p:nvPr/>
          </p:nvSpPr>
          <p:spPr bwMode="auto">
            <a:xfrm>
              <a:off x="2508943" y="3668992"/>
              <a:ext cx="158531" cy="158523"/>
            </a:xfrm>
            <a:prstGeom prst="rect">
              <a:avLst/>
            </a:prstGeom>
            <a:blipFill dpi="0" rotWithShape="1">
              <a:blip r:embed="rId4">
                <a:alphaModFix amt="25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30" name="object 5">
              <a:extLst>
                <a:ext uri="{FF2B5EF4-FFF2-40B4-BE49-F238E27FC236}">
                  <a16:creationId xmlns:a16="http://schemas.microsoft.com/office/drawing/2014/main" id="{7A226E25-7686-E879-5792-14154E8563F6}"/>
                </a:ext>
              </a:extLst>
            </p:cNvPr>
            <p:cNvSpPr>
              <a:spLocks noChangeArrowheads="1"/>
            </p:cNvSpPr>
            <p:nvPr/>
          </p:nvSpPr>
          <p:spPr bwMode="auto">
            <a:xfrm>
              <a:off x="2721563" y="4078943"/>
              <a:ext cx="158531" cy="158523"/>
            </a:xfrm>
            <a:prstGeom prst="rect">
              <a:avLst/>
            </a:prstGeom>
            <a:blipFill dpi="0" rotWithShape="1">
              <a:blip r:embed="rId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31" name="object 3">
              <a:extLst>
                <a:ext uri="{FF2B5EF4-FFF2-40B4-BE49-F238E27FC236}">
                  <a16:creationId xmlns:a16="http://schemas.microsoft.com/office/drawing/2014/main" id="{647B09C1-9808-BEDF-440C-3457B012CDC2}"/>
                </a:ext>
              </a:extLst>
            </p:cNvPr>
            <p:cNvSpPr>
              <a:spLocks noChangeArrowheads="1"/>
            </p:cNvSpPr>
            <p:nvPr/>
          </p:nvSpPr>
          <p:spPr bwMode="auto">
            <a:xfrm>
              <a:off x="2296325" y="3668992"/>
              <a:ext cx="158531" cy="158523"/>
            </a:xfrm>
            <a:prstGeom prst="rect">
              <a:avLst/>
            </a:prstGeom>
            <a:blipFill dpi="0" rotWithShape="1">
              <a:blip r:embed="rId6">
                <a:alphaModFix amt="25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32" name="object 6">
              <a:extLst>
                <a:ext uri="{FF2B5EF4-FFF2-40B4-BE49-F238E27FC236}">
                  <a16:creationId xmlns:a16="http://schemas.microsoft.com/office/drawing/2014/main" id="{523900AF-07B5-AD66-4C92-5B62D425C4CC}"/>
                </a:ext>
              </a:extLst>
            </p:cNvPr>
            <p:cNvSpPr>
              <a:spLocks noChangeArrowheads="1"/>
            </p:cNvSpPr>
            <p:nvPr/>
          </p:nvSpPr>
          <p:spPr bwMode="auto">
            <a:xfrm>
              <a:off x="2508945" y="3873968"/>
              <a:ext cx="158529" cy="158522"/>
            </a:xfrm>
            <a:prstGeom prst="rect">
              <a:avLst/>
            </a:prstGeom>
            <a:blipFill dpi="0" rotWithShape="1">
              <a:blip r:embed="rId7"/>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33" name="object 7">
              <a:extLst>
                <a:ext uri="{FF2B5EF4-FFF2-40B4-BE49-F238E27FC236}">
                  <a16:creationId xmlns:a16="http://schemas.microsoft.com/office/drawing/2014/main" id="{B254D932-19F6-26F5-BBB4-86E9726B3A2B}"/>
                </a:ext>
              </a:extLst>
            </p:cNvPr>
            <p:cNvSpPr>
              <a:spLocks noChangeArrowheads="1"/>
            </p:cNvSpPr>
            <p:nvPr/>
          </p:nvSpPr>
          <p:spPr bwMode="auto">
            <a:xfrm>
              <a:off x="2296324" y="3873968"/>
              <a:ext cx="158530" cy="158522"/>
            </a:xfrm>
            <a:prstGeom prst="rect">
              <a:avLst/>
            </a:prstGeom>
            <a:blipFill dpi="0" rotWithShape="1">
              <a:blip r:embed="rId8"/>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34" name="object 8">
              <a:extLst>
                <a:ext uri="{FF2B5EF4-FFF2-40B4-BE49-F238E27FC236}">
                  <a16:creationId xmlns:a16="http://schemas.microsoft.com/office/drawing/2014/main" id="{447D0D3C-C9EC-0E0D-3FD8-98C0C862E282}"/>
                </a:ext>
              </a:extLst>
            </p:cNvPr>
            <p:cNvSpPr>
              <a:spLocks noChangeArrowheads="1"/>
            </p:cNvSpPr>
            <p:nvPr/>
          </p:nvSpPr>
          <p:spPr bwMode="auto">
            <a:xfrm>
              <a:off x="2508945" y="4078944"/>
              <a:ext cx="158529" cy="158522"/>
            </a:xfrm>
            <a:prstGeom prst="rect">
              <a:avLst/>
            </a:prstGeom>
            <a:blipFill dpi="0" rotWithShape="1">
              <a:blip r:embed="rId9"/>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35" name="object 12">
              <a:extLst>
                <a:ext uri="{FF2B5EF4-FFF2-40B4-BE49-F238E27FC236}">
                  <a16:creationId xmlns:a16="http://schemas.microsoft.com/office/drawing/2014/main" id="{C9BAA02B-6B0C-9484-AAE3-CA802AB33577}"/>
                </a:ext>
              </a:extLst>
            </p:cNvPr>
            <p:cNvSpPr>
              <a:spLocks noChangeArrowheads="1"/>
            </p:cNvSpPr>
            <p:nvPr/>
          </p:nvSpPr>
          <p:spPr bwMode="auto">
            <a:xfrm>
              <a:off x="2296325" y="4078945"/>
              <a:ext cx="158529" cy="158521"/>
            </a:xfrm>
            <a:prstGeom prst="rect">
              <a:avLst/>
            </a:prstGeom>
            <a:blipFill dpi="0" rotWithShape="1">
              <a:blip r:embed="rId10"/>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36" name="object 12">
              <a:extLst>
                <a:ext uri="{FF2B5EF4-FFF2-40B4-BE49-F238E27FC236}">
                  <a16:creationId xmlns:a16="http://schemas.microsoft.com/office/drawing/2014/main" id="{5E8022E8-66B5-A59B-101B-8606504817FE}"/>
                </a:ext>
              </a:extLst>
            </p:cNvPr>
            <p:cNvSpPr>
              <a:spLocks noChangeArrowheads="1"/>
            </p:cNvSpPr>
            <p:nvPr/>
          </p:nvSpPr>
          <p:spPr bwMode="auto">
            <a:xfrm>
              <a:off x="2934186" y="4078945"/>
              <a:ext cx="158529" cy="158521"/>
            </a:xfrm>
            <a:prstGeom prst="rect">
              <a:avLst/>
            </a:prstGeom>
            <a:blipFill dpi="0" rotWithShape="1">
              <a:blip r:embed="rId10"/>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37" name="object 4">
              <a:extLst>
                <a:ext uri="{FF2B5EF4-FFF2-40B4-BE49-F238E27FC236}">
                  <a16:creationId xmlns:a16="http://schemas.microsoft.com/office/drawing/2014/main" id="{7ADA68BC-2B49-0E4D-8299-755D95D250FE}"/>
                </a:ext>
              </a:extLst>
            </p:cNvPr>
            <p:cNvSpPr>
              <a:spLocks noChangeArrowheads="1"/>
            </p:cNvSpPr>
            <p:nvPr/>
          </p:nvSpPr>
          <p:spPr bwMode="auto">
            <a:xfrm>
              <a:off x="2508943" y="4284169"/>
              <a:ext cx="158531" cy="158523"/>
            </a:xfrm>
            <a:prstGeom prst="rect">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38" name="object 6">
              <a:extLst>
                <a:ext uri="{FF2B5EF4-FFF2-40B4-BE49-F238E27FC236}">
                  <a16:creationId xmlns:a16="http://schemas.microsoft.com/office/drawing/2014/main" id="{FDDC1B3C-1E6F-D306-6405-0BFB95904A6E}"/>
                </a:ext>
              </a:extLst>
            </p:cNvPr>
            <p:cNvSpPr>
              <a:spLocks noChangeArrowheads="1"/>
            </p:cNvSpPr>
            <p:nvPr/>
          </p:nvSpPr>
          <p:spPr bwMode="auto">
            <a:xfrm>
              <a:off x="2721565" y="4284170"/>
              <a:ext cx="158529" cy="158522"/>
            </a:xfrm>
            <a:prstGeom prst="rect">
              <a:avLst/>
            </a:prstGeom>
            <a:blipFill dpi="0" rotWithShape="1">
              <a:blip r:embed="rId7"/>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39" name="object 11">
              <a:extLst>
                <a:ext uri="{FF2B5EF4-FFF2-40B4-BE49-F238E27FC236}">
                  <a16:creationId xmlns:a16="http://schemas.microsoft.com/office/drawing/2014/main" id="{A05F70ED-9DC6-3168-6661-4DAE5D19BBEF}"/>
                </a:ext>
              </a:extLst>
            </p:cNvPr>
            <p:cNvSpPr>
              <a:spLocks noChangeArrowheads="1"/>
            </p:cNvSpPr>
            <p:nvPr/>
          </p:nvSpPr>
          <p:spPr bwMode="auto">
            <a:xfrm>
              <a:off x="2934186" y="4284171"/>
              <a:ext cx="158529" cy="158521"/>
            </a:xfrm>
            <a:prstGeom prst="rect">
              <a:avLst/>
            </a:prstGeom>
            <a:blipFill dpi="0" rotWithShape="1">
              <a:blip r:embed="rId11"/>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40" name="object 12">
              <a:extLst>
                <a:ext uri="{FF2B5EF4-FFF2-40B4-BE49-F238E27FC236}">
                  <a16:creationId xmlns:a16="http://schemas.microsoft.com/office/drawing/2014/main" id="{32C3603E-85C3-2077-8974-8097681D1E48}"/>
                </a:ext>
              </a:extLst>
            </p:cNvPr>
            <p:cNvSpPr>
              <a:spLocks noChangeArrowheads="1"/>
            </p:cNvSpPr>
            <p:nvPr/>
          </p:nvSpPr>
          <p:spPr bwMode="auto">
            <a:xfrm>
              <a:off x="2296324" y="4284171"/>
              <a:ext cx="158529" cy="158521"/>
            </a:xfrm>
            <a:prstGeom prst="rect">
              <a:avLst/>
            </a:prstGeom>
            <a:blipFill dpi="0" rotWithShape="1">
              <a:blip r:embed="rId10"/>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41" name="object 6">
              <a:extLst>
                <a:ext uri="{FF2B5EF4-FFF2-40B4-BE49-F238E27FC236}">
                  <a16:creationId xmlns:a16="http://schemas.microsoft.com/office/drawing/2014/main" id="{8F88B1AE-DEA2-5E3E-ED7A-7A80278A9490}"/>
                </a:ext>
              </a:extLst>
            </p:cNvPr>
            <p:cNvSpPr>
              <a:spLocks noChangeArrowheads="1"/>
            </p:cNvSpPr>
            <p:nvPr/>
          </p:nvSpPr>
          <p:spPr bwMode="auto">
            <a:xfrm>
              <a:off x="2508945" y="4488896"/>
              <a:ext cx="158529" cy="158522"/>
            </a:xfrm>
            <a:prstGeom prst="rect">
              <a:avLst/>
            </a:prstGeom>
            <a:blipFill dpi="0" rotWithShape="1">
              <a:blip r:embed="rId7"/>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42" name="object 10">
              <a:extLst>
                <a:ext uri="{FF2B5EF4-FFF2-40B4-BE49-F238E27FC236}">
                  <a16:creationId xmlns:a16="http://schemas.microsoft.com/office/drawing/2014/main" id="{98E94690-3162-C4C4-4769-C726694AE8D6}"/>
                </a:ext>
              </a:extLst>
            </p:cNvPr>
            <p:cNvSpPr>
              <a:spLocks noChangeArrowheads="1"/>
            </p:cNvSpPr>
            <p:nvPr/>
          </p:nvSpPr>
          <p:spPr bwMode="auto">
            <a:xfrm>
              <a:off x="2721565" y="4488897"/>
              <a:ext cx="158529" cy="158521"/>
            </a:xfrm>
            <a:prstGeom prst="rect">
              <a:avLst/>
            </a:prstGeom>
            <a:blipFill dpi="0" rotWithShape="1">
              <a:blip r:embed="rId1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43" name="object 12">
              <a:extLst>
                <a:ext uri="{FF2B5EF4-FFF2-40B4-BE49-F238E27FC236}">
                  <a16:creationId xmlns:a16="http://schemas.microsoft.com/office/drawing/2014/main" id="{7A8163D5-DD62-1743-1536-8AC3A17128E2}"/>
                </a:ext>
              </a:extLst>
            </p:cNvPr>
            <p:cNvSpPr>
              <a:spLocks noChangeArrowheads="1"/>
            </p:cNvSpPr>
            <p:nvPr/>
          </p:nvSpPr>
          <p:spPr bwMode="auto">
            <a:xfrm>
              <a:off x="2296324" y="4488897"/>
              <a:ext cx="158529" cy="158521"/>
            </a:xfrm>
            <a:prstGeom prst="rect">
              <a:avLst/>
            </a:prstGeom>
            <a:blipFill dpi="0" rotWithShape="1">
              <a:blip r:embed="rId10"/>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44" name="object 11">
              <a:extLst>
                <a:ext uri="{FF2B5EF4-FFF2-40B4-BE49-F238E27FC236}">
                  <a16:creationId xmlns:a16="http://schemas.microsoft.com/office/drawing/2014/main" id="{409E1342-1B7C-FC4A-DD3A-F74B49A68CE0}"/>
                </a:ext>
              </a:extLst>
            </p:cNvPr>
            <p:cNvSpPr>
              <a:spLocks noChangeArrowheads="1"/>
            </p:cNvSpPr>
            <p:nvPr/>
          </p:nvSpPr>
          <p:spPr bwMode="auto">
            <a:xfrm>
              <a:off x="2934186" y="4488897"/>
              <a:ext cx="158529" cy="158521"/>
            </a:xfrm>
            <a:prstGeom prst="rect">
              <a:avLst/>
            </a:prstGeom>
            <a:blipFill dpi="0" rotWithShape="1">
              <a:blip r:embed="rId11"/>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45" name="object 6">
              <a:extLst>
                <a:ext uri="{FF2B5EF4-FFF2-40B4-BE49-F238E27FC236}">
                  <a16:creationId xmlns:a16="http://schemas.microsoft.com/office/drawing/2014/main" id="{4CA6BD06-44CF-8E1F-0C60-A004F1CBD15D}"/>
                </a:ext>
              </a:extLst>
            </p:cNvPr>
            <p:cNvSpPr>
              <a:spLocks noChangeArrowheads="1"/>
            </p:cNvSpPr>
            <p:nvPr/>
          </p:nvSpPr>
          <p:spPr bwMode="auto">
            <a:xfrm>
              <a:off x="3146809" y="3873968"/>
              <a:ext cx="158529" cy="158522"/>
            </a:xfrm>
            <a:prstGeom prst="rect">
              <a:avLst/>
            </a:prstGeom>
            <a:blipFill dpi="0" rotWithShape="1">
              <a:blip r:embed="rId7">
                <a:alphaModFix amt="25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46" name="object 12">
              <a:extLst>
                <a:ext uri="{FF2B5EF4-FFF2-40B4-BE49-F238E27FC236}">
                  <a16:creationId xmlns:a16="http://schemas.microsoft.com/office/drawing/2014/main" id="{1A277EC6-4B67-4A63-CC2F-BAA938E96FF4}"/>
                </a:ext>
              </a:extLst>
            </p:cNvPr>
            <p:cNvSpPr>
              <a:spLocks noChangeArrowheads="1"/>
            </p:cNvSpPr>
            <p:nvPr/>
          </p:nvSpPr>
          <p:spPr bwMode="auto">
            <a:xfrm>
              <a:off x="3146809" y="4078945"/>
              <a:ext cx="158529" cy="158521"/>
            </a:xfrm>
            <a:prstGeom prst="rect">
              <a:avLst/>
            </a:prstGeom>
            <a:blipFill dpi="0" rotWithShape="1">
              <a:blip r:embed="rId10"/>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47" name="object 7">
              <a:extLst>
                <a:ext uri="{FF2B5EF4-FFF2-40B4-BE49-F238E27FC236}">
                  <a16:creationId xmlns:a16="http://schemas.microsoft.com/office/drawing/2014/main" id="{F67AA5CC-93F9-530E-3E7D-66840EE13BAE}"/>
                </a:ext>
              </a:extLst>
            </p:cNvPr>
            <p:cNvSpPr>
              <a:spLocks noChangeArrowheads="1"/>
            </p:cNvSpPr>
            <p:nvPr/>
          </p:nvSpPr>
          <p:spPr bwMode="auto">
            <a:xfrm>
              <a:off x="3146808" y="4284170"/>
              <a:ext cx="158530" cy="158522"/>
            </a:xfrm>
            <a:prstGeom prst="rect">
              <a:avLst/>
            </a:prstGeom>
            <a:blipFill dpi="0" rotWithShape="1">
              <a:blip r:embed="rId8"/>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48" name="object 4">
              <a:extLst>
                <a:ext uri="{FF2B5EF4-FFF2-40B4-BE49-F238E27FC236}">
                  <a16:creationId xmlns:a16="http://schemas.microsoft.com/office/drawing/2014/main" id="{89BC7790-AFC9-9D47-D2D7-28F9B4AFCA89}"/>
                </a:ext>
              </a:extLst>
            </p:cNvPr>
            <p:cNvSpPr>
              <a:spLocks noChangeArrowheads="1"/>
            </p:cNvSpPr>
            <p:nvPr/>
          </p:nvSpPr>
          <p:spPr bwMode="auto">
            <a:xfrm>
              <a:off x="3146807" y="4488895"/>
              <a:ext cx="158531" cy="158523"/>
            </a:xfrm>
            <a:prstGeom prst="rect">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49" name="object 5">
              <a:extLst>
                <a:ext uri="{FF2B5EF4-FFF2-40B4-BE49-F238E27FC236}">
                  <a16:creationId xmlns:a16="http://schemas.microsoft.com/office/drawing/2014/main" id="{14CD94D5-0392-889E-30A6-C0559D22098D}"/>
                </a:ext>
              </a:extLst>
            </p:cNvPr>
            <p:cNvSpPr>
              <a:spLocks noChangeArrowheads="1"/>
            </p:cNvSpPr>
            <p:nvPr/>
          </p:nvSpPr>
          <p:spPr bwMode="auto">
            <a:xfrm>
              <a:off x="3799674" y="4078943"/>
              <a:ext cx="158531" cy="158523"/>
            </a:xfrm>
            <a:prstGeom prst="rect">
              <a:avLst/>
            </a:prstGeom>
            <a:blipFill dpi="0" rotWithShape="1">
              <a:blip r:embed="rId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50" name="object 6">
              <a:extLst>
                <a:ext uri="{FF2B5EF4-FFF2-40B4-BE49-F238E27FC236}">
                  <a16:creationId xmlns:a16="http://schemas.microsoft.com/office/drawing/2014/main" id="{CCBC63BD-0D60-CA81-8227-2F92D60A384A}"/>
                </a:ext>
              </a:extLst>
            </p:cNvPr>
            <p:cNvSpPr>
              <a:spLocks noChangeArrowheads="1"/>
            </p:cNvSpPr>
            <p:nvPr/>
          </p:nvSpPr>
          <p:spPr bwMode="auto">
            <a:xfrm>
              <a:off x="3587055" y="3873968"/>
              <a:ext cx="158529" cy="158522"/>
            </a:xfrm>
            <a:prstGeom prst="rect">
              <a:avLst/>
            </a:prstGeom>
            <a:blipFill dpi="0" rotWithShape="1">
              <a:blip r:embed="rId7">
                <a:alphaModFix amt="25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51" name="object 7">
              <a:extLst>
                <a:ext uri="{FF2B5EF4-FFF2-40B4-BE49-F238E27FC236}">
                  <a16:creationId xmlns:a16="http://schemas.microsoft.com/office/drawing/2014/main" id="{CB39F08A-A119-28E5-2D53-EFFB0EC8BB56}"/>
                </a:ext>
              </a:extLst>
            </p:cNvPr>
            <p:cNvSpPr>
              <a:spLocks noChangeArrowheads="1"/>
            </p:cNvSpPr>
            <p:nvPr/>
          </p:nvSpPr>
          <p:spPr bwMode="auto">
            <a:xfrm>
              <a:off x="3374434" y="3873968"/>
              <a:ext cx="158530" cy="158522"/>
            </a:xfrm>
            <a:prstGeom prst="rect">
              <a:avLst/>
            </a:prstGeom>
            <a:blipFill dpi="0" rotWithShape="1">
              <a:blip r:embed="rId8">
                <a:alphaModFix amt="25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52" name="object 8">
              <a:extLst>
                <a:ext uri="{FF2B5EF4-FFF2-40B4-BE49-F238E27FC236}">
                  <a16:creationId xmlns:a16="http://schemas.microsoft.com/office/drawing/2014/main" id="{ED10BB15-8DF5-3A46-D16C-67A6107CB6D0}"/>
                </a:ext>
              </a:extLst>
            </p:cNvPr>
            <p:cNvSpPr>
              <a:spLocks noChangeArrowheads="1"/>
            </p:cNvSpPr>
            <p:nvPr/>
          </p:nvSpPr>
          <p:spPr bwMode="auto">
            <a:xfrm>
              <a:off x="3587055" y="4078944"/>
              <a:ext cx="158529" cy="158522"/>
            </a:xfrm>
            <a:prstGeom prst="rect">
              <a:avLst/>
            </a:prstGeom>
            <a:blipFill dpi="0" rotWithShape="1">
              <a:blip r:embed="rId9"/>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53" name="object 10">
              <a:extLst>
                <a:ext uri="{FF2B5EF4-FFF2-40B4-BE49-F238E27FC236}">
                  <a16:creationId xmlns:a16="http://schemas.microsoft.com/office/drawing/2014/main" id="{3A94B459-A99E-2A19-C816-6DB038BA8DA1}"/>
                </a:ext>
              </a:extLst>
            </p:cNvPr>
            <p:cNvSpPr/>
            <p:nvPr/>
          </p:nvSpPr>
          <p:spPr bwMode="auto">
            <a:xfrm>
              <a:off x="3799676" y="3668994"/>
              <a:ext cx="158529" cy="158521"/>
            </a:xfrm>
            <a:prstGeom prst="rect">
              <a:avLst/>
            </a:prstGeom>
            <a:blipFill>
              <a:blip r:embed="rId12" cstate="print">
                <a:duotone>
                  <a:srgbClr val="ECECEC">
                    <a:shade val="45000"/>
                    <a:satMod val="135000"/>
                  </a:srgbClr>
                  <a:prstClr val="white"/>
                </a:duotone>
              </a:blip>
              <a:stretch>
                <a:fillRect/>
              </a:stretch>
            </a:blipFill>
            <a:effec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effectLst/>
                <a:uLnTx/>
                <a:uFillTx/>
              </a:endParaRPr>
            </a:p>
          </p:txBody>
        </p:sp>
        <p:sp>
          <p:nvSpPr>
            <p:cNvPr id="54" name="object 11">
              <a:extLst>
                <a:ext uri="{FF2B5EF4-FFF2-40B4-BE49-F238E27FC236}">
                  <a16:creationId xmlns:a16="http://schemas.microsoft.com/office/drawing/2014/main" id="{993C816E-9D7E-107B-1AF5-1CBCECE9290E}"/>
                </a:ext>
              </a:extLst>
            </p:cNvPr>
            <p:cNvSpPr>
              <a:spLocks noChangeArrowheads="1"/>
            </p:cNvSpPr>
            <p:nvPr/>
          </p:nvSpPr>
          <p:spPr bwMode="auto">
            <a:xfrm>
              <a:off x="3799676" y="3873969"/>
              <a:ext cx="158529" cy="158521"/>
            </a:xfrm>
            <a:prstGeom prst="rect">
              <a:avLst/>
            </a:prstGeom>
            <a:blipFill dpi="0" rotWithShape="1">
              <a:blip r:embed="rId11">
                <a:alphaModFix amt="25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55" name="object 12">
              <a:extLst>
                <a:ext uri="{FF2B5EF4-FFF2-40B4-BE49-F238E27FC236}">
                  <a16:creationId xmlns:a16="http://schemas.microsoft.com/office/drawing/2014/main" id="{5DEEDA0C-0D3B-CC53-43D6-D01D65925CB3}"/>
                </a:ext>
              </a:extLst>
            </p:cNvPr>
            <p:cNvSpPr>
              <a:spLocks noChangeArrowheads="1"/>
            </p:cNvSpPr>
            <p:nvPr/>
          </p:nvSpPr>
          <p:spPr bwMode="auto">
            <a:xfrm>
              <a:off x="3374435" y="4078945"/>
              <a:ext cx="158529" cy="158521"/>
            </a:xfrm>
            <a:prstGeom prst="rect">
              <a:avLst/>
            </a:prstGeom>
            <a:blipFill dpi="0" rotWithShape="1">
              <a:blip r:embed="rId10"/>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56" name="object 4">
              <a:extLst>
                <a:ext uri="{FF2B5EF4-FFF2-40B4-BE49-F238E27FC236}">
                  <a16:creationId xmlns:a16="http://schemas.microsoft.com/office/drawing/2014/main" id="{33CDAE21-8E6B-A623-CEDD-FB2AC7C69562}"/>
                </a:ext>
              </a:extLst>
            </p:cNvPr>
            <p:cNvSpPr/>
            <p:nvPr/>
          </p:nvSpPr>
          <p:spPr bwMode="auto">
            <a:xfrm>
              <a:off x="4012294" y="3668992"/>
              <a:ext cx="158531" cy="158523"/>
            </a:xfrm>
            <a:prstGeom prst="rect">
              <a:avLst/>
            </a:prstGeom>
            <a:blipFill>
              <a:blip r:embed="rId4" cstate="print">
                <a:duotone>
                  <a:srgbClr val="ECECEC">
                    <a:shade val="45000"/>
                    <a:satMod val="135000"/>
                  </a:srgbClr>
                  <a:prstClr val="white"/>
                </a:duotone>
              </a:blip>
              <a:stretch>
                <a:fillRect/>
              </a:stretch>
            </a:blipFill>
            <a:effec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effectLst/>
                <a:uLnTx/>
                <a:uFillTx/>
              </a:endParaRPr>
            </a:p>
          </p:txBody>
        </p:sp>
        <p:sp>
          <p:nvSpPr>
            <p:cNvPr id="57" name="object 7">
              <a:extLst>
                <a:ext uri="{FF2B5EF4-FFF2-40B4-BE49-F238E27FC236}">
                  <a16:creationId xmlns:a16="http://schemas.microsoft.com/office/drawing/2014/main" id="{BED209DD-4E31-8098-AB08-7F720CBB07CF}"/>
                </a:ext>
              </a:extLst>
            </p:cNvPr>
            <p:cNvSpPr>
              <a:spLocks noChangeArrowheads="1"/>
            </p:cNvSpPr>
            <p:nvPr/>
          </p:nvSpPr>
          <p:spPr bwMode="auto">
            <a:xfrm>
              <a:off x="4012296" y="3873968"/>
              <a:ext cx="158530" cy="158522"/>
            </a:xfrm>
            <a:prstGeom prst="rect">
              <a:avLst/>
            </a:prstGeom>
            <a:blipFill dpi="0" rotWithShape="1">
              <a:blip r:embed="rId8">
                <a:alphaModFix amt="25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58" name="object 12">
              <a:extLst>
                <a:ext uri="{FF2B5EF4-FFF2-40B4-BE49-F238E27FC236}">
                  <a16:creationId xmlns:a16="http://schemas.microsoft.com/office/drawing/2014/main" id="{ABC9653D-F124-984E-7F01-5FE5ACB700FC}"/>
                </a:ext>
              </a:extLst>
            </p:cNvPr>
            <p:cNvSpPr>
              <a:spLocks noChangeArrowheads="1"/>
            </p:cNvSpPr>
            <p:nvPr/>
          </p:nvSpPr>
          <p:spPr bwMode="auto">
            <a:xfrm>
              <a:off x="4012297" y="4078945"/>
              <a:ext cx="158529" cy="158521"/>
            </a:xfrm>
            <a:prstGeom prst="rect">
              <a:avLst/>
            </a:prstGeom>
            <a:blipFill dpi="0" rotWithShape="1">
              <a:blip r:embed="rId10"/>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59" name="object 4">
              <a:extLst>
                <a:ext uri="{FF2B5EF4-FFF2-40B4-BE49-F238E27FC236}">
                  <a16:creationId xmlns:a16="http://schemas.microsoft.com/office/drawing/2014/main" id="{1D083AF3-22D3-3FA9-236A-3910A86E6730}"/>
                </a:ext>
              </a:extLst>
            </p:cNvPr>
            <p:cNvSpPr>
              <a:spLocks noChangeArrowheads="1"/>
            </p:cNvSpPr>
            <p:nvPr/>
          </p:nvSpPr>
          <p:spPr bwMode="auto">
            <a:xfrm>
              <a:off x="3587053" y="4284169"/>
              <a:ext cx="158531" cy="158523"/>
            </a:xfrm>
            <a:prstGeom prst="rect">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60" name="object 6">
              <a:extLst>
                <a:ext uri="{FF2B5EF4-FFF2-40B4-BE49-F238E27FC236}">
                  <a16:creationId xmlns:a16="http://schemas.microsoft.com/office/drawing/2014/main" id="{941DED5D-B9D9-8D07-5EB7-02C4722E68F4}"/>
                </a:ext>
              </a:extLst>
            </p:cNvPr>
            <p:cNvSpPr>
              <a:spLocks noChangeArrowheads="1"/>
            </p:cNvSpPr>
            <p:nvPr/>
          </p:nvSpPr>
          <p:spPr bwMode="auto">
            <a:xfrm>
              <a:off x="3799676" y="4284170"/>
              <a:ext cx="158529" cy="158522"/>
            </a:xfrm>
            <a:prstGeom prst="rect">
              <a:avLst/>
            </a:prstGeom>
            <a:blipFill dpi="0" rotWithShape="1">
              <a:blip r:embed="rId7"/>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61" name="object 11">
              <a:extLst>
                <a:ext uri="{FF2B5EF4-FFF2-40B4-BE49-F238E27FC236}">
                  <a16:creationId xmlns:a16="http://schemas.microsoft.com/office/drawing/2014/main" id="{BD7139B5-DC83-C6EE-9ECC-7F828456FC73}"/>
                </a:ext>
              </a:extLst>
            </p:cNvPr>
            <p:cNvSpPr>
              <a:spLocks noChangeArrowheads="1"/>
            </p:cNvSpPr>
            <p:nvPr/>
          </p:nvSpPr>
          <p:spPr bwMode="auto">
            <a:xfrm>
              <a:off x="4012297" y="4284171"/>
              <a:ext cx="158529" cy="158521"/>
            </a:xfrm>
            <a:prstGeom prst="rect">
              <a:avLst/>
            </a:prstGeom>
            <a:blipFill dpi="0" rotWithShape="1">
              <a:blip r:embed="rId11"/>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62" name="object 12">
              <a:extLst>
                <a:ext uri="{FF2B5EF4-FFF2-40B4-BE49-F238E27FC236}">
                  <a16:creationId xmlns:a16="http://schemas.microsoft.com/office/drawing/2014/main" id="{16193260-F091-6815-92C7-13299F174F83}"/>
                </a:ext>
              </a:extLst>
            </p:cNvPr>
            <p:cNvSpPr>
              <a:spLocks noChangeArrowheads="1"/>
            </p:cNvSpPr>
            <p:nvPr/>
          </p:nvSpPr>
          <p:spPr bwMode="auto">
            <a:xfrm>
              <a:off x="3374434" y="4284171"/>
              <a:ext cx="158529" cy="158521"/>
            </a:xfrm>
            <a:prstGeom prst="rect">
              <a:avLst/>
            </a:prstGeom>
            <a:blipFill dpi="0" rotWithShape="1">
              <a:blip r:embed="rId10"/>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63" name="object 6">
              <a:extLst>
                <a:ext uri="{FF2B5EF4-FFF2-40B4-BE49-F238E27FC236}">
                  <a16:creationId xmlns:a16="http://schemas.microsoft.com/office/drawing/2014/main" id="{DDB378DD-4DDE-59CD-B7EF-07F27C9756DE}"/>
                </a:ext>
              </a:extLst>
            </p:cNvPr>
            <p:cNvSpPr>
              <a:spLocks noChangeArrowheads="1"/>
            </p:cNvSpPr>
            <p:nvPr/>
          </p:nvSpPr>
          <p:spPr bwMode="auto">
            <a:xfrm>
              <a:off x="3587055" y="4488896"/>
              <a:ext cx="158529" cy="158522"/>
            </a:xfrm>
            <a:prstGeom prst="rect">
              <a:avLst/>
            </a:prstGeom>
            <a:blipFill dpi="0" rotWithShape="1">
              <a:blip r:embed="rId7"/>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64" name="object 10">
              <a:extLst>
                <a:ext uri="{FF2B5EF4-FFF2-40B4-BE49-F238E27FC236}">
                  <a16:creationId xmlns:a16="http://schemas.microsoft.com/office/drawing/2014/main" id="{3C2EDC27-1DA7-28B2-0345-9548A44F287B}"/>
                </a:ext>
              </a:extLst>
            </p:cNvPr>
            <p:cNvSpPr>
              <a:spLocks noChangeArrowheads="1"/>
            </p:cNvSpPr>
            <p:nvPr/>
          </p:nvSpPr>
          <p:spPr bwMode="auto">
            <a:xfrm>
              <a:off x="3799676" y="4488897"/>
              <a:ext cx="158529" cy="158521"/>
            </a:xfrm>
            <a:prstGeom prst="rect">
              <a:avLst/>
            </a:prstGeom>
            <a:blipFill dpi="0" rotWithShape="1">
              <a:blip r:embed="rId1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65" name="object 12">
              <a:extLst>
                <a:ext uri="{FF2B5EF4-FFF2-40B4-BE49-F238E27FC236}">
                  <a16:creationId xmlns:a16="http://schemas.microsoft.com/office/drawing/2014/main" id="{603AC520-F74B-7324-2CCB-76627E5259DF}"/>
                </a:ext>
              </a:extLst>
            </p:cNvPr>
            <p:cNvSpPr>
              <a:spLocks noChangeArrowheads="1"/>
            </p:cNvSpPr>
            <p:nvPr/>
          </p:nvSpPr>
          <p:spPr bwMode="auto">
            <a:xfrm>
              <a:off x="3374434" y="4488897"/>
              <a:ext cx="158529" cy="158521"/>
            </a:xfrm>
            <a:prstGeom prst="rect">
              <a:avLst/>
            </a:prstGeom>
            <a:blipFill dpi="0" rotWithShape="1">
              <a:blip r:embed="rId10"/>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66" name="object 11">
              <a:extLst>
                <a:ext uri="{FF2B5EF4-FFF2-40B4-BE49-F238E27FC236}">
                  <a16:creationId xmlns:a16="http://schemas.microsoft.com/office/drawing/2014/main" id="{FB4A9060-639A-6CE5-766D-BD3EF3A23B75}"/>
                </a:ext>
              </a:extLst>
            </p:cNvPr>
            <p:cNvSpPr>
              <a:spLocks noChangeArrowheads="1"/>
            </p:cNvSpPr>
            <p:nvPr/>
          </p:nvSpPr>
          <p:spPr bwMode="auto">
            <a:xfrm>
              <a:off x="4012297" y="4488897"/>
              <a:ext cx="158529" cy="158521"/>
            </a:xfrm>
            <a:prstGeom prst="rect">
              <a:avLst/>
            </a:prstGeom>
            <a:blipFill dpi="0" rotWithShape="1">
              <a:blip r:embed="rId11"/>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67" name="object 3">
              <a:extLst>
                <a:ext uri="{FF2B5EF4-FFF2-40B4-BE49-F238E27FC236}">
                  <a16:creationId xmlns:a16="http://schemas.microsoft.com/office/drawing/2014/main" id="{D2C554BF-DCF8-0263-973B-230E50C8EF69}"/>
                </a:ext>
              </a:extLst>
            </p:cNvPr>
            <p:cNvSpPr/>
            <p:nvPr/>
          </p:nvSpPr>
          <p:spPr bwMode="auto">
            <a:xfrm>
              <a:off x="4224917" y="3668992"/>
              <a:ext cx="158531" cy="158523"/>
            </a:xfrm>
            <a:prstGeom prst="rect">
              <a:avLst/>
            </a:prstGeom>
            <a:blipFill>
              <a:blip r:embed="rId6" cstate="print">
                <a:duotone>
                  <a:srgbClr val="ECECEC">
                    <a:shade val="45000"/>
                    <a:satMod val="135000"/>
                  </a:srgbClr>
                  <a:prstClr val="white"/>
                </a:duotone>
              </a:blip>
              <a:stretch>
                <a:fillRect/>
              </a:stretch>
            </a:blipFill>
            <a:effec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effectLst/>
                <a:uLnTx/>
                <a:uFillTx/>
              </a:endParaRPr>
            </a:p>
          </p:txBody>
        </p:sp>
        <p:sp>
          <p:nvSpPr>
            <p:cNvPr id="68" name="object 6">
              <a:extLst>
                <a:ext uri="{FF2B5EF4-FFF2-40B4-BE49-F238E27FC236}">
                  <a16:creationId xmlns:a16="http://schemas.microsoft.com/office/drawing/2014/main" id="{F0BB35D3-7082-29EA-0100-29031688C8F6}"/>
                </a:ext>
              </a:extLst>
            </p:cNvPr>
            <p:cNvSpPr>
              <a:spLocks noChangeArrowheads="1"/>
            </p:cNvSpPr>
            <p:nvPr/>
          </p:nvSpPr>
          <p:spPr bwMode="auto">
            <a:xfrm>
              <a:off x="4224919" y="3873968"/>
              <a:ext cx="158529" cy="158522"/>
            </a:xfrm>
            <a:prstGeom prst="rect">
              <a:avLst/>
            </a:prstGeom>
            <a:blipFill dpi="0" rotWithShape="1">
              <a:blip r:embed="rId7">
                <a:alphaModFix amt="25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69" name="object 12">
              <a:extLst>
                <a:ext uri="{FF2B5EF4-FFF2-40B4-BE49-F238E27FC236}">
                  <a16:creationId xmlns:a16="http://schemas.microsoft.com/office/drawing/2014/main" id="{46B872B3-CEDF-DBF1-8AB9-AD063078D17B}"/>
                </a:ext>
              </a:extLst>
            </p:cNvPr>
            <p:cNvSpPr>
              <a:spLocks noChangeArrowheads="1"/>
            </p:cNvSpPr>
            <p:nvPr/>
          </p:nvSpPr>
          <p:spPr bwMode="auto">
            <a:xfrm>
              <a:off x="4224919" y="4078945"/>
              <a:ext cx="158529" cy="158521"/>
            </a:xfrm>
            <a:prstGeom prst="rect">
              <a:avLst/>
            </a:prstGeom>
            <a:blipFill dpi="0" rotWithShape="1">
              <a:blip r:embed="rId10"/>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70" name="object 7">
              <a:extLst>
                <a:ext uri="{FF2B5EF4-FFF2-40B4-BE49-F238E27FC236}">
                  <a16:creationId xmlns:a16="http://schemas.microsoft.com/office/drawing/2014/main" id="{E19DC0DC-CF5D-0B16-BBB6-6940CAB0C708}"/>
                </a:ext>
              </a:extLst>
            </p:cNvPr>
            <p:cNvSpPr>
              <a:spLocks noChangeArrowheads="1"/>
            </p:cNvSpPr>
            <p:nvPr/>
          </p:nvSpPr>
          <p:spPr bwMode="auto">
            <a:xfrm>
              <a:off x="4224918" y="4284170"/>
              <a:ext cx="158530" cy="158522"/>
            </a:xfrm>
            <a:prstGeom prst="rect">
              <a:avLst/>
            </a:prstGeom>
            <a:blipFill dpi="0" rotWithShape="1">
              <a:blip r:embed="rId8"/>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71" name="object 4">
              <a:extLst>
                <a:ext uri="{FF2B5EF4-FFF2-40B4-BE49-F238E27FC236}">
                  <a16:creationId xmlns:a16="http://schemas.microsoft.com/office/drawing/2014/main" id="{C2AAF9C9-9A1A-8341-15A4-B79D3E1DA186}"/>
                </a:ext>
              </a:extLst>
            </p:cNvPr>
            <p:cNvSpPr>
              <a:spLocks noChangeArrowheads="1"/>
            </p:cNvSpPr>
            <p:nvPr/>
          </p:nvSpPr>
          <p:spPr bwMode="auto">
            <a:xfrm>
              <a:off x="4224917" y="4488895"/>
              <a:ext cx="158531" cy="158523"/>
            </a:xfrm>
            <a:prstGeom prst="rect">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72" name="object 4">
              <a:extLst>
                <a:ext uri="{FF2B5EF4-FFF2-40B4-BE49-F238E27FC236}">
                  <a16:creationId xmlns:a16="http://schemas.microsoft.com/office/drawing/2014/main" id="{6FA583E0-9648-F4E5-7A97-1714A48C5644}"/>
                </a:ext>
              </a:extLst>
            </p:cNvPr>
            <p:cNvSpPr>
              <a:spLocks noChangeArrowheads="1"/>
            </p:cNvSpPr>
            <p:nvPr/>
          </p:nvSpPr>
          <p:spPr bwMode="auto">
            <a:xfrm>
              <a:off x="2508943" y="4695156"/>
              <a:ext cx="158531" cy="158523"/>
            </a:xfrm>
            <a:prstGeom prst="rect">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73" name="object 5">
              <a:extLst>
                <a:ext uri="{FF2B5EF4-FFF2-40B4-BE49-F238E27FC236}">
                  <a16:creationId xmlns:a16="http://schemas.microsoft.com/office/drawing/2014/main" id="{CD280705-A64D-9052-B9E7-AC55FED099D1}"/>
                </a:ext>
              </a:extLst>
            </p:cNvPr>
            <p:cNvSpPr>
              <a:spLocks noChangeArrowheads="1"/>
            </p:cNvSpPr>
            <p:nvPr/>
          </p:nvSpPr>
          <p:spPr bwMode="auto">
            <a:xfrm>
              <a:off x="2721563" y="5105108"/>
              <a:ext cx="158531" cy="158523"/>
            </a:xfrm>
            <a:prstGeom prst="rect">
              <a:avLst/>
            </a:prstGeom>
            <a:blipFill dpi="0" rotWithShape="1">
              <a:blip r:embed="rId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74" name="object 3">
              <a:extLst>
                <a:ext uri="{FF2B5EF4-FFF2-40B4-BE49-F238E27FC236}">
                  <a16:creationId xmlns:a16="http://schemas.microsoft.com/office/drawing/2014/main" id="{B3E2D764-E288-51D6-ADFA-E08AC08B3561}"/>
                </a:ext>
              </a:extLst>
            </p:cNvPr>
            <p:cNvSpPr>
              <a:spLocks noChangeArrowheads="1"/>
            </p:cNvSpPr>
            <p:nvPr/>
          </p:nvSpPr>
          <p:spPr bwMode="auto">
            <a:xfrm>
              <a:off x="2296325" y="4695156"/>
              <a:ext cx="158531" cy="158523"/>
            </a:xfrm>
            <a:prstGeom prst="rect">
              <a:avLst/>
            </a:prstGeom>
            <a:blipFill dpi="0" rotWithShape="1">
              <a:blip r:embed="rId6"/>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75" name="object 6">
              <a:extLst>
                <a:ext uri="{FF2B5EF4-FFF2-40B4-BE49-F238E27FC236}">
                  <a16:creationId xmlns:a16="http://schemas.microsoft.com/office/drawing/2014/main" id="{74698B48-F412-0045-DA3B-9128B8068AC6}"/>
                </a:ext>
              </a:extLst>
            </p:cNvPr>
            <p:cNvSpPr>
              <a:spLocks noChangeArrowheads="1"/>
            </p:cNvSpPr>
            <p:nvPr/>
          </p:nvSpPr>
          <p:spPr bwMode="auto">
            <a:xfrm>
              <a:off x="2508945" y="4900132"/>
              <a:ext cx="158529" cy="158522"/>
            </a:xfrm>
            <a:prstGeom prst="rect">
              <a:avLst/>
            </a:prstGeom>
            <a:blipFill dpi="0" rotWithShape="1">
              <a:blip r:embed="rId7"/>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76" name="object 7">
              <a:extLst>
                <a:ext uri="{FF2B5EF4-FFF2-40B4-BE49-F238E27FC236}">
                  <a16:creationId xmlns:a16="http://schemas.microsoft.com/office/drawing/2014/main" id="{5151A091-56C1-7628-B07B-5A7DAB1B6FE6}"/>
                </a:ext>
              </a:extLst>
            </p:cNvPr>
            <p:cNvSpPr>
              <a:spLocks noChangeArrowheads="1"/>
            </p:cNvSpPr>
            <p:nvPr/>
          </p:nvSpPr>
          <p:spPr bwMode="auto">
            <a:xfrm>
              <a:off x="2296324" y="4900132"/>
              <a:ext cx="158530" cy="158522"/>
            </a:xfrm>
            <a:prstGeom prst="rect">
              <a:avLst/>
            </a:prstGeom>
            <a:blipFill dpi="0" rotWithShape="1">
              <a:blip r:embed="rId8"/>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77" name="object 8">
              <a:extLst>
                <a:ext uri="{FF2B5EF4-FFF2-40B4-BE49-F238E27FC236}">
                  <a16:creationId xmlns:a16="http://schemas.microsoft.com/office/drawing/2014/main" id="{3E40FE83-C3B5-B759-946C-AF89C011FA83}"/>
                </a:ext>
              </a:extLst>
            </p:cNvPr>
            <p:cNvSpPr>
              <a:spLocks noChangeArrowheads="1"/>
            </p:cNvSpPr>
            <p:nvPr/>
          </p:nvSpPr>
          <p:spPr bwMode="auto">
            <a:xfrm>
              <a:off x="2508945" y="5105109"/>
              <a:ext cx="158529" cy="158522"/>
            </a:xfrm>
            <a:prstGeom prst="rect">
              <a:avLst/>
            </a:prstGeom>
            <a:blipFill dpi="0" rotWithShape="1">
              <a:blip r:embed="rId9"/>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78" name="object 10">
              <a:extLst>
                <a:ext uri="{FF2B5EF4-FFF2-40B4-BE49-F238E27FC236}">
                  <a16:creationId xmlns:a16="http://schemas.microsoft.com/office/drawing/2014/main" id="{B8FB608A-0163-4B2A-D6D3-910ECD547586}"/>
                </a:ext>
              </a:extLst>
            </p:cNvPr>
            <p:cNvSpPr>
              <a:spLocks noChangeArrowheads="1"/>
            </p:cNvSpPr>
            <p:nvPr/>
          </p:nvSpPr>
          <p:spPr bwMode="auto">
            <a:xfrm>
              <a:off x="2721565" y="4695158"/>
              <a:ext cx="158529" cy="158521"/>
            </a:xfrm>
            <a:prstGeom prst="rect">
              <a:avLst/>
            </a:prstGeom>
            <a:blipFill dpi="0" rotWithShape="1">
              <a:blip r:embed="rId1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79" name="object 11">
              <a:extLst>
                <a:ext uri="{FF2B5EF4-FFF2-40B4-BE49-F238E27FC236}">
                  <a16:creationId xmlns:a16="http://schemas.microsoft.com/office/drawing/2014/main" id="{17480E85-F96D-2F3C-E63B-375938961FB4}"/>
                </a:ext>
              </a:extLst>
            </p:cNvPr>
            <p:cNvSpPr>
              <a:spLocks noChangeArrowheads="1"/>
            </p:cNvSpPr>
            <p:nvPr/>
          </p:nvSpPr>
          <p:spPr bwMode="auto">
            <a:xfrm>
              <a:off x="2721565" y="4900133"/>
              <a:ext cx="158529" cy="158521"/>
            </a:xfrm>
            <a:prstGeom prst="rect">
              <a:avLst/>
            </a:prstGeom>
            <a:blipFill dpi="0" rotWithShape="1">
              <a:blip r:embed="rId11"/>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80" name="object 12">
              <a:extLst>
                <a:ext uri="{FF2B5EF4-FFF2-40B4-BE49-F238E27FC236}">
                  <a16:creationId xmlns:a16="http://schemas.microsoft.com/office/drawing/2014/main" id="{20A796E2-BBDB-EA5B-EED4-3A47E12DC44F}"/>
                </a:ext>
              </a:extLst>
            </p:cNvPr>
            <p:cNvSpPr>
              <a:spLocks noChangeArrowheads="1"/>
            </p:cNvSpPr>
            <p:nvPr/>
          </p:nvSpPr>
          <p:spPr bwMode="auto">
            <a:xfrm>
              <a:off x="2296325" y="5105110"/>
              <a:ext cx="158529" cy="158521"/>
            </a:xfrm>
            <a:prstGeom prst="rect">
              <a:avLst/>
            </a:prstGeom>
            <a:blipFill dpi="0" rotWithShape="1">
              <a:blip r:embed="rId10"/>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81" name="object 4">
              <a:extLst>
                <a:ext uri="{FF2B5EF4-FFF2-40B4-BE49-F238E27FC236}">
                  <a16:creationId xmlns:a16="http://schemas.microsoft.com/office/drawing/2014/main" id="{CF57BD16-3B56-E1B2-2294-6679D6D8E452}"/>
                </a:ext>
              </a:extLst>
            </p:cNvPr>
            <p:cNvSpPr>
              <a:spLocks noChangeArrowheads="1"/>
            </p:cNvSpPr>
            <p:nvPr/>
          </p:nvSpPr>
          <p:spPr bwMode="auto">
            <a:xfrm>
              <a:off x="2934183" y="4695156"/>
              <a:ext cx="158531" cy="158523"/>
            </a:xfrm>
            <a:prstGeom prst="rect">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82" name="object 7">
              <a:extLst>
                <a:ext uri="{FF2B5EF4-FFF2-40B4-BE49-F238E27FC236}">
                  <a16:creationId xmlns:a16="http://schemas.microsoft.com/office/drawing/2014/main" id="{EFFAC286-C92B-156F-B3D0-52364FEB769D}"/>
                </a:ext>
              </a:extLst>
            </p:cNvPr>
            <p:cNvSpPr>
              <a:spLocks noChangeArrowheads="1"/>
            </p:cNvSpPr>
            <p:nvPr/>
          </p:nvSpPr>
          <p:spPr bwMode="auto">
            <a:xfrm>
              <a:off x="2934185" y="4900132"/>
              <a:ext cx="158530" cy="158522"/>
            </a:xfrm>
            <a:prstGeom prst="rect">
              <a:avLst/>
            </a:prstGeom>
            <a:blipFill dpi="0" rotWithShape="1">
              <a:blip r:embed="rId8"/>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83" name="object 12">
              <a:extLst>
                <a:ext uri="{FF2B5EF4-FFF2-40B4-BE49-F238E27FC236}">
                  <a16:creationId xmlns:a16="http://schemas.microsoft.com/office/drawing/2014/main" id="{145D6E26-4CF8-4647-4B0D-786FD2F45B43}"/>
                </a:ext>
              </a:extLst>
            </p:cNvPr>
            <p:cNvSpPr>
              <a:spLocks noChangeArrowheads="1"/>
            </p:cNvSpPr>
            <p:nvPr/>
          </p:nvSpPr>
          <p:spPr bwMode="auto">
            <a:xfrm>
              <a:off x="2934186" y="5105110"/>
              <a:ext cx="158529" cy="158521"/>
            </a:xfrm>
            <a:prstGeom prst="rect">
              <a:avLst/>
            </a:prstGeom>
            <a:blipFill dpi="0" rotWithShape="1">
              <a:blip r:embed="rId10"/>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84" name="object 4">
              <a:extLst>
                <a:ext uri="{FF2B5EF4-FFF2-40B4-BE49-F238E27FC236}">
                  <a16:creationId xmlns:a16="http://schemas.microsoft.com/office/drawing/2014/main" id="{7E004C05-09D5-6CB1-9173-682F4A678987}"/>
                </a:ext>
              </a:extLst>
            </p:cNvPr>
            <p:cNvSpPr>
              <a:spLocks noChangeArrowheads="1"/>
            </p:cNvSpPr>
            <p:nvPr/>
          </p:nvSpPr>
          <p:spPr bwMode="auto">
            <a:xfrm>
              <a:off x="2508943" y="5310334"/>
              <a:ext cx="158531" cy="158523"/>
            </a:xfrm>
            <a:prstGeom prst="rect">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85" name="object 6">
              <a:extLst>
                <a:ext uri="{FF2B5EF4-FFF2-40B4-BE49-F238E27FC236}">
                  <a16:creationId xmlns:a16="http://schemas.microsoft.com/office/drawing/2014/main" id="{F151385D-E1B3-924B-4713-D29C93C720D0}"/>
                </a:ext>
              </a:extLst>
            </p:cNvPr>
            <p:cNvSpPr>
              <a:spLocks noChangeArrowheads="1"/>
            </p:cNvSpPr>
            <p:nvPr/>
          </p:nvSpPr>
          <p:spPr bwMode="auto">
            <a:xfrm>
              <a:off x="2721565" y="5310335"/>
              <a:ext cx="158529" cy="158522"/>
            </a:xfrm>
            <a:prstGeom prst="rect">
              <a:avLst/>
            </a:prstGeom>
            <a:blipFill dpi="0" rotWithShape="1">
              <a:blip r:embed="rId7"/>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86" name="object 11">
              <a:extLst>
                <a:ext uri="{FF2B5EF4-FFF2-40B4-BE49-F238E27FC236}">
                  <a16:creationId xmlns:a16="http://schemas.microsoft.com/office/drawing/2014/main" id="{6678C685-0F2A-F2C9-3651-54BF705CD7DD}"/>
                </a:ext>
              </a:extLst>
            </p:cNvPr>
            <p:cNvSpPr>
              <a:spLocks noChangeArrowheads="1"/>
            </p:cNvSpPr>
            <p:nvPr/>
          </p:nvSpPr>
          <p:spPr bwMode="auto">
            <a:xfrm>
              <a:off x="2934186" y="5310336"/>
              <a:ext cx="158529" cy="158521"/>
            </a:xfrm>
            <a:prstGeom prst="rect">
              <a:avLst/>
            </a:prstGeom>
            <a:blipFill dpi="0" rotWithShape="1">
              <a:blip r:embed="rId11"/>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87" name="object 12">
              <a:extLst>
                <a:ext uri="{FF2B5EF4-FFF2-40B4-BE49-F238E27FC236}">
                  <a16:creationId xmlns:a16="http://schemas.microsoft.com/office/drawing/2014/main" id="{3FF33DD9-88DB-112C-AB0E-17DD9840BB24}"/>
                </a:ext>
              </a:extLst>
            </p:cNvPr>
            <p:cNvSpPr>
              <a:spLocks noChangeArrowheads="1"/>
            </p:cNvSpPr>
            <p:nvPr/>
          </p:nvSpPr>
          <p:spPr bwMode="auto">
            <a:xfrm>
              <a:off x="2296324" y="5310336"/>
              <a:ext cx="158529" cy="158521"/>
            </a:xfrm>
            <a:prstGeom prst="rect">
              <a:avLst/>
            </a:prstGeom>
            <a:blipFill dpi="0" rotWithShape="1">
              <a:blip r:embed="rId10"/>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88" name="object 6">
              <a:extLst>
                <a:ext uri="{FF2B5EF4-FFF2-40B4-BE49-F238E27FC236}">
                  <a16:creationId xmlns:a16="http://schemas.microsoft.com/office/drawing/2014/main" id="{2C3A5B7C-DE14-7A36-9668-FB760AC1B599}"/>
                </a:ext>
              </a:extLst>
            </p:cNvPr>
            <p:cNvSpPr>
              <a:spLocks noChangeArrowheads="1"/>
            </p:cNvSpPr>
            <p:nvPr/>
          </p:nvSpPr>
          <p:spPr bwMode="auto">
            <a:xfrm>
              <a:off x="2508945" y="5515061"/>
              <a:ext cx="158529" cy="158522"/>
            </a:xfrm>
            <a:prstGeom prst="rect">
              <a:avLst/>
            </a:prstGeom>
            <a:blipFill dpi="0" rotWithShape="1">
              <a:blip r:embed="rId7"/>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89" name="object 10">
              <a:extLst>
                <a:ext uri="{FF2B5EF4-FFF2-40B4-BE49-F238E27FC236}">
                  <a16:creationId xmlns:a16="http://schemas.microsoft.com/office/drawing/2014/main" id="{9B9877FE-C8CA-2E8A-AF37-0A824F5329A7}"/>
                </a:ext>
              </a:extLst>
            </p:cNvPr>
            <p:cNvSpPr>
              <a:spLocks noChangeArrowheads="1"/>
            </p:cNvSpPr>
            <p:nvPr/>
          </p:nvSpPr>
          <p:spPr bwMode="auto">
            <a:xfrm>
              <a:off x="2721565" y="5515062"/>
              <a:ext cx="158529" cy="158521"/>
            </a:xfrm>
            <a:prstGeom prst="rect">
              <a:avLst/>
            </a:prstGeom>
            <a:blipFill dpi="0" rotWithShape="1">
              <a:blip r:embed="rId1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90" name="object 12">
              <a:extLst>
                <a:ext uri="{FF2B5EF4-FFF2-40B4-BE49-F238E27FC236}">
                  <a16:creationId xmlns:a16="http://schemas.microsoft.com/office/drawing/2014/main" id="{138A01B4-A1B4-ACC2-1994-9C5447F40AFC}"/>
                </a:ext>
              </a:extLst>
            </p:cNvPr>
            <p:cNvSpPr>
              <a:spLocks noChangeArrowheads="1"/>
            </p:cNvSpPr>
            <p:nvPr/>
          </p:nvSpPr>
          <p:spPr bwMode="auto">
            <a:xfrm>
              <a:off x="2296324" y="5515062"/>
              <a:ext cx="158529" cy="158521"/>
            </a:xfrm>
            <a:prstGeom prst="rect">
              <a:avLst/>
            </a:prstGeom>
            <a:blipFill dpi="0" rotWithShape="1">
              <a:blip r:embed="rId10"/>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91" name="object 11">
              <a:extLst>
                <a:ext uri="{FF2B5EF4-FFF2-40B4-BE49-F238E27FC236}">
                  <a16:creationId xmlns:a16="http://schemas.microsoft.com/office/drawing/2014/main" id="{34B18603-4CC3-B03E-B4A4-58186AA62646}"/>
                </a:ext>
              </a:extLst>
            </p:cNvPr>
            <p:cNvSpPr>
              <a:spLocks noChangeArrowheads="1"/>
            </p:cNvSpPr>
            <p:nvPr/>
          </p:nvSpPr>
          <p:spPr bwMode="auto">
            <a:xfrm>
              <a:off x="2934186" y="5515062"/>
              <a:ext cx="158529" cy="158521"/>
            </a:xfrm>
            <a:prstGeom prst="rect">
              <a:avLst/>
            </a:prstGeom>
            <a:blipFill dpi="0" rotWithShape="1">
              <a:blip r:embed="rId11"/>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92" name="object 3">
              <a:extLst>
                <a:ext uri="{FF2B5EF4-FFF2-40B4-BE49-F238E27FC236}">
                  <a16:creationId xmlns:a16="http://schemas.microsoft.com/office/drawing/2014/main" id="{877C4E9D-2549-BBCC-AE49-1E2FEB3539CB}"/>
                </a:ext>
              </a:extLst>
            </p:cNvPr>
            <p:cNvSpPr>
              <a:spLocks noChangeArrowheads="1"/>
            </p:cNvSpPr>
            <p:nvPr/>
          </p:nvSpPr>
          <p:spPr bwMode="auto">
            <a:xfrm>
              <a:off x="3146807" y="4695156"/>
              <a:ext cx="158531" cy="158523"/>
            </a:xfrm>
            <a:prstGeom prst="rect">
              <a:avLst/>
            </a:prstGeom>
            <a:blipFill dpi="0" rotWithShape="1">
              <a:blip r:embed="rId6"/>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93" name="object 6">
              <a:extLst>
                <a:ext uri="{FF2B5EF4-FFF2-40B4-BE49-F238E27FC236}">
                  <a16:creationId xmlns:a16="http://schemas.microsoft.com/office/drawing/2014/main" id="{516FB377-7BD1-4162-E846-30426C82C26C}"/>
                </a:ext>
              </a:extLst>
            </p:cNvPr>
            <p:cNvSpPr>
              <a:spLocks noChangeArrowheads="1"/>
            </p:cNvSpPr>
            <p:nvPr/>
          </p:nvSpPr>
          <p:spPr bwMode="auto">
            <a:xfrm>
              <a:off x="3146809" y="4900132"/>
              <a:ext cx="158529" cy="158522"/>
            </a:xfrm>
            <a:prstGeom prst="rect">
              <a:avLst/>
            </a:prstGeom>
            <a:blipFill dpi="0" rotWithShape="1">
              <a:blip r:embed="rId7"/>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94" name="object 12">
              <a:extLst>
                <a:ext uri="{FF2B5EF4-FFF2-40B4-BE49-F238E27FC236}">
                  <a16:creationId xmlns:a16="http://schemas.microsoft.com/office/drawing/2014/main" id="{BBA7C778-D905-2F72-CDAF-3EB5A80C64B9}"/>
                </a:ext>
              </a:extLst>
            </p:cNvPr>
            <p:cNvSpPr>
              <a:spLocks noChangeArrowheads="1"/>
            </p:cNvSpPr>
            <p:nvPr/>
          </p:nvSpPr>
          <p:spPr bwMode="auto">
            <a:xfrm>
              <a:off x="3146809" y="5105110"/>
              <a:ext cx="158529" cy="158521"/>
            </a:xfrm>
            <a:prstGeom prst="rect">
              <a:avLst/>
            </a:prstGeom>
            <a:blipFill dpi="0" rotWithShape="1">
              <a:blip r:embed="rId10"/>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95" name="object 7">
              <a:extLst>
                <a:ext uri="{FF2B5EF4-FFF2-40B4-BE49-F238E27FC236}">
                  <a16:creationId xmlns:a16="http://schemas.microsoft.com/office/drawing/2014/main" id="{4F86D156-9C69-949D-533F-9ADFD0352832}"/>
                </a:ext>
              </a:extLst>
            </p:cNvPr>
            <p:cNvSpPr>
              <a:spLocks noChangeArrowheads="1"/>
            </p:cNvSpPr>
            <p:nvPr/>
          </p:nvSpPr>
          <p:spPr bwMode="auto">
            <a:xfrm>
              <a:off x="3146808" y="5310335"/>
              <a:ext cx="158530" cy="158522"/>
            </a:xfrm>
            <a:prstGeom prst="rect">
              <a:avLst/>
            </a:prstGeom>
            <a:blipFill dpi="0" rotWithShape="1">
              <a:blip r:embed="rId8"/>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96" name="object 4">
              <a:extLst>
                <a:ext uri="{FF2B5EF4-FFF2-40B4-BE49-F238E27FC236}">
                  <a16:creationId xmlns:a16="http://schemas.microsoft.com/office/drawing/2014/main" id="{91225713-0909-5AFE-D752-60E874B247FC}"/>
                </a:ext>
              </a:extLst>
            </p:cNvPr>
            <p:cNvSpPr>
              <a:spLocks noChangeArrowheads="1"/>
            </p:cNvSpPr>
            <p:nvPr/>
          </p:nvSpPr>
          <p:spPr bwMode="auto">
            <a:xfrm>
              <a:off x="3146807" y="5515060"/>
              <a:ext cx="158531" cy="158523"/>
            </a:xfrm>
            <a:prstGeom prst="rect">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97" name="object 4">
              <a:extLst>
                <a:ext uri="{FF2B5EF4-FFF2-40B4-BE49-F238E27FC236}">
                  <a16:creationId xmlns:a16="http://schemas.microsoft.com/office/drawing/2014/main" id="{AE3B45D3-67B8-8D96-E5E8-6D2F23F250E9}"/>
                </a:ext>
              </a:extLst>
            </p:cNvPr>
            <p:cNvSpPr>
              <a:spLocks noChangeArrowheads="1"/>
            </p:cNvSpPr>
            <p:nvPr/>
          </p:nvSpPr>
          <p:spPr bwMode="auto">
            <a:xfrm>
              <a:off x="3587053" y="4695156"/>
              <a:ext cx="158531" cy="158523"/>
            </a:xfrm>
            <a:prstGeom prst="rect">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98" name="object 5">
              <a:extLst>
                <a:ext uri="{FF2B5EF4-FFF2-40B4-BE49-F238E27FC236}">
                  <a16:creationId xmlns:a16="http://schemas.microsoft.com/office/drawing/2014/main" id="{D246EF49-43C6-A428-BE7C-DC4C8411CE61}"/>
                </a:ext>
              </a:extLst>
            </p:cNvPr>
            <p:cNvSpPr>
              <a:spLocks noChangeArrowheads="1"/>
            </p:cNvSpPr>
            <p:nvPr/>
          </p:nvSpPr>
          <p:spPr bwMode="auto">
            <a:xfrm>
              <a:off x="3799674" y="5105108"/>
              <a:ext cx="158531" cy="158523"/>
            </a:xfrm>
            <a:prstGeom prst="rect">
              <a:avLst/>
            </a:prstGeom>
            <a:blipFill dpi="0" rotWithShape="1">
              <a:blip r:embed="rId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99" name="object 3">
              <a:extLst>
                <a:ext uri="{FF2B5EF4-FFF2-40B4-BE49-F238E27FC236}">
                  <a16:creationId xmlns:a16="http://schemas.microsoft.com/office/drawing/2014/main" id="{E9E68771-6F4B-D1CA-360E-2C14818B294E}"/>
                </a:ext>
              </a:extLst>
            </p:cNvPr>
            <p:cNvSpPr>
              <a:spLocks noChangeArrowheads="1"/>
            </p:cNvSpPr>
            <p:nvPr/>
          </p:nvSpPr>
          <p:spPr bwMode="auto">
            <a:xfrm>
              <a:off x="3374435" y="4695156"/>
              <a:ext cx="158531" cy="158523"/>
            </a:xfrm>
            <a:prstGeom prst="rect">
              <a:avLst/>
            </a:prstGeom>
            <a:blipFill dpi="0" rotWithShape="1">
              <a:blip r:embed="rId6"/>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100" name="object 6">
              <a:extLst>
                <a:ext uri="{FF2B5EF4-FFF2-40B4-BE49-F238E27FC236}">
                  <a16:creationId xmlns:a16="http://schemas.microsoft.com/office/drawing/2014/main" id="{0FAC5D4E-BA9C-37C8-1BFB-AA02DE24BD6C}"/>
                </a:ext>
              </a:extLst>
            </p:cNvPr>
            <p:cNvSpPr>
              <a:spLocks noChangeArrowheads="1"/>
            </p:cNvSpPr>
            <p:nvPr/>
          </p:nvSpPr>
          <p:spPr bwMode="auto">
            <a:xfrm>
              <a:off x="3587055" y="4900132"/>
              <a:ext cx="158529" cy="158522"/>
            </a:xfrm>
            <a:prstGeom prst="rect">
              <a:avLst/>
            </a:prstGeom>
            <a:blipFill dpi="0" rotWithShape="1">
              <a:blip r:embed="rId7"/>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101" name="object 7">
              <a:extLst>
                <a:ext uri="{FF2B5EF4-FFF2-40B4-BE49-F238E27FC236}">
                  <a16:creationId xmlns:a16="http://schemas.microsoft.com/office/drawing/2014/main" id="{B88D9833-DF40-CD50-90DC-D1C78D1AE6AE}"/>
                </a:ext>
              </a:extLst>
            </p:cNvPr>
            <p:cNvSpPr>
              <a:spLocks noChangeArrowheads="1"/>
            </p:cNvSpPr>
            <p:nvPr/>
          </p:nvSpPr>
          <p:spPr bwMode="auto">
            <a:xfrm>
              <a:off x="3374434" y="4900132"/>
              <a:ext cx="158530" cy="158522"/>
            </a:xfrm>
            <a:prstGeom prst="rect">
              <a:avLst/>
            </a:prstGeom>
            <a:blipFill dpi="0" rotWithShape="1">
              <a:blip r:embed="rId8"/>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102" name="object 8">
              <a:extLst>
                <a:ext uri="{FF2B5EF4-FFF2-40B4-BE49-F238E27FC236}">
                  <a16:creationId xmlns:a16="http://schemas.microsoft.com/office/drawing/2014/main" id="{16F401C4-BBF1-009B-FC7E-78D32666DD19}"/>
                </a:ext>
              </a:extLst>
            </p:cNvPr>
            <p:cNvSpPr>
              <a:spLocks noChangeArrowheads="1"/>
            </p:cNvSpPr>
            <p:nvPr/>
          </p:nvSpPr>
          <p:spPr bwMode="auto">
            <a:xfrm>
              <a:off x="3587055" y="5105109"/>
              <a:ext cx="158529" cy="158522"/>
            </a:xfrm>
            <a:prstGeom prst="rect">
              <a:avLst/>
            </a:prstGeom>
            <a:blipFill dpi="0" rotWithShape="1">
              <a:blip r:embed="rId9"/>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103" name="object 10">
              <a:extLst>
                <a:ext uri="{FF2B5EF4-FFF2-40B4-BE49-F238E27FC236}">
                  <a16:creationId xmlns:a16="http://schemas.microsoft.com/office/drawing/2014/main" id="{AA1E465B-3199-A482-0AB0-32B1EBF37B31}"/>
                </a:ext>
              </a:extLst>
            </p:cNvPr>
            <p:cNvSpPr>
              <a:spLocks noChangeArrowheads="1"/>
            </p:cNvSpPr>
            <p:nvPr/>
          </p:nvSpPr>
          <p:spPr bwMode="auto">
            <a:xfrm>
              <a:off x="3799676" y="4695158"/>
              <a:ext cx="158529" cy="158521"/>
            </a:xfrm>
            <a:prstGeom prst="rect">
              <a:avLst/>
            </a:prstGeom>
            <a:blipFill dpi="0" rotWithShape="1">
              <a:blip r:embed="rId1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104" name="object 11">
              <a:extLst>
                <a:ext uri="{FF2B5EF4-FFF2-40B4-BE49-F238E27FC236}">
                  <a16:creationId xmlns:a16="http://schemas.microsoft.com/office/drawing/2014/main" id="{9FFA9040-D657-2D01-07DB-2B412E7F2345}"/>
                </a:ext>
              </a:extLst>
            </p:cNvPr>
            <p:cNvSpPr>
              <a:spLocks noChangeArrowheads="1"/>
            </p:cNvSpPr>
            <p:nvPr/>
          </p:nvSpPr>
          <p:spPr bwMode="auto">
            <a:xfrm>
              <a:off x="3799676" y="4900133"/>
              <a:ext cx="158529" cy="158521"/>
            </a:xfrm>
            <a:prstGeom prst="rect">
              <a:avLst/>
            </a:prstGeom>
            <a:blipFill dpi="0" rotWithShape="1">
              <a:blip r:embed="rId11"/>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105" name="object 12">
              <a:extLst>
                <a:ext uri="{FF2B5EF4-FFF2-40B4-BE49-F238E27FC236}">
                  <a16:creationId xmlns:a16="http://schemas.microsoft.com/office/drawing/2014/main" id="{CBB174BE-2700-0419-51B6-4C55A81F21B4}"/>
                </a:ext>
              </a:extLst>
            </p:cNvPr>
            <p:cNvSpPr>
              <a:spLocks noChangeArrowheads="1"/>
            </p:cNvSpPr>
            <p:nvPr/>
          </p:nvSpPr>
          <p:spPr bwMode="auto">
            <a:xfrm>
              <a:off x="3374435" y="5105110"/>
              <a:ext cx="158529" cy="158521"/>
            </a:xfrm>
            <a:prstGeom prst="rect">
              <a:avLst/>
            </a:prstGeom>
            <a:blipFill dpi="0" rotWithShape="1">
              <a:blip r:embed="rId10"/>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106" name="object 4">
              <a:extLst>
                <a:ext uri="{FF2B5EF4-FFF2-40B4-BE49-F238E27FC236}">
                  <a16:creationId xmlns:a16="http://schemas.microsoft.com/office/drawing/2014/main" id="{6BE79C46-706D-EF7B-F231-2505683BEDE1}"/>
                </a:ext>
              </a:extLst>
            </p:cNvPr>
            <p:cNvSpPr>
              <a:spLocks noChangeArrowheads="1"/>
            </p:cNvSpPr>
            <p:nvPr/>
          </p:nvSpPr>
          <p:spPr bwMode="auto">
            <a:xfrm>
              <a:off x="4012294" y="4695156"/>
              <a:ext cx="158531" cy="158523"/>
            </a:xfrm>
            <a:prstGeom prst="rect">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107" name="object 7">
              <a:extLst>
                <a:ext uri="{FF2B5EF4-FFF2-40B4-BE49-F238E27FC236}">
                  <a16:creationId xmlns:a16="http://schemas.microsoft.com/office/drawing/2014/main" id="{62A1969C-5CC4-E661-C161-58382F371CA6}"/>
                </a:ext>
              </a:extLst>
            </p:cNvPr>
            <p:cNvSpPr>
              <a:spLocks noChangeArrowheads="1"/>
            </p:cNvSpPr>
            <p:nvPr/>
          </p:nvSpPr>
          <p:spPr bwMode="auto">
            <a:xfrm>
              <a:off x="4012296" y="4900132"/>
              <a:ext cx="158530" cy="158522"/>
            </a:xfrm>
            <a:prstGeom prst="rect">
              <a:avLst/>
            </a:prstGeom>
            <a:blipFill dpi="0" rotWithShape="1">
              <a:blip r:embed="rId8"/>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108" name="object 12">
              <a:extLst>
                <a:ext uri="{FF2B5EF4-FFF2-40B4-BE49-F238E27FC236}">
                  <a16:creationId xmlns:a16="http://schemas.microsoft.com/office/drawing/2014/main" id="{92DC7BD0-FC7A-5A29-CF7E-9BE74A323511}"/>
                </a:ext>
              </a:extLst>
            </p:cNvPr>
            <p:cNvSpPr>
              <a:spLocks noChangeArrowheads="1"/>
            </p:cNvSpPr>
            <p:nvPr/>
          </p:nvSpPr>
          <p:spPr bwMode="auto">
            <a:xfrm>
              <a:off x="4012297" y="5105110"/>
              <a:ext cx="158529" cy="158521"/>
            </a:xfrm>
            <a:prstGeom prst="rect">
              <a:avLst/>
            </a:prstGeom>
            <a:blipFill dpi="0" rotWithShape="1">
              <a:blip r:embed="rId10"/>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109" name="object 4">
              <a:extLst>
                <a:ext uri="{FF2B5EF4-FFF2-40B4-BE49-F238E27FC236}">
                  <a16:creationId xmlns:a16="http://schemas.microsoft.com/office/drawing/2014/main" id="{C3634985-CA51-1D05-3A13-1B9A7617B166}"/>
                </a:ext>
              </a:extLst>
            </p:cNvPr>
            <p:cNvSpPr>
              <a:spLocks noChangeArrowheads="1"/>
            </p:cNvSpPr>
            <p:nvPr/>
          </p:nvSpPr>
          <p:spPr bwMode="auto">
            <a:xfrm>
              <a:off x="3587053" y="5310334"/>
              <a:ext cx="158531" cy="158523"/>
            </a:xfrm>
            <a:prstGeom prst="rect">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110" name="object 6">
              <a:extLst>
                <a:ext uri="{FF2B5EF4-FFF2-40B4-BE49-F238E27FC236}">
                  <a16:creationId xmlns:a16="http://schemas.microsoft.com/office/drawing/2014/main" id="{93DC83EF-33C4-135D-2877-B25C81370C8A}"/>
                </a:ext>
              </a:extLst>
            </p:cNvPr>
            <p:cNvSpPr>
              <a:spLocks noChangeArrowheads="1"/>
            </p:cNvSpPr>
            <p:nvPr/>
          </p:nvSpPr>
          <p:spPr bwMode="auto">
            <a:xfrm>
              <a:off x="3799676" y="5310335"/>
              <a:ext cx="158529" cy="158522"/>
            </a:xfrm>
            <a:prstGeom prst="rect">
              <a:avLst/>
            </a:prstGeom>
            <a:blipFill dpi="0" rotWithShape="1">
              <a:blip r:embed="rId7"/>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111" name="object 11">
              <a:extLst>
                <a:ext uri="{FF2B5EF4-FFF2-40B4-BE49-F238E27FC236}">
                  <a16:creationId xmlns:a16="http://schemas.microsoft.com/office/drawing/2014/main" id="{2EA1D157-62D0-0027-675A-3F5AC12CD3D8}"/>
                </a:ext>
              </a:extLst>
            </p:cNvPr>
            <p:cNvSpPr>
              <a:spLocks noChangeArrowheads="1"/>
            </p:cNvSpPr>
            <p:nvPr/>
          </p:nvSpPr>
          <p:spPr bwMode="auto">
            <a:xfrm>
              <a:off x="4012297" y="5310336"/>
              <a:ext cx="158529" cy="158521"/>
            </a:xfrm>
            <a:prstGeom prst="rect">
              <a:avLst/>
            </a:prstGeom>
            <a:blipFill dpi="0" rotWithShape="1">
              <a:blip r:embed="rId11"/>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112" name="object 12">
              <a:extLst>
                <a:ext uri="{FF2B5EF4-FFF2-40B4-BE49-F238E27FC236}">
                  <a16:creationId xmlns:a16="http://schemas.microsoft.com/office/drawing/2014/main" id="{75FCA34D-ACD4-F671-CA84-E55A438E6A5B}"/>
                </a:ext>
              </a:extLst>
            </p:cNvPr>
            <p:cNvSpPr>
              <a:spLocks noChangeArrowheads="1"/>
            </p:cNvSpPr>
            <p:nvPr/>
          </p:nvSpPr>
          <p:spPr bwMode="auto">
            <a:xfrm>
              <a:off x="3374434" y="5310336"/>
              <a:ext cx="158529" cy="158521"/>
            </a:xfrm>
            <a:prstGeom prst="rect">
              <a:avLst/>
            </a:prstGeom>
            <a:blipFill dpi="0" rotWithShape="1">
              <a:blip r:embed="rId10"/>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113" name="object 6">
              <a:extLst>
                <a:ext uri="{FF2B5EF4-FFF2-40B4-BE49-F238E27FC236}">
                  <a16:creationId xmlns:a16="http://schemas.microsoft.com/office/drawing/2014/main" id="{86072DC1-F996-EEE1-5397-D6477825CB26}"/>
                </a:ext>
              </a:extLst>
            </p:cNvPr>
            <p:cNvSpPr>
              <a:spLocks noChangeArrowheads="1"/>
            </p:cNvSpPr>
            <p:nvPr/>
          </p:nvSpPr>
          <p:spPr bwMode="auto">
            <a:xfrm>
              <a:off x="3587055" y="5515061"/>
              <a:ext cx="158529" cy="158522"/>
            </a:xfrm>
            <a:prstGeom prst="rect">
              <a:avLst/>
            </a:prstGeom>
            <a:blipFill dpi="0" rotWithShape="1">
              <a:blip r:embed="rId7"/>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114" name="object 10">
              <a:extLst>
                <a:ext uri="{FF2B5EF4-FFF2-40B4-BE49-F238E27FC236}">
                  <a16:creationId xmlns:a16="http://schemas.microsoft.com/office/drawing/2014/main" id="{8927EF96-24C8-2F68-E554-3FDB014F578E}"/>
                </a:ext>
              </a:extLst>
            </p:cNvPr>
            <p:cNvSpPr>
              <a:spLocks noChangeArrowheads="1"/>
            </p:cNvSpPr>
            <p:nvPr/>
          </p:nvSpPr>
          <p:spPr bwMode="auto">
            <a:xfrm>
              <a:off x="3799676" y="5515062"/>
              <a:ext cx="158529" cy="158521"/>
            </a:xfrm>
            <a:prstGeom prst="rect">
              <a:avLst/>
            </a:prstGeom>
            <a:blipFill dpi="0" rotWithShape="1">
              <a:blip r:embed="rId1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115" name="object 12">
              <a:extLst>
                <a:ext uri="{FF2B5EF4-FFF2-40B4-BE49-F238E27FC236}">
                  <a16:creationId xmlns:a16="http://schemas.microsoft.com/office/drawing/2014/main" id="{5A323D23-56A8-7602-22EF-A3B6B1E674E3}"/>
                </a:ext>
              </a:extLst>
            </p:cNvPr>
            <p:cNvSpPr>
              <a:spLocks noChangeArrowheads="1"/>
            </p:cNvSpPr>
            <p:nvPr/>
          </p:nvSpPr>
          <p:spPr bwMode="auto">
            <a:xfrm>
              <a:off x="3374434" y="5515062"/>
              <a:ext cx="158529" cy="158521"/>
            </a:xfrm>
            <a:prstGeom prst="rect">
              <a:avLst/>
            </a:prstGeom>
            <a:blipFill dpi="0" rotWithShape="1">
              <a:blip r:embed="rId10"/>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116" name="object 11">
              <a:extLst>
                <a:ext uri="{FF2B5EF4-FFF2-40B4-BE49-F238E27FC236}">
                  <a16:creationId xmlns:a16="http://schemas.microsoft.com/office/drawing/2014/main" id="{9C0A28B4-ED5B-6D3E-BE9B-4C154F37B7C6}"/>
                </a:ext>
              </a:extLst>
            </p:cNvPr>
            <p:cNvSpPr>
              <a:spLocks noChangeArrowheads="1"/>
            </p:cNvSpPr>
            <p:nvPr/>
          </p:nvSpPr>
          <p:spPr bwMode="auto">
            <a:xfrm>
              <a:off x="4012297" y="5515062"/>
              <a:ext cx="158529" cy="158521"/>
            </a:xfrm>
            <a:prstGeom prst="rect">
              <a:avLst/>
            </a:prstGeom>
            <a:blipFill dpi="0" rotWithShape="1">
              <a:blip r:embed="rId11"/>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117" name="object 3">
              <a:extLst>
                <a:ext uri="{FF2B5EF4-FFF2-40B4-BE49-F238E27FC236}">
                  <a16:creationId xmlns:a16="http://schemas.microsoft.com/office/drawing/2014/main" id="{624CE7DB-C8AE-929C-DDB5-D8DA3F991DA8}"/>
                </a:ext>
              </a:extLst>
            </p:cNvPr>
            <p:cNvSpPr>
              <a:spLocks noChangeArrowheads="1"/>
            </p:cNvSpPr>
            <p:nvPr/>
          </p:nvSpPr>
          <p:spPr bwMode="auto">
            <a:xfrm>
              <a:off x="4224917" y="4695156"/>
              <a:ext cx="158531" cy="158523"/>
            </a:xfrm>
            <a:prstGeom prst="rect">
              <a:avLst/>
            </a:prstGeom>
            <a:blipFill dpi="0" rotWithShape="1">
              <a:blip r:embed="rId6"/>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118" name="object 6">
              <a:extLst>
                <a:ext uri="{FF2B5EF4-FFF2-40B4-BE49-F238E27FC236}">
                  <a16:creationId xmlns:a16="http://schemas.microsoft.com/office/drawing/2014/main" id="{EB507797-8971-1F29-C73C-0FD4C4156A83}"/>
                </a:ext>
              </a:extLst>
            </p:cNvPr>
            <p:cNvSpPr>
              <a:spLocks noChangeArrowheads="1"/>
            </p:cNvSpPr>
            <p:nvPr/>
          </p:nvSpPr>
          <p:spPr bwMode="auto">
            <a:xfrm>
              <a:off x="4224919" y="4900132"/>
              <a:ext cx="158529" cy="158522"/>
            </a:xfrm>
            <a:prstGeom prst="rect">
              <a:avLst/>
            </a:prstGeom>
            <a:blipFill dpi="0" rotWithShape="1">
              <a:blip r:embed="rId7"/>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119" name="object 12">
              <a:extLst>
                <a:ext uri="{FF2B5EF4-FFF2-40B4-BE49-F238E27FC236}">
                  <a16:creationId xmlns:a16="http://schemas.microsoft.com/office/drawing/2014/main" id="{13407D3C-601E-4B5B-8347-DD06B5834A15}"/>
                </a:ext>
              </a:extLst>
            </p:cNvPr>
            <p:cNvSpPr>
              <a:spLocks noChangeArrowheads="1"/>
            </p:cNvSpPr>
            <p:nvPr/>
          </p:nvSpPr>
          <p:spPr bwMode="auto">
            <a:xfrm>
              <a:off x="4224919" y="5105110"/>
              <a:ext cx="158529" cy="158521"/>
            </a:xfrm>
            <a:prstGeom prst="rect">
              <a:avLst/>
            </a:prstGeom>
            <a:blipFill dpi="0" rotWithShape="1">
              <a:blip r:embed="rId10"/>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120" name="object 7">
              <a:extLst>
                <a:ext uri="{FF2B5EF4-FFF2-40B4-BE49-F238E27FC236}">
                  <a16:creationId xmlns:a16="http://schemas.microsoft.com/office/drawing/2014/main" id="{4865D27A-187C-52F0-39FB-1C2136A22E0E}"/>
                </a:ext>
              </a:extLst>
            </p:cNvPr>
            <p:cNvSpPr>
              <a:spLocks noChangeArrowheads="1"/>
            </p:cNvSpPr>
            <p:nvPr/>
          </p:nvSpPr>
          <p:spPr bwMode="auto">
            <a:xfrm>
              <a:off x="4224918" y="5310335"/>
              <a:ext cx="158530" cy="158522"/>
            </a:xfrm>
            <a:prstGeom prst="rect">
              <a:avLst/>
            </a:prstGeom>
            <a:blipFill dpi="0" rotWithShape="1">
              <a:blip r:embed="rId8"/>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121" name="object 4">
              <a:extLst>
                <a:ext uri="{FF2B5EF4-FFF2-40B4-BE49-F238E27FC236}">
                  <a16:creationId xmlns:a16="http://schemas.microsoft.com/office/drawing/2014/main" id="{6EE166C9-E9B1-30F1-0A22-FD17530D5D60}"/>
                </a:ext>
              </a:extLst>
            </p:cNvPr>
            <p:cNvSpPr>
              <a:spLocks noChangeArrowheads="1"/>
            </p:cNvSpPr>
            <p:nvPr/>
          </p:nvSpPr>
          <p:spPr bwMode="auto">
            <a:xfrm>
              <a:off x="4224917" y="5515060"/>
              <a:ext cx="158531" cy="158523"/>
            </a:xfrm>
            <a:prstGeom prst="rect">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122" name="object 6">
              <a:extLst>
                <a:ext uri="{FF2B5EF4-FFF2-40B4-BE49-F238E27FC236}">
                  <a16:creationId xmlns:a16="http://schemas.microsoft.com/office/drawing/2014/main" id="{718C29B4-94B7-1D92-98FE-0AF4A7106DE0}"/>
                </a:ext>
              </a:extLst>
            </p:cNvPr>
            <p:cNvSpPr>
              <a:spLocks noChangeArrowheads="1"/>
            </p:cNvSpPr>
            <p:nvPr/>
          </p:nvSpPr>
          <p:spPr bwMode="auto">
            <a:xfrm>
              <a:off x="2723944" y="3674562"/>
              <a:ext cx="158529" cy="158522"/>
            </a:xfrm>
            <a:prstGeom prst="rect">
              <a:avLst/>
            </a:prstGeom>
            <a:blipFill dpi="0" rotWithShape="1">
              <a:blip r:embed="rId7">
                <a:alphaModFix amt="25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123" name="object 11">
              <a:extLst>
                <a:ext uri="{FF2B5EF4-FFF2-40B4-BE49-F238E27FC236}">
                  <a16:creationId xmlns:a16="http://schemas.microsoft.com/office/drawing/2014/main" id="{AA5C50EE-FC4A-2B92-261C-E3A547E0CE82}"/>
                </a:ext>
              </a:extLst>
            </p:cNvPr>
            <p:cNvSpPr>
              <a:spLocks noChangeArrowheads="1"/>
            </p:cNvSpPr>
            <p:nvPr/>
          </p:nvSpPr>
          <p:spPr bwMode="auto">
            <a:xfrm>
              <a:off x="2936565" y="3674563"/>
              <a:ext cx="158529" cy="158521"/>
            </a:xfrm>
            <a:prstGeom prst="rect">
              <a:avLst/>
            </a:prstGeom>
            <a:blipFill dpi="0" rotWithShape="1">
              <a:blip r:embed="rId11">
                <a:alphaModFix amt="25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124" name="object 7">
              <a:extLst>
                <a:ext uri="{FF2B5EF4-FFF2-40B4-BE49-F238E27FC236}">
                  <a16:creationId xmlns:a16="http://schemas.microsoft.com/office/drawing/2014/main" id="{589D8656-076A-E7DA-8A6F-A583BC2766E6}"/>
                </a:ext>
              </a:extLst>
            </p:cNvPr>
            <p:cNvSpPr>
              <a:spLocks noChangeArrowheads="1"/>
            </p:cNvSpPr>
            <p:nvPr/>
          </p:nvSpPr>
          <p:spPr bwMode="auto">
            <a:xfrm>
              <a:off x="3149187" y="3674562"/>
              <a:ext cx="158530" cy="158522"/>
            </a:xfrm>
            <a:prstGeom prst="rect">
              <a:avLst/>
            </a:prstGeom>
            <a:blipFill dpi="0" rotWithShape="1">
              <a:blip r:embed="rId8">
                <a:alphaModFix amt="25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125" name="object 4">
              <a:extLst>
                <a:ext uri="{FF2B5EF4-FFF2-40B4-BE49-F238E27FC236}">
                  <a16:creationId xmlns:a16="http://schemas.microsoft.com/office/drawing/2014/main" id="{89979E05-3480-46F1-6AE6-65F91BEB6855}"/>
                </a:ext>
              </a:extLst>
            </p:cNvPr>
            <p:cNvSpPr>
              <a:spLocks noChangeArrowheads="1"/>
            </p:cNvSpPr>
            <p:nvPr/>
          </p:nvSpPr>
          <p:spPr bwMode="auto">
            <a:xfrm>
              <a:off x="3589432" y="3674561"/>
              <a:ext cx="158531" cy="158523"/>
            </a:xfrm>
            <a:prstGeom prst="rect">
              <a:avLst/>
            </a:prstGeom>
            <a:blipFill dpi="0" rotWithShape="1">
              <a:blip r:embed="rId4">
                <a:alphaModFix amt="25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126" name="object 12">
              <a:extLst>
                <a:ext uri="{FF2B5EF4-FFF2-40B4-BE49-F238E27FC236}">
                  <a16:creationId xmlns:a16="http://schemas.microsoft.com/office/drawing/2014/main" id="{C05C4EB1-8EC6-777E-CFDA-B2AA55BA854D}"/>
                </a:ext>
              </a:extLst>
            </p:cNvPr>
            <p:cNvSpPr>
              <a:spLocks noChangeArrowheads="1"/>
            </p:cNvSpPr>
            <p:nvPr/>
          </p:nvSpPr>
          <p:spPr bwMode="auto">
            <a:xfrm>
              <a:off x="3376813" y="3674563"/>
              <a:ext cx="158529" cy="158521"/>
            </a:xfrm>
            <a:prstGeom prst="rect">
              <a:avLst/>
            </a:prstGeom>
            <a:blipFill dpi="0" rotWithShape="1">
              <a:blip r:embed="rId10">
                <a:alphaModFix amt="25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grpSp>
      <p:pic>
        <p:nvPicPr>
          <p:cNvPr id="128" name="Picture 127">
            <a:extLst>
              <a:ext uri="{FF2B5EF4-FFF2-40B4-BE49-F238E27FC236}">
                <a16:creationId xmlns:a16="http://schemas.microsoft.com/office/drawing/2014/main" id="{AD65932A-4AA3-05FC-7322-7EEF585F63E1}"/>
              </a:ext>
            </a:extLst>
          </p:cNvPr>
          <p:cNvPicPr>
            <a:picLocks noChangeAspect="1"/>
          </p:cNvPicPr>
          <p:nvPr/>
        </p:nvPicPr>
        <p:blipFill>
          <a:blip r:embed="rId13"/>
          <a:stretch>
            <a:fillRect/>
          </a:stretch>
        </p:blipFill>
        <p:spPr>
          <a:xfrm>
            <a:off x="573327" y="2992419"/>
            <a:ext cx="875666" cy="244672"/>
          </a:xfrm>
          <a:prstGeom prst="rect">
            <a:avLst/>
          </a:prstGeom>
        </p:spPr>
      </p:pic>
      <p:sp>
        <p:nvSpPr>
          <p:cNvPr id="135" name="Freeform 6">
            <a:extLst>
              <a:ext uri="{FF2B5EF4-FFF2-40B4-BE49-F238E27FC236}">
                <a16:creationId xmlns:a16="http://schemas.microsoft.com/office/drawing/2014/main" id="{781A1179-712A-CF1D-32B5-2C3CD010A463}"/>
              </a:ext>
            </a:extLst>
          </p:cNvPr>
          <p:cNvSpPr>
            <a:spLocks/>
          </p:cNvSpPr>
          <p:nvPr/>
        </p:nvSpPr>
        <p:spPr bwMode="auto">
          <a:xfrm>
            <a:off x="3261231" y="3587618"/>
            <a:ext cx="2084832" cy="1578478"/>
          </a:xfrm>
          <a:custGeom>
            <a:avLst/>
            <a:gdLst>
              <a:gd name="T0" fmla="*/ 0 w 5216"/>
              <a:gd name="T1" fmla="*/ 0 h 2133"/>
              <a:gd name="T2" fmla="*/ 2147483646 w 5216"/>
              <a:gd name="T3" fmla="*/ 0 h 2133"/>
              <a:gd name="T4" fmla="*/ 2147483646 w 5216"/>
              <a:gd name="T5" fmla="*/ 2147483646 h 2133"/>
              <a:gd name="T6" fmla="*/ 0 w 5216"/>
              <a:gd name="T7" fmla="*/ 2147483646 h 2133"/>
              <a:gd name="T8" fmla="*/ 0 w 5216"/>
              <a:gd name="T9" fmla="*/ 0 h 2133"/>
              <a:gd name="T10" fmla="*/ 0 w 5216"/>
              <a:gd name="T11" fmla="*/ 0 h 213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216" h="2133">
                <a:moveTo>
                  <a:pt x="0" y="0"/>
                </a:moveTo>
                <a:lnTo>
                  <a:pt x="5216" y="0"/>
                </a:lnTo>
                <a:lnTo>
                  <a:pt x="5216" y="2133"/>
                </a:lnTo>
                <a:lnTo>
                  <a:pt x="0" y="2133"/>
                </a:lnTo>
                <a:lnTo>
                  <a:pt x="0" y="0"/>
                </a:lnTo>
                <a:close/>
              </a:path>
            </a:pathLst>
          </a:custGeom>
          <a:solidFill>
            <a:schemeClr val="bg1"/>
          </a:solidFill>
          <a:ln w="12700">
            <a:solidFill>
              <a:schemeClr val="accent1"/>
            </a:solidFill>
          </a:ln>
        </p:spPr>
        <p:txBody>
          <a:bodyPr lIns="91435" tIns="45717" rIns="91435" bIns="45717"/>
          <a:lstStyle/>
          <a:p>
            <a:pPr algn="ctr">
              <a:spcBef>
                <a:spcPct val="0"/>
              </a:spcBef>
              <a:buFontTx/>
              <a:buNone/>
            </a:pPr>
            <a:endParaRPr lang="en-GB" altLang="da-DK" sz="1800">
              <a:latin typeface="Trebuchet MS" panose="020B0603020202020204" pitchFamily="34" charset="0"/>
            </a:endParaRPr>
          </a:p>
          <a:p>
            <a:pPr algn="ctr">
              <a:spcBef>
                <a:spcPct val="0"/>
              </a:spcBef>
              <a:buFontTx/>
              <a:buNone/>
            </a:pPr>
            <a:endParaRPr lang="en-GB" altLang="da-DK">
              <a:latin typeface="Trebuchet MS" panose="020B0603020202020204" pitchFamily="34" charset="0"/>
            </a:endParaRPr>
          </a:p>
          <a:p>
            <a:pPr algn="ctr">
              <a:spcBef>
                <a:spcPct val="0"/>
              </a:spcBef>
              <a:buFontTx/>
              <a:buNone/>
            </a:pPr>
            <a:endParaRPr lang="en-GB" altLang="da-DK" sz="1800">
              <a:latin typeface="Trebuchet MS" panose="020B0603020202020204" pitchFamily="34" charset="0"/>
            </a:endParaRPr>
          </a:p>
          <a:p>
            <a:pPr algn="ctr">
              <a:spcBef>
                <a:spcPct val="0"/>
              </a:spcBef>
              <a:buFontTx/>
              <a:buNone/>
            </a:pPr>
            <a:r>
              <a:rPr lang="en-GB" altLang="da-DK" sz="1400">
                <a:latin typeface="Trebuchet MS" panose="020B0603020202020204" pitchFamily="34" charset="0"/>
              </a:rPr>
              <a:t>Survey was live</a:t>
            </a:r>
          </a:p>
          <a:p>
            <a:pPr algn="ctr">
              <a:spcBef>
                <a:spcPct val="0"/>
              </a:spcBef>
              <a:buFontTx/>
              <a:buNone/>
            </a:pPr>
            <a:r>
              <a:rPr lang="en-GB" altLang="da-DK" sz="1400">
                <a:latin typeface="Trebuchet MS" panose="020B0603020202020204" pitchFamily="34" charset="0"/>
              </a:rPr>
              <a:t>26</a:t>
            </a:r>
            <a:r>
              <a:rPr lang="en-GB" altLang="da-DK" sz="1400" baseline="30000">
                <a:latin typeface="Trebuchet MS" panose="020B0603020202020204" pitchFamily="34" charset="0"/>
              </a:rPr>
              <a:t>th</a:t>
            </a:r>
            <a:r>
              <a:rPr lang="en-GB" altLang="da-DK" sz="1400">
                <a:latin typeface="Trebuchet MS" panose="020B0603020202020204" pitchFamily="34" charset="0"/>
              </a:rPr>
              <a:t> October – 21 November 2023</a:t>
            </a:r>
          </a:p>
        </p:txBody>
      </p:sp>
      <p:pic>
        <p:nvPicPr>
          <p:cNvPr id="136" name="Picture 106">
            <a:extLst>
              <a:ext uri="{FF2B5EF4-FFF2-40B4-BE49-F238E27FC236}">
                <a16:creationId xmlns:a16="http://schemas.microsoft.com/office/drawing/2014/main" id="{86225304-1BE1-E9E1-9B76-A65C0B5BD9A9}"/>
              </a:ext>
            </a:extLst>
          </p:cNvPr>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3983251" y="3792522"/>
            <a:ext cx="541223" cy="539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7" name="Freeform 6">
            <a:extLst>
              <a:ext uri="{FF2B5EF4-FFF2-40B4-BE49-F238E27FC236}">
                <a16:creationId xmlns:a16="http://schemas.microsoft.com/office/drawing/2014/main" id="{E1954C64-852A-6811-4E44-BDDFDD8F6F6C}"/>
              </a:ext>
            </a:extLst>
          </p:cNvPr>
          <p:cNvSpPr>
            <a:spLocks/>
          </p:cNvSpPr>
          <p:nvPr/>
        </p:nvSpPr>
        <p:spPr bwMode="auto">
          <a:xfrm>
            <a:off x="5457729" y="3585539"/>
            <a:ext cx="2043627" cy="1580557"/>
          </a:xfrm>
          <a:custGeom>
            <a:avLst/>
            <a:gdLst>
              <a:gd name="T0" fmla="*/ 0 w 5216"/>
              <a:gd name="T1" fmla="*/ 0 h 2133"/>
              <a:gd name="T2" fmla="*/ 2147483646 w 5216"/>
              <a:gd name="T3" fmla="*/ 0 h 2133"/>
              <a:gd name="T4" fmla="*/ 2147483646 w 5216"/>
              <a:gd name="T5" fmla="*/ 2147483646 h 2133"/>
              <a:gd name="T6" fmla="*/ 0 w 5216"/>
              <a:gd name="T7" fmla="*/ 2147483646 h 2133"/>
              <a:gd name="T8" fmla="*/ 0 w 5216"/>
              <a:gd name="T9" fmla="*/ 0 h 2133"/>
              <a:gd name="T10" fmla="*/ 0 w 5216"/>
              <a:gd name="T11" fmla="*/ 0 h 213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216" h="2133">
                <a:moveTo>
                  <a:pt x="0" y="0"/>
                </a:moveTo>
                <a:lnTo>
                  <a:pt x="5216" y="0"/>
                </a:lnTo>
                <a:lnTo>
                  <a:pt x="5216" y="2133"/>
                </a:lnTo>
                <a:lnTo>
                  <a:pt x="0" y="2133"/>
                </a:lnTo>
                <a:lnTo>
                  <a:pt x="0" y="0"/>
                </a:lnTo>
                <a:close/>
              </a:path>
            </a:pathLst>
          </a:custGeom>
          <a:solidFill>
            <a:schemeClr val="bg1"/>
          </a:solidFill>
          <a:ln w="12700">
            <a:solidFill>
              <a:schemeClr val="accent1"/>
            </a:solidFill>
          </a:ln>
        </p:spPr>
        <p:txBody>
          <a:bodyPr lIns="91435" tIns="45717" rIns="91435" bIns="4571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effectLst/>
              <a:uLnTx/>
              <a:uFillTx/>
            </a:endParaRPr>
          </a:p>
        </p:txBody>
      </p:sp>
      <p:sp>
        <p:nvSpPr>
          <p:cNvPr id="138" name="object 12">
            <a:extLst>
              <a:ext uri="{FF2B5EF4-FFF2-40B4-BE49-F238E27FC236}">
                <a16:creationId xmlns:a16="http://schemas.microsoft.com/office/drawing/2014/main" id="{F7491495-BEB9-B674-6ABE-1AAD1BA012FD}"/>
              </a:ext>
            </a:extLst>
          </p:cNvPr>
          <p:cNvSpPr>
            <a:spLocks noChangeArrowheads="1"/>
          </p:cNvSpPr>
          <p:nvPr/>
        </p:nvSpPr>
        <p:spPr bwMode="auto">
          <a:xfrm>
            <a:off x="6271427" y="3853375"/>
            <a:ext cx="531701" cy="531701"/>
          </a:xfrm>
          <a:prstGeom prst="rect">
            <a:avLst/>
          </a:prstGeom>
          <a:blipFill dpi="0" rotWithShape="1">
            <a:blip r:embed="rId10"/>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a-DK" altLang="da-DK" sz="1800"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139" name="Rectangle 2">
            <a:extLst>
              <a:ext uri="{FF2B5EF4-FFF2-40B4-BE49-F238E27FC236}">
                <a16:creationId xmlns:a16="http://schemas.microsoft.com/office/drawing/2014/main" id="{9A46D27A-BE82-8E03-0DEE-D2F927BEF678}"/>
              </a:ext>
            </a:extLst>
          </p:cNvPr>
          <p:cNvSpPr txBox="1">
            <a:spLocks noChangeArrowheads="1"/>
          </p:cNvSpPr>
          <p:nvPr/>
        </p:nvSpPr>
        <p:spPr bwMode="auto">
          <a:xfrm>
            <a:off x="5199345" y="4491371"/>
            <a:ext cx="2607715" cy="380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1042988">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defTabSz="1042988">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defTabSz="1042988">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defTabSz="1042988">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defTabSz="1042988">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defTabSz="1042988"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defTabSz="1042988"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defTabSz="1042988"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defTabSz="1042988"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a:spcBef>
                <a:spcPct val="0"/>
              </a:spcBef>
              <a:buFontTx/>
              <a:buNone/>
            </a:pPr>
            <a:r>
              <a:rPr lang="en-GB" altLang="da-DK" sz="1400">
                <a:latin typeface="Trebuchet MS" panose="020B0603020202020204" pitchFamily="34" charset="0"/>
              </a:rPr>
              <a:t>All responses are </a:t>
            </a:r>
          </a:p>
          <a:p>
            <a:pPr algn="ctr">
              <a:spcBef>
                <a:spcPct val="0"/>
              </a:spcBef>
              <a:buFontTx/>
              <a:buNone/>
            </a:pPr>
            <a:r>
              <a:rPr lang="en-GB" altLang="da-DK" sz="1400">
                <a:latin typeface="Trebuchet MS" panose="020B0603020202020204" pitchFamily="34" charset="0"/>
              </a:rPr>
              <a:t>confidential</a:t>
            </a:r>
          </a:p>
          <a:p>
            <a:pPr algn="ctr">
              <a:spcBef>
                <a:spcPct val="0"/>
              </a:spcBef>
              <a:buFontTx/>
              <a:buNone/>
            </a:pPr>
            <a:endParaRPr lang="en-GB" altLang="da-DK" sz="1600">
              <a:latin typeface="Trebuchet MS" panose="020B0603020202020204" pitchFamily="34" charset="0"/>
            </a:endParaRPr>
          </a:p>
        </p:txBody>
      </p:sp>
      <p:sp>
        <p:nvSpPr>
          <p:cNvPr id="140" name="Rectangle 115">
            <a:extLst>
              <a:ext uri="{FF2B5EF4-FFF2-40B4-BE49-F238E27FC236}">
                <a16:creationId xmlns:a16="http://schemas.microsoft.com/office/drawing/2014/main" id="{7EAC5E06-5169-3238-6202-D54A88B10CC0}"/>
              </a:ext>
            </a:extLst>
          </p:cNvPr>
          <p:cNvSpPr/>
          <p:nvPr/>
        </p:nvSpPr>
        <p:spPr>
          <a:xfrm>
            <a:off x="6195244" y="4035947"/>
            <a:ext cx="684068" cy="95230"/>
          </a:xfrm>
          <a:prstGeom prst="rect">
            <a:avLst/>
          </a:prstGeom>
          <a:solidFill>
            <a:srgbClr val="B4437D"/>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a-DK" sz="1800" b="0" i="0" u="none" strike="noStrike" kern="0" cap="none" spc="0" normalizeH="0" baseline="0" noProof="0">
              <a:ln>
                <a:noFill/>
              </a:ln>
              <a:effectLst/>
              <a:uLnTx/>
              <a:uFillTx/>
              <a:latin typeface="Trebuchet MS"/>
              <a:ea typeface="+mn-ea"/>
              <a:cs typeface="+mn-cs"/>
            </a:endParaRPr>
          </a:p>
        </p:txBody>
      </p:sp>
      <p:pic>
        <p:nvPicPr>
          <p:cNvPr id="143" name="Picture 142">
            <a:extLst>
              <a:ext uri="{FF2B5EF4-FFF2-40B4-BE49-F238E27FC236}">
                <a16:creationId xmlns:a16="http://schemas.microsoft.com/office/drawing/2014/main" id="{8F7A9CF6-02EF-DE50-EB33-94BB20987EBF}"/>
              </a:ext>
            </a:extLst>
          </p:cNvPr>
          <p:cNvPicPr>
            <a:picLocks noChangeAspect="1"/>
          </p:cNvPicPr>
          <p:nvPr/>
        </p:nvPicPr>
        <p:blipFill>
          <a:blip r:embed="rId15"/>
          <a:stretch>
            <a:fillRect/>
          </a:stretch>
        </p:blipFill>
        <p:spPr>
          <a:xfrm>
            <a:off x="7769198" y="1254591"/>
            <a:ext cx="4274124" cy="3901609"/>
          </a:xfrm>
          <a:prstGeom prst="rect">
            <a:avLst/>
          </a:prstGeom>
          <a:ln w="12700">
            <a:solidFill>
              <a:schemeClr val="accent1"/>
            </a:solidFill>
          </a:ln>
        </p:spPr>
      </p:pic>
      <p:sp>
        <p:nvSpPr>
          <p:cNvPr id="4" name="Title 1">
            <a:extLst>
              <a:ext uri="{FF2B5EF4-FFF2-40B4-BE49-F238E27FC236}">
                <a16:creationId xmlns:a16="http://schemas.microsoft.com/office/drawing/2014/main" id="{341B1084-A3B5-17DE-1294-7F123D7C915F}"/>
              </a:ext>
            </a:extLst>
          </p:cNvPr>
          <p:cNvSpPr txBox="1">
            <a:spLocks/>
          </p:cNvSpPr>
          <p:nvPr/>
        </p:nvSpPr>
        <p:spPr>
          <a:xfrm>
            <a:off x="460717" y="340318"/>
            <a:ext cx="11161263" cy="554400"/>
          </a:xfrm>
          <a:prstGeom prst="rect">
            <a:avLst/>
          </a:prstGeom>
        </p:spPr>
        <p:txBody>
          <a:bodyPr vert="horz" wrap="none" lIns="0" tIns="45720" rIns="0" bIns="0" rtlCol="0" anchor="t" anchorCtr="0">
            <a:noAutofit/>
          </a:bodyPr>
          <a:lstStyle>
            <a:lvl1pPr algn="l" defTabSz="914400" rtl="0" eaLnBrk="1" latinLnBrk="0" hangingPunct="1">
              <a:lnSpc>
                <a:spcPct val="90000"/>
              </a:lnSpc>
              <a:spcBef>
                <a:spcPct val="0"/>
              </a:spcBef>
              <a:buNone/>
              <a:defRPr sz="3600" b="1"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600" b="1" i="0" u="none" strike="noStrike" kern="1200" cap="none" spc="0" normalizeH="0" baseline="0" noProof="0">
                <a:ln>
                  <a:noFill/>
                </a:ln>
                <a:solidFill>
                  <a:srgbClr val="00326E"/>
                </a:solidFill>
                <a:effectLst/>
                <a:uLnTx/>
                <a:uFillTx/>
                <a:latin typeface="Roboto Condensed"/>
                <a:ea typeface="+mj-ea"/>
                <a:cs typeface="+mj-cs"/>
              </a:rPr>
              <a:t>Tell Us! STARK UK Survey results</a:t>
            </a:r>
          </a:p>
        </p:txBody>
      </p:sp>
    </p:spTree>
    <p:extLst>
      <p:ext uri="{BB962C8B-B14F-4D97-AF65-F5344CB8AC3E}">
        <p14:creationId xmlns:p14="http://schemas.microsoft.com/office/powerpoint/2010/main" val="932307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1819E47-FB90-9445-FA47-B777C5274E67}"/>
              </a:ext>
            </a:extLst>
          </p:cNvPr>
          <p:cNvSpPr txBox="1"/>
          <p:nvPr/>
        </p:nvSpPr>
        <p:spPr>
          <a:xfrm>
            <a:off x="1104068" y="4649338"/>
            <a:ext cx="2531444" cy="646331"/>
          </a:xfrm>
          <a:prstGeom prst="rect">
            <a:avLst/>
          </a:prstGeom>
          <a:noFill/>
        </p:spPr>
        <p:txBody>
          <a:bodyPr wrap="square" lIns="0" rIns="0" rtlCol="0">
            <a:spAutoFit/>
          </a:bodyPr>
          <a:lstStyle/>
          <a:p>
            <a:pPr algn="ctr"/>
            <a:r>
              <a:rPr lang="en-US" sz="3600" b="1">
                <a:solidFill>
                  <a:srgbClr val="002060"/>
                </a:solidFill>
                <a:latin typeface="Roboto Condensed"/>
                <a:ea typeface="Roboto Condensed"/>
                <a:cs typeface="Roboto Condensed"/>
              </a:rPr>
              <a:t>DECENCY</a:t>
            </a:r>
            <a:endParaRPr lang="en-GB" sz="3600" b="1" err="1">
              <a:solidFill>
                <a:srgbClr val="002060"/>
              </a:solidFill>
              <a:latin typeface="Roboto Condensed"/>
              <a:ea typeface="Roboto Condensed"/>
              <a:cs typeface="Roboto Condensed"/>
            </a:endParaRPr>
          </a:p>
        </p:txBody>
      </p:sp>
      <p:sp>
        <p:nvSpPr>
          <p:cNvPr id="6" name="TextBox 5">
            <a:extLst>
              <a:ext uri="{FF2B5EF4-FFF2-40B4-BE49-F238E27FC236}">
                <a16:creationId xmlns:a16="http://schemas.microsoft.com/office/drawing/2014/main" id="{B74514AC-A4EF-0683-5D24-01DD70175B76}"/>
              </a:ext>
            </a:extLst>
          </p:cNvPr>
          <p:cNvSpPr txBox="1"/>
          <p:nvPr/>
        </p:nvSpPr>
        <p:spPr>
          <a:xfrm>
            <a:off x="4830279" y="4649338"/>
            <a:ext cx="2531444" cy="646331"/>
          </a:xfrm>
          <a:prstGeom prst="rect">
            <a:avLst/>
          </a:prstGeom>
          <a:noFill/>
        </p:spPr>
        <p:txBody>
          <a:bodyPr wrap="square" lIns="0" rIns="0" rtlCol="0">
            <a:spAutoFit/>
          </a:bodyPr>
          <a:lstStyle/>
          <a:p>
            <a:pPr algn="ctr"/>
            <a:r>
              <a:rPr lang="en-US" sz="3600" b="1">
                <a:solidFill>
                  <a:srgbClr val="002060"/>
                </a:solidFill>
                <a:latin typeface="Roboto Condensed"/>
                <a:ea typeface="Roboto Condensed"/>
                <a:cs typeface="Roboto Condensed"/>
              </a:rPr>
              <a:t>PASSION</a:t>
            </a:r>
            <a:endParaRPr lang="en-GB" sz="3600" b="1" err="1">
              <a:solidFill>
                <a:srgbClr val="002060"/>
              </a:solidFill>
              <a:latin typeface="Roboto Condensed"/>
              <a:ea typeface="Roboto Condensed"/>
              <a:cs typeface="Roboto Condensed"/>
            </a:endParaRPr>
          </a:p>
        </p:txBody>
      </p:sp>
      <p:sp>
        <p:nvSpPr>
          <p:cNvPr id="7" name="TextBox 6">
            <a:extLst>
              <a:ext uri="{FF2B5EF4-FFF2-40B4-BE49-F238E27FC236}">
                <a16:creationId xmlns:a16="http://schemas.microsoft.com/office/drawing/2014/main" id="{A9712B20-5969-D08A-EFB2-9759EFC8AB62}"/>
              </a:ext>
            </a:extLst>
          </p:cNvPr>
          <p:cNvSpPr txBox="1"/>
          <p:nvPr/>
        </p:nvSpPr>
        <p:spPr>
          <a:xfrm>
            <a:off x="8511139" y="4649338"/>
            <a:ext cx="2531444" cy="646331"/>
          </a:xfrm>
          <a:prstGeom prst="rect">
            <a:avLst/>
          </a:prstGeom>
          <a:noFill/>
        </p:spPr>
        <p:txBody>
          <a:bodyPr wrap="square" lIns="0" rIns="0" rtlCol="0">
            <a:spAutoFit/>
          </a:bodyPr>
          <a:lstStyle/>
          <a:p>
            <a:pPr algn="ctr"/>
            <a:r>
              <a:rPr lang="en-US" sz="3600" b="1">
                <a:solidFill>
                  <a:srgbClr val="002060"/>
                </a:solidFill>
                <a:latin typeface="Roboto Condensed"/>
                <a:ea typeface="Roboto Condensed"/>
                <a:cs typeface="Roboto Condensed"/>
              </a:rPr>
              <a:t>PRIDE</a:t>
            </a:r>
            <a:endParaRPr lang="en-GB" sz="3600" b="1" err="1">
              <a:solidFill>
                <a:srgbClr val="002060"/>
              </a:solidFill>
              <a:latin typeface="Roboto Condensed"/>
              <a:ea typeface="Roboto Condensed"/>
              <a:cs typeface="Roboto Condensed"/>
            </a:endParaRPr>
          </a:p>
        </p:txBody>
      </p:sp>
      <p:grpSp>
        <p:nvGrpSpPr>
          <p:cNvPr id="14" name="Group 13">
            <a:extLst>
              <a:ext uri="{FF2B5EF4-FFF2-40B4-BE49-F238E27FC236}">
                <a16:creationId xmlns:a16="http://schemas.microsoft.com/office/drawing/2014/main" id="{698A031D-19D7-8949-7F5B-1019071DB0AD}"/>
              </a:ext>
            </a:extLst>
          </p:cNvPr>
          <p:cNvGrpSpPr/>
          <p:nvPr/>
        </p:nvGrpSpPr>
        <p:grpSpPr>
          <a:xfrm>
            <a:off x="4750908" y="1388873"/>
            <a:ext cx="2691472" cy="3108352"/>
            <a:chOff x="4713738" y="1360995"/>
            <a:chExt cx="2756520" cy="3182693"/>
          </a:xfrm>
        </p:grpSpPr>
        <p:sp>
          <p:nvSpPr>
            <p:cNvPr id="9" name="Graphic 18">
              <a:extLst>
                <a:ext uri="{FF2B5EF4-FFF2-40B4-BE49-F238E27FC236}">
                  <a16:creationId xmlns:a16="http://schemas.microsoft.com/office/drawing/2014/main" id="{A68771D8-E86F-4AE6-5697-7C9485D12777}"/>
                </a:ext>
              </a:extLst>
            </p:cNvPr>
            <p:cNvSpPr/>
            <p:nvPr/>
          </p:nvSpPr>
          <p:spPr>
            <a:xfrm>
              <a:off x="4713738" y="1360995"/>
              <a:ext cx="2756520" cy="3182693"/>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solidFill>
                <a:schemeClr val="tx2"/>
              </a:solidFill>
              <a:prstDash val="solid"/>
              <a:miter/>
            </a:ln>
          </p:spPr>
          <p:txBody>
            <a:bodyPr rtlCol="0" anchor="ctr"/>
            <a:lstStyle/>
            <a:p>
              <a:pPr algn="ctr"/>
              <a:endParaRPr lang="en-GB"/>
            </a:p>
          </p:txBody>
        </p:sp>
        <p:pic>
          <p:nvPicPr>
            <p:cNvPr id="11" name="Picture 10" descr="A blue and white cube with a fire in the middle&#10;&#10;Description automatically generated">
              <a:extLst>
                <a:ext uri="{FF2B5EF4-FFF2-40B4-BE49-F238E27FC236}">
                  <a16:creationId xmlns:a16="http://schemas.microsoft.com/office/drawing/2014/main" id="{FE3B58A4-C222-7797-F305-90C905D586A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36970" y="1388159"/>
              <a:ext cx="2712842" cy="3133546"/>
            </a:xfrm>
            <a:prstGeom prst="rect">
              <a:avLst/>
            </a:prstGeom>
          </p:spPr>
        </p:pic>
      </p:grpSp>
      <p:grpSp>
        <p:nvGrpSpPr>
          <p:cNvPr id="10" name="Group 9">
            <a:extLst>
              <a:ext uri="{FF2B5EF4-FFF2-40B4-BE49-F238E27FC236}">
                <a16:creationId xmlns:a16="http://schemas.microsoft.com/office/drawing/2014/main" id="{A7AE9B21-252A-5076-EDA7-5733C4B7294B}"/>
              </a:ext>
            </a:extLst>
          </p:cNvPr>
          <p:cNvGrpSpPr/>
          <p:nvPr/>
        </p:nvGrpSpPr>
        <p:grpSpPr>
          <a:xfrm>
            <a:off x="8477274" y="1388873"/>
            <a:ext cx="2691472" cy="3108352"/>
            <a:chOff x="8440104" y="1360995"/>
            <a:chExt cx="2756520" cy="3182693"/>
          </a:xfrm>
        </p:grpSpPr>
        <p:sp>
          <p:nvSpPr>
            <p:cNvPr id="4" name="Graphic 18">
              <a:extLst>
                <a:ext uri="{FF2B5EF4-FFF2-40B4-BE49-F238E27FC236}">
                  <a16:creationId xmlns:a16="http://schemas.microsoft.com/office/drawing/2014/main" id="{CE326B3B-FFC4-4800-2509-8873F65F7A6C}"/>
                </a:ext>
              </a:extLst>
            </p:cNvPr>
            <p:cNvSpPr/>
            <p:nvPr/>
          </p:nvSpPr>
          <p:spPr>
            <a:xfrm>
              <a:off x="8440104" y="1360995"/>
              <a:ext cx="2756520" cy="3182693"/>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tx2"/>
            </a:solidFill>
            <a:ln w="38100" cap="flat">
              <a:solidFill>
                <a:schemeClr val="tx2"/>
              </a:solidFill>
              <a:prstDash val="solid"/>
              <a:miter/>
            </a:ln>
          </p:spPr>
          <p:txBody>
            <a:bodyPr rtlCol="0" anchor="ctr"/>
            <a:lstStyle/>
            <a:p>
              <a:pPr algn="ctr"/>
              <a:endParaRPr lang="en-GB"/>
            </a:p>
          </p:txBody>
        </p:sp>
        <p:pic>
          <p:nvPicPr>
            <p:cNvPr id="12" name="Picture 11" descr="A hexagon with a star&#10;&#10;Description automatically generated">
              <a:extLst>
                <a:ext uri="{FF2B5EF4-FFF2-40B4-BE49-F238E27FC236}">
                  <a16:creationId xmlns:a16="http://schemas.microsoft.com/office/drawing/2014/main" id="{94C70321-09AC-02EC-93E2-760B1D92E99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463336" y="1388159"/>
              <a:ext cx="2712842" cy="3133546"/>
            </a:xfrm>
            <a:prstGeom prst="rect">
              <a:avLst/>
            </a:prstGeom>
          </p:spPr>
        </p:pic>
      </p:grpSp>
      <p:pic>
        <p:nvPicPr>
          <p:cNvPr id="13" name="Picture 12" descr="A heart in a hexagon&#10;&#10;Description automatically generated">
            <a:extLst>
              <a:ext uri="{FF2B5EF4-FFF2-40B4-BE49-F238E27FC236}">
                <a16:creationId xmlns:a16="http://schemas.microsoft.com/office/drawing/2014/main" id="{68B7269D-49D2-A850-D447-80F787C86B2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3369" y="1388159"/>
            <a:ext cx="2712842" cy="3133546"/>
          </a:xfrm>
          <a:prstGeom prst="rect">
            <a:avLst/>
          </a:prstGeom>
        </p:spPr>
      </p:pic>
      <p:sp>
        <p:nvSpPr>
          <p:cNvPr id="3" name="Title 1">
            <a:extLst>
              <a:ext uri="{FF2B5EF4-FFF2-40B4-BE49-F238E27FC236}">
                <a16:creationId xmlns:a16="http://schemas.microsoft.com/office/drawing/2014/main" id="{5D012218-F25D-B62C-21F1-2ADF25CE7608}"/>
              </a:ext>
            </a:extLst>
          </p:cNvPr>
          <p:cNvSpPr txBox="1">
            <a:spLocks/>
          </p:cNvSpPr>
          <p:nvPr/>
        </p:nvSpPr>
        <p:spPr>
          <a:xfrm>
            <a:off x="514800" y="333375"/>
            <a:ext cx="11161263" cy="554400"/>
          </a:xfrm>
          <a:prstGeom prst="rect">
            <a:avLst/>
          </a:prstGeom>
        </p:spPr>
        <p:txBody>
          <a:bodyPr lIns="91440" tIns="45720" rIns="91440" bIns="4572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solidFill>
                  <a:srgbClr val="002060"/>
                </a:solidFill>
                <a:latin typeface="Roboto Condensed"/>
                <a:ea typeface="Roboto Condensed"/>
                <a:cs typeface="Roboto Condensed"/>
              </a:rPr>
              <a:t>Our STARK values</a:t>
            </a:r>
          </a:p>
        </p:txBody>
      </p:sp>
    </p:spTree>
    <p:extLst>
      <p:ext uri="{BB962C8B-B14F-4D97-AF65-F5344CB8AC3E}">
        <p14:creationId xmlns:p14="http://schemas.microsoft.com/office/powerpoint/2010/main" val="221403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5">
            <a:extLst>
              <a:ext uri="{FF2B5EF4-FFF2-40B4-BE49-F238E27FC236}">
                <a16:creationId xmlns:a16="http://schemas.microsoft.com/office/drawing/2014/main" id="{EF831639-BCBA-32CD-5CDF-0E37DA54A6F1}"/>
              </a:ext>
            </a:extLst>
          </p:cNvPr>
          <p:cNvSpPr>
            <a:spLocks noGrp="1"/>
          </p:cNvSpPr>
          <p:nvPr>
            <p:ph type="title"/>
          </p:nvPr>
        </p:nvSpPr>
        <p:spPr>
          <a:xfrm>
            <a:off x="514800" y="334800"/>
            <a:ext cx="5436738" cy="554400"/>
          </a:xfrm>
        </p:spPr>
        <p:txBody>
          <a:bodyPr/>
          <a:lstStyle/>
          <a:p>
            <a:r>
              <a:rPr lang="en-US" b="1" dirty="0">
                <a:solidFill>
                  <a:srgbClr val="002060"/>
                </a:solidFill>
                <a:latin typeface="Roboto Condensed"/>
                <a:ea typeface="Roboto Condensed"/>
                <a:cs typeface="Roboto Condensed"/>
              </a:rPr>
              <a:t>Creating our </a:t>
            </a:r>
            <a:r>
              <a:rPr lang="en-US" b="1" dirty="0" err="1">
                <a:solidFill>
                  <a:srgbClr val="002060"/>
                </a:solidFill>
                <a:latin typeface="Roboto Condensed"/>
                <a:ea typeface="Roboto Condensed"/>
                <a:cs typeface="Roboto Condensed"/>
              </a:rPr>
              <a:t>behaviours</a:t>
            </a:r>
            <a:endParaRPr lang="en-GB" b="1" dirty="0">
              <a:solidFill>
                <a:srgbClr val="002060"/>
              </a:solidFill>
              <a:latin typeface="Roboto Condensed"/>
              <a:ea typeface="Roboto Condensed"/>
              <a:cs typeface="Roboto Condensed"/>
            </a:endParaRPr>
          </a:p>
        </p:txBody>
      </p:sp>
      <p:pic>
        <p:nvPicPr>
          <p:cNvPr id="5122" name="Picture 2" descr="A blue hexagon pattern&#10;&#10;Description automatically generated">
            <a:extLst>
              <a:ext uri="{FF2B5EF4-FFF2-40B4-BE49-F238E27FC236}">
                <a16:creationId xmlns:a16="http://schemas.microsoft.com/office/drawing/2014/main" id="{9354C1BF-388E-20CC-49A6-3FFD297863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009929"/>
            <a:ext cx="12192000" cy="3254375"/>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A hexagon with a heart and text&#10;&#10;Description automatically generated">
            <a:extLst>
              <a:ext uri="{FF2B5EF4-FFF2-40B4-BE49-F238E27FC236}">
                <a16:creationId xmlns:a16="http://schemas.microsoft.com/office/drawing/2014/main" id="{C1019FC1-FF16-C7CB-B3CD-836CEE9B144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93089" y="1134174"/>
            <a:ext cx="3995332" cy="4601395"/>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A hexagon with a flame and words&#10;&#10;Description automatically generated">
            <a:extLst>
              <a:ext uri="{FF2B5EF4-FFF2-40B4-BE49-F238E27FC236}">
                <a16:creationId xmlns:a16="http://schemas.microsoft.com/office/drawing/2014/main" id="{6F6A9FE1-D8F3-F511-AE4D-01196C8C6C1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95212" y="1632097"/>
            <a:ext cx="2162967" cy="2489348"/>
          </a:xfrm>
          <a:prstGeom prst="rect">
            <a:avLst/>
          </a:prstGeom>
          <a:noFill/>
          <a:extLst>
            <a:ext uri="{909E8E84-426E-40DD-AFC4-6F175D3DCCD1}">
              <a14:hiddenFill xmlns:a14="http://schemas.microsoft.com/office/drawing/2010/main">
                <a:solidFill>
                  <a:srgbClr val="FFFFFF"/>
                </a:solidFill>
              </a14:hiddenFill>
            </a:ext>
          </a:extLst>
        </p:spPr>
      </p:pic>
      <p:pic>
        <p:nvPicPr>
          <p:cNvPr id="5127" name="Picture 7" descr="A hexagon with a star and text&#10;&#10;Description automatically generated">
            <a:extLst>
              <a:ext uri="{FF2B5EF4-FFF2-40B4-BE49-F238E27FC236}">
                <a16:creationId xmlns:a16="http://schemas.microsoft.com/office/drawing/2014/main" id="{497B1F75-6DCB-117D-D51B-16195FFE74C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159184" y="1632097"/>
            <a:ext cx="2162967" cy="24893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289928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black and white grid&#10;&#10;Description automatically generated">
            <a:extLst>
              <a:ext uri="{FF2B5EF4-FFF2-40B4-BE49-F238E27FC236}">
                <a16:creationId xmlns:a16="http://schemas.microsoft.com/office/drawing/2014/main" id="{C2820806-622D-25E1-1476-1F93D727BE43}"/>
              </a:ext>
            </a:extLst>
          </p:cNvPr>
          <p:cNvPicPr>
            <a:picLocks/>
          </p:cNvPicPr>
          <p:nvPr/>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Title 4">
            <a:extLst>
              <a:ext uri="{FF2B5EF4-FFF2-40B4-BE49-F238E27FC236}">
                <a16:creationId xmlns:a16="http://schemas.microsoft.com/office/drawing/2014/main" id="{551A9448-4001-8DC3-4923-18AF75C02BF0}"/>
              </a:ext>
            </a:extLst>
          </p:cNvPr>
          <p:cNvSpPr>
            <a:spLocks noGrp="1"/>
          </p:cNvSpPr>
          <p:nvPr>
            <p:ph type="ctrTitle"/>
          </p:nvPr>
        </p:nvSpPr>
        <p:spPr>
          <a:xfrm>
            <a:off x="220535" y="2796990"/>
            <a:ext cx="8494840" cy="778675"/>
          </a:xfrm>
        </p:spPr>
        <p:txBody>
          <a:bodyPr/>
          <a:lstStyle/>
          <a:p>
            <a:r>
              <a:rPr lang="en-US" b="1" dirty="0">
                <a:solidFill>
                  <a:srgbClr val="002060"/>
                </a:solidFill>
                <a:latin typeface="Roboto Condensed"/>
                <a:ea typeface="Roboto Condensed"/>
                <a:cs typeface="Roboto Condensed"/>
              </a:rPr>
              <a:t>Next 100 days</a:t>
            </a:r>
            <a:endParaRPr lang="en-GB" b="1" dirty="0">
              <a:solidFill>
                <a:srgbClr val="002060"/>
              </a:solidFill>
              <a:latin typeface="Roboto Condensed"/>
              <a:ea typeface="Roboto Condensed"/>
              <a:cs typeface="Roboto Condensed"/>
            </a:endParaRPr>
          </a:p>
        </p:txBody>
      </p:sp>
      <p:pic>
        <p:nvPicPr>
          <p:cNvPr id="6" name="Picture 5">
            <a:extLst>
              <a:ext uri="{FF2B5EF4-FFF2-40B4-BE49-F238E27FC236}">
                <a16:creationId xmlns:a16="http://schemas.microsoft.com/office/drawing/2014/main" id="{7A5EF0CE-22CE-9CC9-4219-811149A2DBFE}"/>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9094339" y="1035958"/>
            <a:ext cx="2708398" cy="4542973"/>
          </a:xfrm>
          <a:prstGeom prst="rect">
            <a:avLst/>
          </a:prstGeom>
        </p:spPr>
      </p:pic>
      <p:pic>
        <p:nvPicPr>
          <p:cNvPr id="8" name="Picture 7">
            <a:extLst>
              <a:ext uri="{FF2B5EF4-FFF2-40B4-BE49-F238E27FC236}">
                <a16:creationId xmlns:a16="http://schemas.microsoft.com/office/drawing/2014/main" id="{0A7F5F43-1D10-9E66-3C48-C26311EB584D}"/>
              </a:ext>
            </a:extLst>
          </p:cNvPr>
          <p:cNvPicPr>
            <a:picLocks/>
          </p:cNvPicPr>
          <p:nvPr/>
        </p:nvPicPr>
        <p:blipFill rotWithShape="1">
          <a:blip r:embed="rId5" cstate="email">
            <a:extLst>
              <a:ext uri="{28A0092B-C50C-407E-A947-70E740481C1C}">
                <a14:useLocalDpi xmlns:a14="http://schemas.microsoft.com/office/drawing/2010/main"/>
              </a:ext>
            </a:extLst>
          </a:blip>
          <a:srcRect/>
          <a:stretch/>
        </p:blipFill>
        <p:spPr>
          <a:xfrm>
            <a:off x="982535" y="0"/>
            <a:ext cx="1612901" cy="711200"/>
          </a:xfrm>
          <a:prstGeom prst="rect">
            <a:avLst/>
          </a:prstGeom>
        </p:spPr>
      </p:pic>
    </p:spTree>
    <p:extLst>
      <p:ext uri="{BB962C8B-B14F-4D97-AF65-F5344CB8AC3E}">
        <p14:creationId xmlns:p14="http://schemas.microsoft.com/office/powerpoint/2010/main" val="2846032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72379-FD50-2947-4498-F21BB214D5D8}"/>
              </a:ext>
            </a:extLst>
          </p:cNvPr>
          <p:cNvSpPr>
            <a:spLocks noGrp="1"/>
          </p:cNvSpPr>
          <p:nvPr>
            <p:ph type="title"/>
          </p:nvPr>
        </p:nvSpPr>
        <p:spPr/>
        <p:txBody>
          <a:bodyPr>
            <a:noAutofit/>
          </a:bodyPr>
          <a:lstStyle/>
          <a:p>
            <a:r>
              <a:rPr lang="en-US" sz="3600" b="1" dirty="0">
                <a:solidFill>
                  <a:srgbClr val="002060"/>
                </a:solidFill>
                <a:latin typeface="Roboto Condensed"/>
                <a:ea typeface="Roboto Condensed"/>
                <a:cs typeface="Roboto Condensed"/>
              </a:rPr>
              <a:t>Key priorities for the next 100 days</a:t>
            </a:r>
          </a:p>
        </p:txBody>
      </p:sp>
      <p:grpSp>
        <p:nvGrpSpPr>
          <p:cNvPr id="13" name="Group 12">
            <a:extLst>
              <a:ext uri="{FF2B5EF4-FFF2-40B4-BE49-F238E27FC236}">
                <a16:creationId xmlns:a16="http://schemas.microsoft.com/office/drawing/2014/main" id="{A8664704-0656-2A6A-1E87-420B4A220A5E}"/>
              </a:ext>
            </a:extLst>
          </p:cNvPr>
          <p:cNvGrpSpPr/>
          <p:nvPr/>
        </p:nvGrpSpPr>
        <p:grpSpPr>
          <a:xfrm>
            <a:off x="1978728" y="2878958"/>
            <a:ext cx="2444402" cy="2823879"/>
            <a:chOff x="9889616" y="268357"/>
            <a:chExt cx="1811214" cy="2092394"/>
          </a:xfrm>
        </p:grpSpPr>
        <p:pic>
          <p:nvPicPr>
            <p:cNvPr id="14" name="Picture 13" descr="A blue and white cube&#10;&#10;Description automatically generated">
              <a:extLst>
                <a:ext uri="{FF2B5EF4-FFF2-40B4-BE49-F238E27FC236}">
                  <a16:creationId xmlns:a16="http://schemas.microsoft.com/office/drawing/2014/main" id="{DEDEFAAC-844E-AFDA-69A0-31F9E136FE65}"/>
                </a:ext>
              </a:extLst>
            </p:cNvPr>
            <p:cNvPicPr>
              <a:picLocks noChangeAspect="1"/>
            </p:cNvPicPr>
            <p:nvPr/>
          </p:nvPicPr>
          <p:blipFill>
            <a:blip r:embed="rId3" cstate="print">
              <a:extLst>
                <a:ext uri="{28A0092B-C50C-407E-A947-70E740481C1C}">
                  <a14:useLocalDpi xmlns:a14="http://schemas.microsoft.com/office/drawing/2010/main" val="0"/>
                </a:ext>
              </a:extLst>
            </a:blip>
            <a:srcRect r="14"/>
            <a:stretch>
              <a:fillRect/>
            </a:stretch>
          </p:blipFill>
          <p:spPr>
            <a:xfrm>
              <a:off x="9889616" y="268357"/>
              <a:ext cx="1811214" cy="2092394"/>
            </a:xfrm>
            <a:prstGeom prst="rect">
              <a:avLst/>
            </a:prstGeom>
          </p:spPr>
        </p:pic>
        <p:sp>
          <p:nvSpPr>
            <p:cNvPr id="15" name="Graphic 18">
              <a:extLst>
                <a:ext uri="{FF2B5EF4-FFF2-40B4-BE49-F238E27FC236}">
                  <a16:creationId xmlns:a16="http://schemas.microsoft.com/office/drawing/2014/main" id="{A8C47CBB-66D2-8D7B-E4CE-0FB09B8343CA}"/>
                </a:ext>
              </a:extLst>
            </p:cNvPr>
            <p:cNvSpPr/>
            <p:nvPr/>
          </p:nvSpPr>
          <p:spPr>
            <a:xfrm>
              <a:off x="10001952" y="400514"/>
              <a:ext cx="1582632" cy="1827568"/>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bg1">
                <a:alpha val="92000"/>
              </a:schemeClr>
            </a:solidFill>
            <a:ln w="38100" cap="flat">
              <a:noFill/>
              <a:prstDash val="solid"/>
              <a:miter/>
            </a:ln>
          </p:spPr>
          <p:txBody>
            <a:bodyPr lIns="216000" tIns="7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00326E"/>
                  </a:solidFill>
                  <a:effectLst/>
                  <a:uLnTx/>
                  <a:uFillTx/>
                  <a:latin typeface="Roboto Condensed"/>
                  <a:ea typeface="+mn-ea"/>
                  <a:cs typeface="+mn-cs"/>
                </a:rPr>
                <a:t>Grow our live credit customers</a:t>
              </a:r>
            </a:p>
          </p:txBody>
        </p:sp>
      </p:grpSp>
      <p:grpSp>
        <p:nvGrpSpPr>
          <p:cNvPr id="16" name="Group 15">
            <a:extLst>
              <a:ext uri="{FF2B5EF4-FFF2-40B4-BE49-F238E27FC236}">
                <a16:creationId xmlns:a16="http://schemas.microsoft.com/office/drawing/2014/main" id="{FECC23CE-0571-800A-206C-57D95795ADB1}"/>
              </a:ext>
            </a:extLst>
          </p:cNvPr>
          <p:cNvGrpSpPr/>
          <p:nvPr/>
        </p:nvGrpSpPr>
        <p:grpSpPr>
          <a:xfrm>
            <a:off x="4873230" y="2879304"/>
            <a:ext cx="2444402" cy="2823879"/>
            <a:chOff x="9889616" y="268357"/>
            <a:chExt cx="1811214" cy="2092394"/>
          </a:xfrm>
        </p:grpSpPr>
        <p:pic>
          <p:nvPicPr>
            <p:cNvPr id="17" name="Picture 16" descr="A blue and white cube&#10;&#10;Description automatically generated">
              <a:extLst>
                <a:ext uri="{FF2B5EF4-FFF2-40B4-BE49-F238E27FC236}">
                  <a16:creationId xmlns:a16="http://schemas.microsoft.com/office/drawing/2014/main" id="{E648E0E4-C6A7-672E-9792-D13B2A9129EE}"/>
                </a:ext>
              </a:extLst>
            </p:cNvPr>
            <p:cNvPicPr>
              <a:picLocks noChangeAspect="1"/>
            </p:cNvPicPr>
            <p:nvPr/>
          </p:nvPicPr>
          <p:blipFill>
            <a:blip r:embed="rId3" cstate="print">
              <a:extLst>
                <a:ext uri="{28A0092B-C50C-407E-A947-70E740481C1C}">
                  <a14:useLocalDpi xmlns:a14="http://schemas.microsoft.com/office/drawing/2010/main" val="0"/>
                </a:ext>
              </a:extLst>
            </a:blip>
            <a:srcRect r="14"/>
            <a:stretch>
              <a:fillRect/>
            </a:stretch>
          </p:blipFill>
          <p:spPr>
            <a:xfrm>
              <a:off x="9889616" y="268357"/>
              <a:ext cx="1811214" cy="2092394"/>
            </a:xfrm>
            <a:prstGeom prst="rect">
              <a:avLst/>
            </a:prstGeom>
          </p:spPr>
        </p:pic>
        <p:sp>
          <p:nvSpPr>
            <p:cNvPr id="18" name="Graphic 18">
              <a:extLst>
                <a:ext uri="{FF2B5EF4-FFF2-40B4-BE49-F238E27FC236}">
                  <a16:creationId xmlns:a16="http://schemas.microsoft.com/office/drawing/2014/main" id="{33E037F8-3557-6C26-E5A8-C2BDEE6BC838}"/>
                </a:ext>
              </a:extLst>
            </p:cNvPr>
            <p:cNvSpPr/>
            <p:nvPr/>
          </p:nvSpPr>
          <p:spPr>
            <a:xfrm>
              <a:off x="10001952" y="400514"/>
              <a:ext cx="1605326" cy="1827568"/>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bg1">
                <a:alpha val="92000"/>
              </a:schemeClr>
            </a:solidFill>
            <a:ln w="38100" cap="flat">
              <a:noFill/>
              <a:prstDash val="solid"/>
              <a:miter/>
            </a:ln>
          </p:spPr>
          <p:txBody>
            <a:bodyPr lIns="216000" tIns="7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326E"/>
                  </a:solidFill>
                  <a:effectLst/>
                  <a:uLnTx/>
                  <a:uFillTx/>
                  <a:latin typeface="Roboto Condensed"/>
                  <a:ea typeface="+mn-ea"/>
                  <a:cs typeface="+mn-cs"/>
                </a:rPr>
                <a:t>Grow our collections per day</a:t>
              </a:r>
            </a:p>
          </p:txBody>
        </p:sp>
      </p:grpSp>
      <p:grpSp>
        <p:nvGrpSpPr>
          <p:cNvPr id="22" name="Group 21">
            <a:extLst>
              <a:ext uri="{FF2B5EF4-FFF2-40B4-BE49-F238E27FC236}">
                <a16:creationId xmlns:a16="http://schemas.microsoft.com/office/drawing/2014/main" id="{3AC7B3D2-FF4E-31A8-19B7-4FEA7732ACF5}"/>
              </a:ext>
            </a:extLst>
          </p:cNvPr>
          <p:cNvGrpSpPr/>
          <p:nvPr/>
        </p:nvGrpSpPr>
        <p:grpSpPr>
          <a:xfrm>
            <a:off x="7767732" y="2878958"/>
            <a:ext cx="2444402" cy="2823879"/>
            <a:chOff x="9889616" y="268357"/>
            <a:chExt cx="1811214" cy="2092394"/>
          </a:xfrm>
        </p:grpSpPr>
        <p:pic>
          <p:nvPicPr>
            <p:cNvPr id="23" name="Picture 22" descr="A blue and white cube&#10;&#10;Description automatically generated">
              <a:extLst>
                <a:ext uri="{FF2B5EF4-FFF2-40B4-BE49-F238E27FC236}">
                  <a16:creationId xmlns:a16="http://schemas.microsoft.com/office/drawing/2014/main" id="{8EA6488D-562C-0893-919E-391CD32EEB9B}"/>
                </a:ext>
              </a:extLst>
            </p:cNvPr>
            <p:cNvPicPr>
              <a:picLocks noChangeAspect="1"/>
            </p:cNvPicPr>
            <p:nvPr/>
          </p:nvPicPr>
          <p:blipFill>
            <a:blip r:embed="rId3" cstate="print">
              <a:extLst>
                <a:ext uri="{28A0092B-C50C-407E-A947-70E740481C1C}">
                  <a14:useLocalDpi xmlns:a14="http://schemas.microsoft.com/office/drawing/2010/main" val="0"/>
                </a:ext>
              </a:extLst>
            </a:blip>
            <a:srcRect r="14"/>
            <a:stretch>
              <a:fillRect/>
            </a:stretch>
          </p:blipFill>
          <p:spPr>
            <a:xfrm>
              <a:off x="9889616" y="268357"/>
              <a:ext cx="1811214" cy="2092394"/>
            </a:xfrm>
            <a:prstGeom prst="rect">
              <a:avLst/>
            </a:prstGeom>
          </p:spPr>
        </p:pic>
        <p:sp>
          <p:nvSpPr>
            <p:cNvPr id="24" name="Graphic 18">
              <a:extLst>
                <a:ext uri="{FF2B5EF4-FFF2-40B4-BE49-F238E27FC236}">
                  <a16:creationId xmlns:a16="http://schemas.microsoft.com/office/drawing/2014/main" id="{95E07238-1D8D-33AD-38CA-F5FC984D0A72}"/>
                </a:ext>
              </a:extLst>
            </p:cNvPr>
            <p:cNvSpPr/>
            <p:nvPr/>
          </p:nvSpPr>
          <p:spPr>
            <a:xfrm>
              <a:off x="10001952" y="400514"/>
              <a:ext cx="1582632" cy="1827568"/>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chemeClr val="bg1">
                <a:alpha val="92000"/>
              </a:schemeClr>
            </a:solidFill>
            <a:ln w="38100" cap="flat">
              <a:noFill/>
              <a:prstDash val="solid"/>
              <a:miter/>
            </a:ln>
          </p:spPr>
          <p:txBody>
            <a:bodyPr lIns="216000" tIns="72000" rIns="21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00326E"/>
                  </a:solidFill>
                  <a:effectLst/>
                  <a:uLnTx/>
                  <a:uFillTx/>
                  <a:latin typeface="Roboto Condensed"/>
                  <a:ea typeface="+mn-ea"/>
                  <a:cs typeface="+mn-cs"/>
                </a:rPr>
                <a:t> Grow our deliveries per vehicle per day</a:t>
              </a:r>
            </a:p>
          </p:txBody>
        </p:sp>
      </p:grpSp>
      <p:sp>
        <p:nvSpPr>
          <p:cNvPr id="27" name="TextBox 26">
            <a:extLst>
              <a:ext uri="{FF2B5EF4-FFF2-40B4-BE49-F238E27FC236}">
                <a16:creationId xmlns:a16="http://schemas.microsoft.com/office/drawing/2014/main" id="{EF42EEA6-60FD-F628-980D-351467DFFC2B}"/>
              </a:ext>
            </a:extLst>
          </p:cNvPr>
          <p:cNvSpPr txBox="1"/>
          <p:nvPr/>
        </p:nvSpPr>
        <p:spPr>
          <a:xfrm>
            <a:off x="406116" y="1375708"/>
            <a:ext cx="11379769" cy="101566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0" cap="all" spc="-150" normalizeH="0" baseline="0" noProof="0" dirty="0">
                <a:ln>
                  <a:noFill/>
                </a:ln>
                <a:solidFill>
                  <a:srgbClr val="00326E"/>
                </a:solidFill>
                <a:effectLst/>
                <a:uLnTx/>
                <a:uFillTx/>
                <a:latin typeface="Roboto Condensed"/>
                <a:ea typeface="+mn-ea"/>
                <a:cs typeface="+mn-cs"/>
              </a:rPr>
              <a:t>Grow, grow, grow… </a:t>
            </a:r>
            <a:endParaRPr kumimoji="0" lang="en-US" sz="1800" b="0" i="0" u="none" strike="noStrike" kern="1200" cap="none" spc="0" normalizeH="0" baseline="0" noProof="0" dirty="0">
              <a:ln>
                <a:noFill/>
              </a:ln>
              <a:solidFill>
                <a:srgbClr val="000000"/>
              </a:solidFill>
              <a:effectLst/>
              <a:uLnTx/>
              <a:uFillTx/>
              <a:latin typeface="Roboto"/>
              <a:ea typeface="+mn-ea"/>
              <a:cs typeface="+mn-cs"/>
            </a:endParaRPr>
          </a:p>
        </p:txBody>
      </p:sp>
    </p:spTree>
    <p:extLst>
      <p:ext uri="{BB962C8B-B14F-4D97-AF65-F5344CB8AC3E}">
        <p14:creationId xmlns:p14="http://schemas.microsoft.com/office/powerpoint/2010/main" val="2874549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40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6" presetClass="emph" presetSubtype="0" fill="hold" nodeType="withEffect">
                                  <p:stCondLst>
                                    <p:cond delay="400"/>
                                  </p:stCondLst>
                                  <p:childTnLst>
                                    <p:animScale>
                                      <p:cBhvr>
                                        <p:cTn id="9" dur="10" fill="hold"/>
                                        <p:tgtEl>
                                          <p:spTgt spid="13"/>
                                        </p:tgtEl>
                                      </p:cBhvr>
                                      <p:by x="125000" y="125000"/>
                                    </p:animScale>
                                  </p:childTnLst>
                                </p:cTn>
                              </p:par>
                              <p:par>
                                <p:cTn id="10" presetID="6" presetClass="emph" presetSubtype="0" decel="100000" fill="hold" nodeType="withEffect">
                                  <p:stCondLst>
                                    <p:cond delay="400"/>
                                  </p:stCondLst>
                                  <p:childTnLst>
                                    <p:animScale>
                                      <p:cBhvr>
                                        <p:cTn id="11" dur="750" fill="hold"/>
                                        <p:tgtEl>
                                          <p:spTgt spid="13"/>
                                        </p:tgtEl>
                                      </p:cBhvr>
                                      <p:by x="80000" y="80000"/>
                                    </p:animScale>
                                  </p:childTnLst>
                                </p:cTn>
                              </p:par>
                              <p:par>
                                <p:cTn id="12" presetID="10" presetClass="entr" presetSubtype="0" fill="hold" nodeType="withEffect">
                                  <p:stCondLst>
                                    <p:cond delay="500"/>
                                  </p:stCondLst>
                                  <p:childTnLst>
                                    <p:set>
                                      <p:cBhvr>
                                        <p:cTn id="13" dur="1" fill="hold">
                                          <p:stCondLst>
                                            <p:cond delay="0"/>
                                          </p:stCondLst>
                                        </p:cTn>
                                        <p:tgtEl>
                                          <p:spTgt spid="16"/>
                                        </p:tgtEl>
                                        <p:attrNameLst>
                                          <p:attrName>style.visibility</p:attrName>
                                        </p:attrNameLst>
                                      </p:cBhvr>
                                      <p:to>
                                        <p:strVal val="visible"/>
                                      </p:to>
                                    </p:set>
                                    <p:animEffect transition="in" filter="fade">
                                      <p:cBhvr>
                                        <p:cTn id="14" dur="500"/>
                                        <p:tgtEl>
                                          <p:spTgt spid="16"/>
                                        </p:tgtEl>
                                      </p:cBhvr>
                                    </p:animEffect>
                                  </p:childTnLst>
                                </p:cTn>
                              </p:par>
                              <p:par>
                                <p:cTn id="15" presetID="6" presetClass="emph" presetSubtype="0" fill="hold" nodeType="withEffect">
                                  <p:stCondLst>
                                    <p:cond delay="500"/>
                                  </p:stCondLst>
                                  <p:childTnLst>
                                    <p:animScale>
                                      <p:cBhvr>
                                        <p:cTn id="16" dur="10" fill="hold"/>
                                        <p:tgtEl>
                                          <p:spTgt spid="16"/>
                                        </p:tgtEl>
                                      </p:cBhvr>
                                      <p:by x="125000" y="125000"/>
                                    </p:animScale>
                                  </p:childTnLst>
                                </p:cTn>
                              </p:par>
                              <p:par>
                                <p:cTn id="17" presetID="6" presetClass="emph" presetSubtype="0" decel="100000" fill="hold" nodeType="withEffect">
                                  <p:stCondLst>
                                    <p:cond delay="500"/>
                                  </p:stCondLst>
                                  <p:childTnLst>
                                    <p:animScale>
                                      <p:cBhvr>
                                        <p:cTn id="18" dur="750" fill="hold"/>
                                        <p:tgtEl>
                                          <p:spTgt spid="16"/>
                                        </p:tgtEl>
                                      </p:cBhvr>
                                      <p:by x="80000" y="80000"/>
                                    </p:animScale>
                                  </p:childTnLst>
                                </p:cTn>
                              </p:par>
                              <p:par>
                                <p:cTn id="19" presetID="10" presetClass="entr" presetSubtype="0" fill="hold" nodeType="withEffect">
                                  <p:stCondLst>
                                    <p:cond delay="700"/>
                                  </p:stCondLst>
                                  <p:childTnLst>
                                    <p:set>
                                      <p:cBhvr>
                                        <p:cTn id="20" dur="1" fill="hold">
                                          <p:stCondLst>
                                            <p:cond delay="0"/>
                                          </p:stCondLst>
                                        </p:cTn>
                                        <p:tgtEl>
                                          <p:spTgt spid="22"/>
                                        </p:tgtEl>
                                        <p:attrNameLst>
                                          <p:attrName>style.visibility</p:attrName>
                                        </p:attrNameLst>
                                      </p:cBhvr>
                                      <p:to>
                                        <p:strVal val="visible"/>
                                      </p:to>
                                    </p:set>
                                    <p:animEffect transition="in" filter="fade">
                                      <p:cBhvr>
                                        <p:cTn id="21" dur="500"/>
                                        <p:tgtEl>
                                          <p:spTgt spid="22"/>
                                        </p:tgtEl>
                                      </p:cBhvr>
                                    </p:animEffect>
                                  </p:childTnLst>
                                </p:cTn>
                              </p:par>
                              <p:par>
                                <p:cTn id="22" presetID="6" presetClass="emph" presetSubtype="0" fill="hold" nodeType="withEffect">
                                  <p:stCondLst>
                                    <p:cond delay="700"/>
                                  </p:stCondLst>
                                  <p:childTnLst>
                                    <p:animScale>
                                      <p:cBhvr>
                                        <p:cTn id="23" dur="10" fill="hold"/>
                                        <p:tgtEl>
                                          <p:spTgt spid="22"/>
                                        </p:tgtEl>
                                      </p:cBhvr>
                                      <p:by x="125000" y="125000"/>
                                    </p:animScale>
                                  </p:childTnLst>
                                </p:cTn>
                              </p:par>
                              <p:par>
                                <p:cTn id="24" presetID="6" presetClass="emph" presetSubtype="0" decel="100000" fill="hold" nodeType="withEffect">
                                  <p:stCondLst>
                                    <p:cond delay="700"/>
                                  </p:stCondLst>
                                  <p:childTnLst>
                                    <p:animScale>
                                      <p:cBhvr>
                                        <p:cTn id="25" dur="750" fill="hold"/>
                                        <p:tgtEl>
                                          <p:spTgt spid="22"/>
                                        </p:tgtEl>
                                      </p:cBhvr>
                                      <p:by x="80000" y="8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BD7FE-A052-A3B9-72C9-3AC68577B04F}"/>
              </a:ext>
            </a:extLst>
          </p:cNvPr>
          <p:cNvSpPr>
            <a:spLocks noGrp="1"/>
          </p:cNvSpPr>
          <p:nvPr>
            <p:ph type="ctrTitle"/>
          </p:nvPr>
        </p:nvSpPr>
        <p:spPr>
          <a:xfrm>
            <a:off x="931735" y="1080676"/>
            <a:ext cx="4567365" cy="1452705"/>
          </a:xfrm>
        </p:spPr>
        <p:txBody>
          <a:bodyPr wrap="square" anchor="t">
            <a:noAutofit/>
          </a:bodyPr>
          <a:lstStyle/>
          <a:p>
            <a:pPr>
              <a:lnSpc>
                <a:spcPct val="70000"/>
              </a:lnSpc>
            </a:pPr>
            <a:r>
              <a:rPr lang="en-GB" sz="5400">
                <a:solidFill>
                  <a:schemeClr val="accent3"/>
                </a:solidFill>
              </a:rPr>
              <a:t>BETTER</a:t>
            </a:r>
            <a:r>
              <a:rPr lang="en-GB" sz="5400"/>
              <a:t> </a:t>
            </a:r>
            <a:br>
              <a:rPr lang="en-GB" sz="5400"/>
            </a:br>
            <a:r>
              <a:rPr lang="en-GB" sz="5400"/>
              <a:t>STARTS WITH EACH OF US</a:t>
            </a:r>
            <a:br>
              <a:rPr lang="en-GB" sz="5400"/>
            </a:br>
            <a:r>
              <a:rPr lang="en-GB" sz="5400"/>
              <a:t> </a:t>
            </a:r>
            <a:br>
              <a:rPr lang="en-GB" sz="5400"/>
            </a:br>
            <a:r>
              <a:rPr lang="en-GB" sz="5400">
                <a:solidFill>
                  <a:schemeClr val="accent3"/>
                </a:solidFill>
              </a:rPr>
              <a:t>BETTER</a:t>
            </a:r>
            <a:r>
              <a:rPr lang="en-GB" sz="5400"/>
              <a:t> </a:t>
            </a:r>
            <a:br>
              <a:rPr lang="en-GB" sz="5400"/>
            </a:br>
            <a:r>
              <a:rPr lang="en-GB" sz="5400"/>
              <a:t>STARTS TODAY</a:t>
            </a:r>
            <a:br>
              <a:rPr lang="en-GB" sz="5400"/>
            </a:br>
            <a:br>
              <a:rPr lang="en-GB" sz="5400"/>
            </a:br>
            <a:r>
              <a:rPr lang="en-GB" sz="5400"/>
              <a:t>TRUST IN </a:t>
            </a:r>
            <a:r>
              <a:rPr lang="en-GB" sz="5400">
                <a:solidFill>
                  <a:schemeClr val="accent3"/>
                </a:solidFill>
              </a:rPr>
              <a:t>BETTER</a:t>
            </a:r>
            <a:endParaRPr lang="en-US" sz="5400" b="0">
              <a:solidFill>
                <a:schemeClr val="accent3"/>
              </a:solidFill>
            </a:endParaRPr>
          </a:p>
          <a:p>
            <a:pPr>
              <a:lnSpc>
                <a:spcPct val="70000"/>
              </a:lnSpc>
            </a:pPr>
            <a:endParaRPr lang="en-US" sz="5400"/>
          </a:p>
        </p:txBody>
      </p:sp>
      <p:sp>
        <p:nvSpPr>
          <p:cNvPr id="4" name="Slide Number Placeholder 3" hidden="1">
            <a:extLst>
              <a:ext uri="{FF2B5EF4-FFF2-40B4-BE49-F238E27FC236}">
                <a16:creationId xmlns:a16="http://schemas.microsoft.com/office/drawing/2014/main" id="{FCDA7938-8FA0-BF53-06D2-ED76872481BC}"/>
              </a:ext>
            </a:extLst>
          </p:cNvPr>
          <p:cNvSpPr>
            <a:spLocks noGrp="1"/>
          </p:cNvSpPr>
          <p:nvPr>
            <p:ph type="sldNum" sz="quarter" idx="4294967295"/>
          </p:nvPr>
        </p:nvSpPr>
        <p:spPr>
          <a:xfrm>
            <a:off x="0" y="6499225"/>
            <a:ext cx="323850" cy="323850"/>
          </a:xfrm>
          <a:prstGeom prst="rect">
            <a:avLst/>
          </a:prstGeo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EA97C5ED-C1DE-4316-8FCE-7E084E7B171C}" type="slidenum">
              <a:rPr kumimoji="0" lang="en-GB" sz="1800" b="0" i="0" u="none" strike="noStrike" kern="1200" cap="none" spc="0" normalizeH="0" baseline="0" noProof="0" smtClean="0">
                <a:ln>
                  <a:noFill/>
                </a:ln>
                <a:solidFill>
                  <a:srgbClr val="000000"/>
                </a:solidFill>
                <a:effectLst/>
                <a:uLnTx/>
                <a:uFillTx/>
                <a:latin typeface="Roboto"/>
                <a:ea typeface="+mn-ea"/>
                <a:cs typeface="+mn-cs"/>
              </a:rPr>
              <a:pPr marL="0" marR="0" lvl="0" indent="0" algn="l" defTabSz="914400" rtl="0" eaLnBrk="1" fontAlgn="auto" latinLnBrk="0" hangingPunct="1">
                <a:lnSpc>
                  <a:spcPct val="100000"/>
                </a:lnSpc>
                <a:spcBef>
                  <a:spcPts val="0"/>
                </a:spcBef>
                <a:spcAft>
                  <a:spcPts val="600"/>
                </a:spcAft>
                <a:buClrTx/>
                <a:buSzTx/>
                <a:buFontTx/>
                <a:buNone/>
                <a:tabLst/>
                <a:defRPr/>
              </a:pPr>
              <a:t>37</a:t>
            </a:fld>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Tree>
    <p:extLst>
      <p:ext uri="{BB962C8B-B14F-4D97-AF65-F5344CB8AC3E}">
        <p14:creationId xmlns:p14="http://schemas.microsoft.com/office/powerpoint/2010/main" val="18371462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Freeform: Shape 9" hidden="1">
            <a:extLst>
              <a:ext uri="{FF2B5EF4-FFF2-40B4-BE49-F238E27FC236}">
                <a16:creationId xmlns:a16="http://schemas.microsoft.com/office/drawing/2014/main" id="{DA71A47B-E04D-C306-DACB-37D921763AD1}"/>
              </a:ext>
            </a:extLst>
          </p:cNvPr>
          <p:cNvSpPr/>
          <p:nvPr/>
        </p:nvSpPr>
        <p:spPr>
          <a:xfrm>
            <a:off x="0" y="0"/>
            <a:ext cx="11323974" cy="6858000"/>
          </a:xfrm>
          <a:custGeom>
            <a:avLst/>
            <a:gdLst>
              <a:gd name="connsiteX0" fmla="*/ 0 w 11323974"/>
              <a:gd name="connsiteY0" fmla="*/ 0 h 6858000"/>
              <a:gd name="connsiteX1" fmla="*/ 6858708 w 11323974"/>
              <a:gd name="connsiteY1" fmla="*/ 0 h 6858000"/>
              <a:gd name="connsiteX2" fmla="*/ 7934550 w 11323974"/>
              <a:gd name="connsiteY2" fmla="*/ 0 h 6858000"/>
              <a:gd name="connsiteX3" fmla="*/ 11323650 w 11323974"/>
              <a:gd name="connsiteY3" fmla="*/ 0 h 6858000"/>
              <a:gd name="connsiteX4" fmla="*/ 11323650 w 11323974"/>
              <a:gd name="connsiteY4" fmla="*/ 4867452 h 6858000"/>
              <a:gd name="connsiteX5" fmla="*/ 7934226 w 11323974"/>
              <a:gd name="connsiteY5" fmla="*/ 6855617 h 6858000"/>
              <a:gd name="connsiteX6" fmla="*/ 11323974 w 11323974"/>
              <a:gd name="connsiteY6" fmla="*/ 6855246 h 6858000"/>
              <a:gd name="connsiteX7" fmla="*/ 11323974 w 11323974"/>
              <a:gd name="connsiteY7" fmla="*/ 6855617 h 6858000"/>
              <a:gd name="connsiteX8" fmla="*/ 11323974 w 11323974"/>
              <a:gd name="connsiteY8" fmla="*/ 6858000 h 6858000"/>
              <a:gd name="connsiteX9" fmla="*/ 6858708 w 11323974"/>
              <a:gd name="connsiteY9" fmla="*/ 6858000 h 6858000"/>
              <a:gd name="connsiteX10" fmla="*/ 6858708 w 11323974"/>
              <a:gd name="connsiteY10" fmla="*/ 6855348 h 6858000"/>
              <a:gd name="connsiteX11" fmla="*/ 0 w 11323974"/>
              <a:gd name="connsiteY11" fmla="*/ 68549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323974" h="6858000">
                <a:moveTo>
                  <a:pt x="0" y="0"/>
                </a:moveTo>
                <a:lnTo>
                  <a:pt x="6858708" y="0"/>
                </a:lnTo>
                <a:lnTo>
                  <a:pt x="7934550" y="0"/>
                </a:lnTo>
                <a:lnTo>
                  <a:pt x="11323650" y="0"/>
                </a:lnTo>
                <a:lnTo>
                  <a:pt x="11323650" y="4867452"/>
                </a:lnTo>
                <a:lnTo>
                  <a:pt x="7934226" y="6855617"/>
                </a:lnTo>
                <a:lnTo>
                  <a:pt x="11323974" y="6855246"/>
                </a:lnTo>
                <a:lnTo>
                  <a:pt x="11323974" y="6855617"/>
                </a:lnTo>
                <a:lnTo>
                  <a:pt x="11323974" y="6858000"/>
                </a:lnTo>
                <a:lnTo>
                  <a:pt x="6858708" y="6858000"/>
                </a:lnTo>
                <a:lnTo>
                  <a:pt x="6858708" y="6855348"/>
                </a:lnTo>
                <a:lnTo>
                  <a:pt x="0" y="6854935"/>
                </a:lnTo>
                <a:close/>
              </a:path>
            </a:pathLst>
          </a:custGeom>
          <a:gradFill>
            <a:gsLst>
              <a:gs pos="0">
                <a:schemeClr val="tx1">
                  <a:alpha val="80000"/>
                </a:schemeClr>
              </a:gs>
              <a:gs pos="30000">
                <a:schemeClr val="tx1">
                  <a:alpha val="26000"/>
                </a:schemeClr>
              </a:gs>
              <a:gs pos="64000">
                <a:schemeClr val="tx1">
                  <a:alpha val="0"/>
                </a:schemeClr>
              </a:gs>
              <a:gs pos="100000">
                <a:schemeClr val="tx1">
                  <a:alpha val="1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Roboto"/>
              <a:ea typeface="+mn-ea"/>
              <a:cs typeface="+mn-cs"/>
            </a:endParaRPr>
          </a:p>
        </p:txBody>
      </p:sp>
      <p:pic>
        <p:nvPicPr>
          <p:cNvPr id="15" name="Picture 14" descr="A black and white grid&#10;&#10;Description automatically generated">
            <a:extLst>
              <a:ext uri="{FF2B5EF4-FFF2-40B4-BE49-F238E27FC236}">
                <a16:creationId xmlns:a16="http://schemas.microsoft.com/office/drawing/2014/main" id="{F27A444A-A68D-80A8-90BC-6415344F36FB}"/>
              </a:ext>
            </a:extLst>
          </p:cNvPr>
          <p:cNvPicPr>
            <a:picLocks/>
          </p:cNvPicPr>
          <p:nvPr/>
        </p:nvPicPr>
        <p:blipFill>
          <a:blip r:embed="rId4" cstate="email">
            <a:alphaModFix amt="2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7" name="Picture 16">
            <a:extLst>
              <a:ext uri="{FF2B5EF4-FFF2-40B4-BE49-F238E27FC236}">
                <a16:creationId xmlns:a16="http://schemas.microsoft.com/office/drawing/2014/main" id="{CC42A99A-B15C-9D9D-20FC-8ABF3AB48764}"/>
              </a:ext>
            </a:extLst>
          </p:cNvPr>
          <p:cNvPicPr>
            <a:picLocks/>
          </p:cNvPicPr>
          <p:nvPr/>
        </p:nvPicPr>
        <p:blipFill rotWithShape="1">
          <a:blip r:embed="rId5" cstate="email">
            <a:extLst>
              <a:ext uri="{28A0092B-C50C-407E-A947-70E740481C1C}">
                <a14:useLocalDpi xmlns:a14="http://schemas.microsoft.com/office/drawing/2010/main"/>
              </a:ext>
            </a:extLst>
          </a:blip>
          <a:srcRect/>
          <a:stretch/>
        </p:blipFill>
        <p:spPr>
          <a:xfrm>
            <a:off x="10261599" y="0"/>
            <a:ext cx="1612901" cy="711200"/>
          </a:xfrm>
          <a:prstGeom prst="rect">
            <a:avLst/>
          </a:prstGeom>
        </p:spPr>
      </p:pic>
    </p:spTree>
    <p:extLst>
      <p:ext uri="{BB962C8B-B14F-4D97-AF65-F5344CB8AC3E}">
        <p14:creationId xmlns:p14="http://schemas.microsoft.com/office/powerpoint/2010/main" val="3686071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51A9448-4001-8DC3-4923-18AF75C02BF0}"/>
              </a:ext>
            </a:extLst>
          </p:cNvPr>
          <p:cNvSpPr>
            <a:spLocks noGrp="1"/>
          </p:cNvSpPr>
          <p:nvPr>
            <p:ph type="ctrTitle"/>
          </p:nvPr>
        </p:nvSpPr>
        <p:spPr>
          <a:xfrm>
            <a:off x="919035" y="2619190"/>
            <a:ext cx="6306585" cy="778675"/>
          </a:xfrm>
        </p:spPr>
        <p:txBody>
          <a:bodyPr/>
          <a:lstStyle/>
          <a:p>
            <a:r>
              <a:rPr lang="en-US" b="1" dirty="0">
                <a:solidFill>
                  <a:srgbClr val="002060"/>
                </a:solidFill>
                <a:latin typeface="Roboto Condensed"/>
                <a:ea typeface="Roboto Condensed"/>
                <a:cs typeface="Roboto Condensed"/>
              </a:rPr>
              <a:t>appendix</a:t>
            </a:r>
            <a:endParaRPr lang="en-GB" b="1" dirty="0">
              <a:solidFill>
                <a:srgbClr val="002060"/>
              </a:solidFill>
              <a:latin typeface="Roboto Condensed"/>
              <a:ea typeface="Roboto Condensed"/>
              <a:cs typeface="Roboto Condensed"/>
            </a:endParaRPr>
          </a:p>
        </p:txBody>
      </p:sp>
      <p:sp>
        <p:nvSpPr>
          <p:cNvPr id="15" name="Title 4">
            <a:extLst>
              <a:ext uri="{FF2B5EF4-FFF2-40B4-BE49-F238E27FC236}">
                <a16:creationId xmlns:a16="http://schemas.microsoft.com/office/drawing/2014/main" id="{B1DADE39-550C-03BC-8B38-ADF77C2FEC61}"/>
              </a:ext>
            </a:extLst>
          </p:cNvPr>
          <p:cNvSpPr txBox="1">
            <a:spLocks/>
          </p:cNvSpPr>
          <p:nvPr/>
        </p:nvSpPr>
        <p:spPr>
          <a:xfrm>
            <a:off x="433260" y="3688736"/>
            <a:ext cx="7501065" cy="1232389"/>
          </a:xfrm>
          <a:prstGeom prst="rect">
            <a:avLst/>
          </a:prstGeom>
          <a:ln>
            <a:noFill/>
          </a:ln>
        </p:spPr>
        <p:txBody>
          <a:bodyPr vert="horz" wrap="square" lIns="91440" tIns="0" rIns="91440" bIns="45720" rtlCol="0" anchor="t" anchorCtr="0">
            <a:spAutoFit/>
          </a:bodyPr>
          <a:lstStyle>
            <a:lvl1pPr algn="l" defTabSz="914400" rtl="0" eaLnBrk="1" latinLnBrk="0" hangingPunct="1">
              <a:lnSpc>
                <a:spcPct val="78000"/>
              </a:lnSpc>
              <a:spcBef>
                <a:spcPts val="0"/>
              </a:spcBef>
              <a:buNone/>
              <a:defRPr sz="6000" kern="0" cap="all" spc="-150" baseline="0">
                <a:solidFill>
                  <a:schemeClr val="tx2"/>
                </a:solidFill>
                <a:latin typeface="+mj-lt"/>
                <a:ea typeface="+mj-ea"/>
                <a:cs typeface="+mj-cs"/>
              </a:defRPr>
            </a:lvl1pPr>
          </a:lstStyle>
          <a:p>
            <a:pPr marL="857250" indent="-409575">
              <a:lnSpc>
                <a:spcPts val="3000"/>
              </a:lnSpc>
              <a:buFont typeface="Wingdings" panose="05000000000000000000" pitchFamily="2" charset="2"/>
              <a:buChar char="§"/>
            </a:pPr>
            <a:r>
              <a:rPr lang="en-US" sz="4000" b="1" dirty="0">
                <a:solidFill>
                  <a:srgbClr val="002060"/>
                </a:solidFill>
                <a:latin typeface="Roboto Condensed"/>
                <a:ea typeface="Roboto Condensed"/>
                <a:cs typeface="Roboto Condensed"/>
              </a:rPr>
              <a:t>STARK UK Executive Team</a:t>
            </a:r>
            <a:br>
              <a:rPr lang="en-US" sz="4000" b="1" dirty="0">
                <a:solidFill>
                  <a:srgbClr val="002060"/>
                </a:solidFill>
                <a:latin typeface="Roboto Condensed"/>
                <a:ea typeface="Roboto Condensed"/>
                <a:cs typeface="Roboto Condensed"/>
              </a:rPr>
            </a:br>
            <a:endParaRPr lang="en-US" sz="4000" b="1" dirty="0">
              <a:solidFill>
                <a:srgbClr val="002060"/>
              </a:solidFill>
              <a:latin typeface="Roboto Condensed"/>
              <a:ea typeface="Roboto Condensed"/>
              <a:cs typeface="Roboto Condensed"/>
            </a:endParaRPr>
          </a:p>
          <a:p>
            <a:pPr marL="857250" indent="-409575">
              <a:lnSpc>
                <a:spcPts val="3000"/>
              </a:lnSpc>
              <a:buFont typeface="Wingdings" panose="05000000000000000000" pitchFamily="2" charset="2"/>
              <a:buChar char="§"/>
            </a:pPr>
            <a:r>
              <a:rPr lang="en-US" sz="4000" b="1" dirty="0">
                <a:solidFill>
                  <a:srgbClr val="002060"/>
                </a:solidFill>
                <a:latin typeface="Roboto Condensed"/>
                <a:ea typeface="Roboto Condensed"/>
                <a:cs typeface="Roboto Condensed"/>
              </a:rPr>
              <a:t>Jewson leadership teams</a:t>
            </a:r>
            <a:endParaRPr lang="en-GB" sz="4000" b="1" dirty="0">
              <a:solidFill>
                <a:srgbClr val="002060"/>
              </a:solidFill>
              <a:latin typeface="Roboto Condensed"/>
              <a:ea typeface="Roboto Condensed"/>
              <a:cs typeface="Roboto Condensed"/>
            </a:endParaRPr>
          </a:p>
        </p:txBody>
      </p:sp>
    </p:spTree>
    <p:extLst>
      <p:ext uri="{BB962C8B-B14F-4D97-AF65-F5344CB8AC3E}">
        <p14:creationId xmlns:p14="http://schemas.microsoft.com/office/powerpoint/2010/main" val="2504883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CCA0526A-9BB0-1CA2-9DF7-B91E5EC5EEAD}"/>
              </a:ext>
            </a:extLst>
          </p:cNvPr>
          <p:cNvGraphicFramePr>
            <a:graphicFrameLocks noGrp="1"/>
          </p:cNvGraphicFramePr>
          <p:nvPr>
            <p:extLst>
              <p:ext uri="{D42A27DB-BD31-4B8C-83A1-F6EECF244321}">
                <p14:modId xmlns:p14="http://schemas.microsoft.com/office/powerpoint/2010/main" val="2181421696"/>
              </p:ext>
            </p:extLst>
          </p:nvPr>
        </p:nvGraphicFramePr>
        <p:xfrm>
          <a:off x="514800" y="1389508"/>
          <a:ext cx="8128000" cy="1385583"/>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625600">
                  <a:extLst>
                    <a:ext uri="{9D8B030D-6E8A-4147-A177-3AD203B41FA5}">
                      <a16:colId xmlns:a16="http://schemas.microsoft.com/office/drawing/2014/main" val="1315673337"/>
                    </a:ext>
                  </a:extLst>
                </a:gridCol>
                <a:gridCol w="1625600">
                  <a:extLst>
                    <a:ext uri="{9D8B030D-6E8A-4147-A177-3AD203B41FA5}">
                      <a16:colId xmlns:a16="http://schemas.microsoft.com/office/drawing/2014/main" val="2300714442"/>
                    </a:ext>
                  </a:extLst>
                </a:gridCol>
                <a:gridCol w="1625600">
                  <a:extLst>
                    <a:ext uri="{9D8B030D-6E8A-4147-A177-3AD203B41FA5}">
                      <a16:colId xmlns:a16="http://schemas.microsoft.com/office/drawing/2014/main" val="1557918755"/>
                    </a:ext>
                  </a:extLst>
                </a:gridCol>
                <a:gridCol w="1625600">
                  <a:extLst>
                    <a:ext uri="{9D8B030D-6E8A-4147-A177-3AD203B41FA5}">
                      <a16:colId xmlns:a16="http://schemas.microsoft.com/office/drawing/2014/main" val="519522245"/>
                    </a:ext>
                  </a:extLst>
                </a:gridCol>
                <a:gridCol w="1625600">
                  <a:extLst>
                    <a:ext uri="{9D8B030D-6E8A-4147-A177-3AD203B41FA5}">
                      <a16:colId xmlns:a16="http://schemas.microsoft.com/office/drawing/2014/main" val="1416382956"/>
                    </a:ext>
                  </a:extLst>
                </a:gridCol>
              </a:tblGrid>
              <a:tr h="854938">
                <a:tc>
                  <a:txBody>
                    <a:bodyPr/>
                    <a:lstStyle/>
                    <a:p>
                      <a:pPr algn="ctr"/>
                      <a:r>
                        <a:rPr lang="en-GB" sz="1400">
                          <a:solidFill>
                            <a:schemeClr val="bg1"/>
                          </a:solidFill>
                          <a:latin typeface="Roboto"/>
                        </a:rPr>
                        <a:t>Incident Catego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a:solidFill>
                            <a:srgbClr val="002060"/>
                          </a:solidFill>
                          <a:latin typeface="Roboto"/>
                        </a:rPr>
                        <a:t>Lost Time Injury</a:t>
                      </a:r>
                    </a:p>
                    <a:p>
                      <a:pPr algn="ctr"/>
                      <a:r>
                        <a:rPr lang="en-GB" sz="1400">
                          <a:solidFill>
                            <a:srgbClr val="002060"/>
                          </a:solidFill>
                          <a:latin typeface="Roboto"/>
                        </a:rPr>
                        <a:t>LT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821E"/>
                    </a:solidFill>
                  </a:tcPr>
                </a:tc>
                <a:tc>
                  <a:txBody>
                    <a:bodyPr/>
                    <a:lstStyle/>
                    <a:p>
                      <a:pPr algn="ctr"/>
                      <a:r>
                        <a:rPr lang="en-GB" sz="1400">
                          <a:solidFill>
                            <a:srgbClr val="002060"/>
                          </a:solidFill>
                          <a:latin typeface="Roboto"/>
                        </a:rPr>
                        <a:t>Minor Medical Treatment</a:t>
                      </a:r>
                    </a:p>
                    <a:p>
                      <a:pPr algn="ctr"/>
                      <a:r>
                        <a:rPr lang="en-GB" sz="1400">
                          <a:solidFill>
                            <a:srgbClr val="002060"/>
                          </a:solidFill>
                          <a:latin typeface="Roboto"/>
                        </a:rPr>
                        <a:t>MM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821E"/>
                    </a:solidFill>
                  </a:tcPr>
                </a:tc>
                <a:tc>
                  <a:txBody>
                    <a:bodyPr/>
                    <a:lstStyle/>
                    <a:p>
                      <a:pPr algn="ctr"/>
                      <a:r>
                        <a:rPr lang="en-GB" sz="1400">
                          <a:solidFill>
                            <a:srgbClr val="002060"/>
                          </a:solidFill>
                          <a:latin typeface="Roboto"/>
                        </a:rPr>
                        <a:t>First Aid Injury</a:t>
                      </a:r>
                    </a:p>
                    <a:p>
                      <a:pPr algn="ctr"/>
                      <a:r>
                        <a:rPr lang="en-GB" sz="1400">
                          <a:solidFill>
                            <a:srgbClr val="002060"/>
                          </a:solidFill>
                          <a:latin typeface="Roboto"/>
                        </a:rPr>
                        <a:t>FA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821E"/>
                    </a:solidFill>
                  </a:tcPr>
                </a:tc>
                <a:tc>
                  <a:txBody>
                    <a:bodyPr/>
                    <a:lstStyle/>
                    <a:p>
                      <a:pPr algn="ctr"/>
                      <a:r>
                        <a:rPr lang="en-GB" sz="1400">
                          <a:solidFill>
                            <a:srgbClr val="002060"/>
                          </a:solidFill>
                          <a:latin typeface="Roboto"/>
                        </a:rPr>
                        <a:t>Near Miss Incident</a:t>
                      </a:r>
                    </a:p>
                    <a:p>
                      <a:pPr algn="ctr"/>
                      <a:r>
                        <a:rPr lang="en-GB" sz="1400">
                          <a:solidFill>
                            <a:srgbClr val="002060"/>
                          </a:solidFill>
                          <a:latin typeface="Roboto"/>
                        </a:rPr>
                        <a:t>NM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821E"/>
                    </a:solidFill>
                  </a:tcPr>
                </a:tc>
                <a:extLst>
                  <a:ext uri="{0D108BD9-81ED-4DB2-BD59-A6C34878D82A}">
                    <a16:rowId xmlns:a16="http://schemas.microsoft.com/office/drawing/2014/main" val="3419763898"/>
                  </a:ext>
                </a:extLst>
              </a:tr>
              <a:tr h="530645">
                <a:tc>
                  <a:txBody>
                    <a:bodyPr/>
                    <a:lstStyle/>
                    <a:p>
                      <a:pPr algn="ctr"/>
                      <a:r>
                        <a:rPr lang="en-GB" sz="1400" b="1">
                          <a:solidFill>
                            <a:schemeClr val="bg1"/>
                          </a:solidFill>
                          <a:latin typeface="Roboto"/>
                        </a:rPr>
                        <a:t>Total no. of Incidents 202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3"/>
                      <a:stretch>
                        <a:fillRect/>
                      </a:stretch>
                    </a:blipFill>
                  </a:tcPr>
                </a:tc>
                <a:tc>
                  <a:txBody>
                    <a:bodyPr/>
                    <a:lstStyle/>
                    <a:p>
                      <a:pPr algn="ctr">
                        <a:lnSpc>
                          <a:spcPct val="150000"/>
                        </a:lnSpc>
                      </a:pPr>
                      <a:r>
                        <a:rPr lang="en-GB" sz="1800">
                          <a:solidFill>
                            <a:srgbClr val="002060"/>
                          </a:solidFill>
                          <a:latin typeface="Roboto"/>
                        </a:rPr>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pPr>
                      <a:r>
                        <a:rPr lang="en-GB" sz="1800">
                          <a:solidFill>
                            <a:srgbClr val="002060"/>
                          </a:solidFill>
                          <a:latin typeface="Roboto"/>
                        </a:rPr>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pPr>
                      <a:r>
                        <a:rPr lang="en-GB" sz="1800">
                          <a:solidFill>
                            <a:srgbClr val="002060"/>
                          </a:solidFill>
                          <a:latin typeface="Roboto"/>
                        </a:rPr>
                        <a:t>8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pPr>
                      <a:r>
                        <a:rPr lang="en-GB" sz="1800">
                          <a:solidFill>
                            <a:srgbClr val="002060"/>
                          </a:solidFill>
                          <a:latin typeface="Roboto"/>
                        </a:rPr>
                        <a:t>180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60759797"/>
                  </a:ext>
                </a:extLst>
              </a:tr>
            </a:tbl>
          </a:graphicData>
        </a:graphic>
      </p:graphicFrame>
      <p:pic>
        <p:nvPicPr>
          <p:cNvPr id="6" name="Grafik 20">
            <a:extLst>
              <a:ext uri="{FF2B5EF4-FFF2-40B4-BE49-F238E27FC236}">
                <a16:creationId xmlns:a16="http://schemas.microsoft.com/office/drawing/2014/main" id="{0FD51F63-3E44-CCD6-570C-9C06837F36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512945" y="4382729"/>
            <a:ext cx="871081" cy="864000"/>
          </a:xfrm>
          <a:prstGeom prst="rect">
            <a:avLst/>
          </a:prstGeom>
        </p:spPr>
      </p:pic>
      <p:sp>
        <p:nvSpPr>
          <p:cNvPr id="7" name="TextBox 6">
            <a:extLst>
              <a:ext uri="{FF2B5EF4-FFF2-40B4-BE49-F238E27FC236}">
                <a16:creationId xmlns:a16="http://schemas.microsoft.com/office/drawing/2014/main" id="{C191125F-B2D7-2029-82F6-418F76EC19BF}"/>
              </a:ext>
            </a:extLst>
          </p:cNvPr>
          <p:cNvSpPr txBox="1"/>
          <p:nvPr/>
        </p:nvSpPr>
        <p:spPr>
          <a:xfrm>
            <a:off x="2053220" y="3316330"/>
            <a:ext cx="1374995" cy="307777"/>
          </a:xfrm>
          <a:prstGeom prst="rect">
            <a:avLst/>
          </a:prstGeom>
          <a:noFill/>
        </p:spPr>
        <p:txBody>
          <a:bodyPr wrap="square" lIns="0" rIns="0" rtlCol="0">
            <a:spAutoFit/>
          </a:bodyPr>
          <a:lstStyle/>
          <a:p>
            <a:pPr>
              <a:spcAft>
                <a:spcPts val="1500"/>
              </a:spcAft>
            </a:pPr>
            <a:r>
              <a:rPr lang="en-GB" sz="1400" b="1">
                <a:solidFill>
                  <a:srgbClr val="00326E"/>
                </a:solidFill>
                <a:latin typeface="Roboto"/>
                <a:ea typeface="Roboto"/>
                <a:cs typeface="Roboto"/>
              </a:rPr>
              <a:t>COLLEAGUES</a:t>
            </a:r>
          </a:p>
        </p:txBody>
      </p:sp>
      <p:sp>
        <p:nvSpPr>
          <p:cNvPr id="8" name="TextBox 7">
            <a:extLst>
              <a:ext uri="{FF2B5EF4-FFF2-40B4-BE49-F238E27FC236}">
                <a16:creationId xmlns:a16="http://schemas.microsoft.com/office/drawing/2014/main" id="{8697B8EF-29F2-E470-A286-D2AFE3AC30F9}"/>
              </a:ext>
            </a:extLst>
          </p:cNvPr>
          <p:cNvSpPr txBox="1"/>
          <p:nvPr/>
        </p:nvSpPr>
        <p:spPr>
          <a:xfrm>
            <a:off x="2053220" y="4392655"/>
            <a:ext cx="1184872" cy="307777"/>
          </a:xfrm>
          <a:prstGeom prst="rect">
            <a:avLst/>
          </a:prstGeom>
          <a:noFill/>
        </p:spPr>
        <p:txBody>
          <a:bodyPr wrap="square" lIns="0" rIns="0" rtlCol="0">
            <a:spAutoFit/>
          </a:bodyPr>
          <a:lstStyle/>
          <a:p>
            <a:pPr>
              <a:spcAft>
                <a:spcPts val="1500"/>
              </a:spcAft>
            </a:pPr>
            <a:r>
              <a:rPr lang="en-GB" sz="1400" b="1">
                <a:solidFill>
                  <a:srgbClr val="00326E"/>
                </a:solidFill>
                <a:latin typeface="Roboto"/>
                <a:ea typeface="Roboto"/>
                <a:cs typeface="Roboto"/>
              </a:rPr>
              <a:t>ACTIVITIES</a:t>
            </a:r>
          </a:p>
        </p:txBody>
      </p:sp>
      <p:pic>
        <p:nvPicPr>
          <p:cNvPr id="9" name="Grafik 19">
            <a:extLst>
              <a:ext uri="{FF2B5EF4-FFF2-40B4-BE49-F238E27FC236}">
                <a16:creationId xmlns:a16="http://schemas.microsoft.com/office/drawing/2014/main" id="{93E3B105-3466-F0EA-FA31-A5061330C98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1472666" y="4848548"/>
            <a:ext cx="360000" cy="360000"/>
          </a:xfrm>
          <a:prstGeom prst="rect">
            <a:avLst/>
          </a:prstGeom>
        </p:spPr>
      </p:pic>
      <p:pic>
        <p:nvPicPr>
          <p:cNvPr id="10" name="Grafik 21">
            <a:extLst>
              <a:ext uri="{FF2B5EF4-FFF2-40B4-BE49-F238E27FC236}">
                <a16:creationId xmlns:a16="http://schemas.microsoft.com/office/drawing/2014/main" id="{79EA0B5D-BDF9-340F-C901-D5E4688B802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1472666" y="4424030"/>
            <a:ext cx="360000" cy="360000"/>
          </a:xfrm>
          <a:prstGeom prst="rect">
            <a:avLst/>
          </a:prstGeom>
        </p:spPr>
      </p:pic>
      <p:pic>
        <p:nvPicPr>
          <p:cNvPr id="11" name="Grafik 36">
            <a:extLst>
              <a:ext uri="{FF2B5EF4-FFF2-40B4-BE49-F238E27FC236}">
                <a16:creationId xmlns:a16="http://schemas.microsoft.com/office/drawing/2014/main" id="{9CA056EF-F878-14D0-F26C-4FCE531AD0C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1466379" y="3587041"/>
            <a:ext cx="360000" cy="360000"/>
          </a:xfrm>
          <a:prstGeom prst="rect">
            <a:avLst/>
          </a:prstGeom>
        </p:spPr>
      </p:pic>
      <p:sp>
        <p:nvSpPr>
          <p:cNvPr id="12" name="TextBox 11">
            <a:extLst>
              <a:ext uri="{FF2B5EF4-FFF2-40B4-BE49-F238E27FC236}">
                <a16:creationId xmlns:a16="http://schemas.microsoft.com/office/drawing/2014/main" id="{D0CD7B47-E2C0-ED17-F452-01FF6D8A0220}"/>
              </a:ext>
            </a:extLst>
          </p:cNvPr>
          <p:cNvSpPr txBox="1"/>
          <p:nvPr/>
        </p:nvSpPr>
        <p:spPr>
          <a:xfrm>
            <a:off x="2053220" y="3605242"/>
            <a:ext cx="2805442" cy="538609"/>
          </a:xfrm>
          <a:prstGeom prst="rect">
            <a:avLst/>
          </a:prstGeom>
          <a:noFill/>
        </p:spPr>
        <p:txBody>
          <a:bodyPr wrap="square" lIns="0" rIns="0" rtlCol="0">
            <a:spAutoFit/>
          </a:bodyPr>
          <a:lstStyle/>
          <a:p>
            <a:pPr marL="171450" marR="0" lvl="0" indent="-1714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0" cap="none" spc="0" normalizeH="0" baseline="0" noProof="0">
                <a:ln>
                  <a:noFill/>
                </a:ln>
                <a:solidFill>
                  <a:srgbClr val="00326E"/>
                </a:solidFill>
                <a:effectLst/>
                <a:uLnTx/>
                <a:uFillTx/>
                <a:latin typeface="Roboto"/>
                <a:ea typeface="Roboto"/>
                <a:cs typeface="Roboto"/>
              </a:rPr>
              <a:t>Commercial Vehicle Delivery Drivers</a:t>
            </a:r>
          </a:p>
          <a:p>
            <a:pPr marL="171450" marR="0" lvl="0" indent="-1714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0" cap="none" spc="0" normalizeH="0" baseline="0" noProof="0">
                <a:ln>
                  <a:noFill/>
                </a:ln>
                <a:solidFill>
                  <a:srgbClr val="00326E"/>
                </a:solidFill>
                <a:effectLst/>
                <a:uLnTx/>
                <a:uFillTx/>
                <a:latin typeface="Roboto"/>
                <a:ea typeface="Roboto"/>
                <a:cs typeface="Roboto"/>
              </a:rPr>
              <a:t>Yard &amp; Warehouse staff</a:t>
            </a:r>
          </a:p>
        </p:txBody>
      </p:sp>
      <p:sp>
        <p:nvSpPr>
          <p:cNvPr id="13" name="TextBox 12">
            <a:extLst>
              <a:ext uri="{FF2B5EF4-FFF2-40B4-BE49-F238E27FC236}">
                <a16:creationId xmlns:a16="http://schemas.microsoft.com/office/drawing/2014/main" id="{85FA29BF-302E-0044-AE23-CBB35E35CDE7}"/>
              </a:ext>
            </a:extLst>
          </p:cNvPr>
          <p:cNvSpPr txBox="1"/>
          <p:nvPr/>
        </p:nvSpPr>
        <p:spPr>
          <a:xfrm>
            <a:off x="2053220" y="4677162"/>
            <a:ext cx="2805442" cy="538609"/>
          </a:xfrm>
          <a:prstGeom prst="rect">
            <a:avLst/>
          </a:prstGeom>
          <a:noFill/>
        </p:spPr>
        <p:txBody>
          <a:bodyPr wrap="square" lIns="0" rIns="0" rtlCol="0">
            <a:spAutoFit/>
          </a:bodyPr>
          <a:lstStyle/>
          <a:p>
            <a:pPr marL="171450" marR="0" lvl="0" indent="-1714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0" cap="none" spc="0" normalizeH="0" baseline="0" noProof="0">
                <a:ln>
                  <a:noFill/>
                </a:ln>
                <a:solidFill>
                  <a:srgbClr val="00326E"/>
                </a:solidFill>
                <a:effectLst/>
                <a:uLnTx/>
                <a:uFillTx/>
                <a:latin typeface="Roboto"/>
                <a:ea typeface="Roboto"/>
                <a:cs typeface="Roboto"/>
              </a:rPr>
              <a:t>Manual Handling</a:t>
            </a:r>
          </a:p>
          <a:p>
            <a:pPr marL="171450" marR="0" lvl="0" indent="-1714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0" cap="none" spc="0" normalizeH="0" baseline="0" noProof="0">
                <a:ln>
                  <a:noFill/>
                </a:ln>
                <a:solidFill>
                  <a:srgbClr val="00326E"/>
                </a:solidFill>
                <a:effectLst/>
                <a:uLnTx/>
                <a:uFillTx/>
                <a:latin typeface="Roboto"/>
                <a:ea typeface="Roboto"/>
                <a:cs typeface="Roboto"/>
              </a:rPr>
              <a:t>Commercial deliveries &amp; FLT collisions</a:t>
            </a:r>
          </a:p>
        </p:txBody>
      </p:sp>
      <p:pic>
        <p:nvPicPr>
          <p:cNvPr id="14" name="Grafik 43">
            <a:extLst>
              <a:ext uri="{FF2B5EF4-FFF2-40B4-BE49-F238E27FC236}">
                <a16:creationId xmlns:a16="http://schemas.microsoft.com/office/drawing/2014/main" id="{FAC451CD-801E-780C-36B6-01EAD74B3E0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521159" y="3332052"/>
            <a:ext cx="864000" cy="864000"/>
          </a:xfrm>
          <a:prstGeom prst="rect">
            <a:avLst/>
          </a:prstGeom>
        </p:spPr>
      </p:pic>
      <p:pic>
        <p:nvPicPr>
          <p:cNvPr id="15" name="Grafik 21">
            <a:extLst>
              <a:ext uri="{FF2B5EF4-FFF2-40B4-BE49-F238E27FC236}">
                <a16:creationId xmlns:a16="http://schemas.microsoft.com/office/drawing/2014/main" id="{160C9A8B-B6E8-25F7-CCFF-88D29073D2F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5297132" y="4390106"/>
            <a:ext cx="864000" cy="864000"/>
          </a:xfrm>
          <a:prstGeom prst="rect">
            <a:avLst/>
          </a:prstGeom>
        </p:spPr>
      </p:pic>
      <p:pic>
        <p:nvPicPr>
          <p:cNvPr id="16" name="Picture 15" descr="Icon&#10;&#10;Description automatically generated">
            <a:extLst>
              <a:ext uri="{FF2B5EF4-FFF2-40B4-BE49-F238E27FC236}">
                <a16:creationId xmlns:a16="http://schemas.microsoft.com/office/drawing/2014/main" id="{344507E2-EF7A-2100-B10E-961845B3F94A}"/>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5297603" y="3336734"/>
            <a:ext cx="871081" cy="864000"/>
          </a:xfrm>
          <a:prstGeom prst="rect">
            <a:avLst/>
          </a:prstGeom>
        </p:spPr>
      </p:pic>
      <p:sp>
        <p:nvSpPr>
          <p:cNvPr id="17" name="TextBox 16">
            <a:extLst>
              <a:ext uri="{FF2B5EF4-FFF2-40B4-BE49-F238E27FC236}">
                <a16:creationId xmlns:a16="http://schemas.microsoft.com/office/drawing/2014/main" id="{112FED05-D3B9-AAEF-2DF8-5243EF7258B0}"/>
              </a:ext>
            </a:extLst>
          </p:cNvPr>
          <p:cNvSpPr txBox="1"/>
          <p:nvPr/>
        </p:nvSpPr>
        <p:spPr>
          <a:xfrm>
            <a:off x="6837878" y="3343570"/>
            <a:ext cx="1496051" cy="307777"/>
          </a:xfrm>
          <a:prstGeom prst="rect">
            <a:avLst/>
          </a:prstGeom>
          <a:noFill/>
        </p:spPr>
        <p:txBody>
          <a:bodyPr wrap="square" lIns="0" rIns="0" rtlCol="0">
            <a:spAutoFit/>
          </a:bodyPr>
          <a:lstStyle/>
          <a:p>
            <a:pPr>
              <a:spcAft>
                <a:spcPts val="1500"/>
              </a:spcAft>
            </a:pPr>
            <a:r>
              <a:rPr lang="en-GB" sz="1400" b="1">
                <a:solidFill>
                  <a:srgbClr val="00326E"/>
                </a:solidFill>
                <a:latin typeface="Roboto"/>
                <a:ea typeface="Roboto"/>
                <a:cs typeface="Roboto"/>
              </a:rPr>
              <a:t>HARM / INJURY</a:t>
            </a:r>
          </a:p>
        </p:txBody>
      </p:sp>
      <p:sp>
        <p:nvSpPr>
          <p:cNvPr id="18" name="TextBox 17">
            <a:extLst>
              <a:ext uri="{FF2B5EF4-FFF2-40B4-BE49-F238E27FC236}">
                <a16:creationId xmlns:a16="http://schemas.microsoft.com/office/drawing/2014/main" id="{FD3D8EDF-F2D1-AE26-EB48-3129464ED576}"/>
              </a:ext>
            </a:extLst>
          </p:cNvPr>
          <p:cNvSpPr txBox="1"/>
          <p:nvPr/>
        </p:nvSpPr>
        <p:spPr>
          <a:xfrm>
            <a:off x="6837878" y="4372948"/>
            <a:ext cx="1184872" cy="307777"/>
          </a:xfrm>
          <a:prstGeom prst="rect">
            <a:avLst/>
          </a:prstGeom>
          <a:noFill/>
        </p:spPr>
        <p:txBody>
          <a:bodyPr wrap="square" lIns="0" rIns="0" rtlCol="0">
            <a:spAutoFit/>
          </a:bodyPr>
          <a:lstStyle/>
          <a:p>
            <a:pPr>
              <a:spcAft>
                <a:spcPts val="1500"/>
              </a:spcAft>
            </a:pPr>
            <a:r>
              <a:rPr lang="en-GB" sz="1400" b="1">
                <a:solidFill>
                  <a:srgbClr val="00326E"/>
                </a:solidFill>
                <a:latin typeface="Roboto"/>
                <a:ea typeface="Roboto"/>
                <a:cs typeface="Roboto"/>
              </a:rPr>
              <a:t>LOCATION</a:t>
            </a:r>
          </a:p>
        </p:txBody>
      </p:sp>
      <p:pic>
        <p:nvPicPr>
          <p:cNvPr id="19" name="Grafik 59">
            <a:extLst>
              <a:ext uri="{FF2B5EF4-FFF2-40B4-BE49-F238E27FC236}">
                <a16:creationId xmlns:a16="http://schemas.microsoft.com/office/drawing/2014/main" id="{EFAE25B6-8C0C-7174-7E94-F09664D55065}"/>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251037" y="4657318"/>
            <a:ext cx="360000" cy="360000"/>
          </a:xfrm>
          <a:prstGeom prst="rect">
            <a:avLst/>
          </a:prstGeom>
        </p:spPr>
      </p:pic>
      <p:pic>
        <p:nvPicPr>
          <p:cNvPr id="20" name="Grafik 36">
            <a:extLst>
              <a:ext uri="{FF2B5EF4-FFF2-40B4-BE49-F238E27FC236}">
                <a16:creationId xmlns:a16="http://schemas.microsoft.com/office/drawing/2014/main" id="{49EBF81A-5B22-B411-C791-E0E5F3A7674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6251037" y="3604756"/>
            <a:ext cx="360000" cy="360000"/>
          </a:xfrm>
          <a:prstGeom prst="rect">
            <a:avLst/>
          </a:prstGeom>
        </p:spPr>
      </p:pic>
      <p:sp>
        <p:nvSpPr>
          <p:cNvPr id="21" name="TextBox 20">
            <a:extLst>
              <a:ext uri="{FF2B5EF4-FFF2-40B4-BE49-F238E27FC236}">
                <a16:creationId xmlns:a16="http://schemas.microsoft.com/office/drawing/2014/main" id="{0A40428C-A251-8FB5-FF7C-84866084A6B7}"/>
              </a:ext>
            </a:extLst>
          </p:cNvPr>
          <p:cNvSpPr txBox="1"/>
          <p:nvPr/>
        </p:nvSpPr>
        <p:spPr>
          <a:xfrm>
            <a:off x="6837878" y="3647296"/>
            <a:ext cx="3783558" cy="538609"/>
          </a:xfrm>
          <a:prstGeom prst="rect">
            <a:avLst/>
          </a:prstGeom>
          <a:noFill/>
        </p:spPr>
        <p:txBody>
          <a:bodyPr wrap="square" lIns="0" rIns="0" rtlCol="0">
            <a:spAutoFit/>
          </a:bodyPr>
          <a:lstStyle/>
          <a:p>
            <a:pPr marL="171450" marR="0" lvl="0" indent="-1714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0" cap="none" spc="0" normalizeH="0" baseline="0" noProof="0">
                <a:ln>
                  <a:noFill/>
                </a:ln>
                <a:solidFill>
                  <a:srgbClr val="00326E"/>
                </a:solidFill>
                <a:effectLst/>
                <a:uLnTx/>
                <a:uFillTx/>
                <a:latin typeface="Roboto"/>
                <a:ea typeface="Roboto"/>
                <a:cs typeface="Roboto"/>
              </a:rPr>
              <a:t>Musculoskeletal / digits &amp; </a:t>
            </a:r>
            <a:r>
              <a:rPr lang="en-GB" sz="1200" kern="0">
                <a:solidFill>
                  <a:srgbClr val="00326E"/>
                </a:solidFill>
                <a:latin typeface="Roboto"/>
                <a:ea typeface="Roboto"/>
                <a:cs typeface="Roboto"/>
              </a:rPr>
              <a:t>upper / </a:t>
            </a:r>
            <a:r>
              <a:rPr kumimoji="0" lang="en-GB" sz="1200" b="0" i="0" u="none" strike="noStrike" kern="0" cap="none" spc="0" normalizeH="0" baseline="0" noProof="0">
                <a:ln>
                  <a:noFill/>
                </a:ln>
                <a:solidFill>
                  <a:srgbClr val="00326E"/>
                </a:solidFill>
                <a:effectLst/>
                <a:uLnTx/>
                <a:uFillTx/>
                <a:latin typeface="Roboto"/>
                <a:ea typeface="Roboto"/>
                <a:cs typeface="Roboto"/>
              </a:rPr>
              <a:t>lower limb injuries</a:t>
            </a:r>
          </a:p>
          <a:p>
            <a:pPr marL="171450" marR="0" lvl="0" indent="-1714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0" cap="none" spc="0" normalizeH="0" baseline="0" noProof="0">
                <a:ln>
                  <a:noFill/>
                </a:ln>
                <a:solidFill>
                  <a:srgbClr val="00326E"/>
                </a:solidFill>
                <a:effectLst/>
                <a:uLnTx/>
                <a:uFillTx/>
                <a:latin typeface="Roboto"/>
                <a:ea typeface="Roboto"/>
                <a:cs typeface="Roboto"/>
              </a:rPr>
              <a:t>Severity increases with vehicle falls &amp; FLT impacts</a:t>
            </a:r>
          </a:p>
        </p:txBody>
      </p:sp>
      <p:sp>
        <p:nvSpPr>
          <p:cNvPr id="22" name="TextBox 21">
            <a:extLst>
              <a:ext uri="{FF2B5EF4-FFF2-40B4-BE49-F238E27FC236}">
                <a16:creationId xmlns:a16="http://schemas.microsoft.com/office/drawing/2014/main" id="{BE1113A7-6C69-9E4B-4380-464D5514D67C}"/>
              </a:ext>
            </a:extLst>
          </p:cNvPr>
          <p:cNvSpPr txBox="1"/>
          <p:nvPr/>
        </p:nvSpPr>
        <p:spPr>
          <a:xfrm>
            <a:off x="6837877" y="4675560"/>
            <a:ext cx="5247143" cy="538609"/>
          </a:xfrm>
          <a:prstGeom prst="rect">
            <a:avLst/>
          </a:prstGeom>
          <a:noFill/>
        </p:spPr>
        <p:txBody>
          <a:bodyPr wrap="square" lIns="0" tIns="45720" rIns="0" bIns="45720" rtlCol="0" anchor="t">
            <a:spAutoFit/>
          </a:bodyPr>
          <a:lstStyle/>
          <a:p>
            <a:pPr marL="171450" marR="0" lvl="0" indent="-1714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0" cap="none" spc="0" normalizeH="0" baseline="0" noProof="0">
                <a:ln>
                  <a:noFill/>
                </a:ln>
                <a:solidFill>
                  <a:srgbClr val="00326E"/>
                </a:solidFill>
                <a:effectLst/>
                <a:uLnTx/>
                <a:uFillTx/>
                <a:latin typeface="Roboto"/>
                <a:ea typeface="Roboto"/>
                <a:cs typeface="Roboto"/>
              </a:rPr>
              <a:t>Yard &amp; Warehouse (mainly vehicle loading areas)</a:t>
            </a:r>
          </a:p>
          <a:p>
            <a:pPr marL="171450" marR="0" lvl="0" indent="-1714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200" kern="0">
                <a:solidFill>
                  <a:srgbClr val="00326E"/>
                </a:solidFill>
                <a:latin typeface="Roboto"/>
                <a:ea typeface="Roboto"/>
                <a:cs typeface="Roboto"/>
              </a:rPr>
              <a:t>Off-site</a:t>
            </a:r>
            <a:r>
              <a:rPr kumimoji="0" lang="en-GB" sz="1200" b="0" i="0" u="none" strike="noStrike" kern="0" cap="none" spc="0" normalizeH="0" baseline="0" noProof="0">
                <a:ln>
                  <a:noFill/>
                </a:ln>
                <a:solidFill>
                  <a:srgbClr val="00326E"/>
                </a:solidFill>
                <a:effectLst/>
                <a:uLnTx/>
                <a:uFillTx/>
                <a:latin typeface="Roboto"/>
                <a:ea typeface="Roboto"/>
                <a:cs typeface="Roboto"/>
              </a:rPr>
              <a:t> deliveries (limited environment familiarisation or control)</a:t>
            </a:r>
            <a:endParaRPr lang="en-GB" sz="1200" b="0" i="0" u="none" strike="noStrike" kern="0" cap="none" spc="0" normalizeH="0" baseline="0" noProof="0">
              <a:ln>
                <a:noFill/>
              </a:ln>
              <a:solidFill>
                <a:srgbClr val="00326E"/>
              </a:solidFill>
              <a:effectLst/>
              <a:uLnTx/>
              <a:uFillTx/>
              <a:latin typeface="Roboto"/>
              <a:ea typeface="Roboto"/>
              <a:cs typeface="Roboto"/>
            </a:endParaRPr>
          </a:p>
        </p:txBody>
      </p:sp>
      <p:pic>
        <p:nvPicPr>
          <p:cNvPr id="23" name="Grafik 41">
            <a:extLst>
              <a:ext uri="{FF2B5EF4-FFF2-40B4-BE49-F238E27FC236}">
                <a16:creationId xmlns:a16="http://schemas.microsoft.com/office/drawing/2014/main" id="{CF6F7675-9726-6F49-808B-B896F5BEFE10}"/>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rcRect/>
          <a:stretch/>
        </p:blipFill>
        <p:spPr>
          <a:xfrm>
            <a:off x="9194231" y="1388893"/>
            <a:ext cx="727200" cy="727200"/>
          </a:xfrm>
          <a:prstGeom prst="rect">
            <a:avLst/>
          </a:prstGeom>
        </p:spPr>
      </p:pic>
      <p:sp>
        <p:nvSpPr>
          <p:cNvPr id="24" name="TextBox 23">
            <a:extLst>
              <a:ext uri="{FF2B5EF4-FFF2-40B4-BE49-F238E27FC236}">
                <a16:creationId xmlns:a16="http://schemas.microsoft.com/office/drawing/2014/main" id="{A6F6B056-0266-2CF3-2FA1-521A15DFB0D5}"/>
              </a:ext>
            </a:extLst>
          </p:cNvPr>
          <p:cNvSpPr txBox="1"/>
          <p:nvPr/>
        </p:nvSpPr>
        <p:spPr>
          <a:xfrm>
            <a:off x="10048249" y="1343646"/>
            <a:ext cx="1849584" cy="830997"/>
          </a:xfrm>
          <a:prstGeom prst="rect">
            <a:avLst/>
          </a:prstGeom>
          <a:noFill/>
        </p:spPr>
        <p:txBody>
          <a:bodyPr wrap="square" lIns="0" rIns="0" rtlCol="0">
            <a:spAutoFit/>
          </a:bodyPr>
          <a:lstStyle/>
          <a:p>
            <a:pPr marR="0" lvl="0" defTabSz="914400" eaLnBrk="1" fontAlgn="auto" latinLnBrk="0" hangingPunct="1">
              <a:lnSpc>
                <a:spcPct val="100000"/>
              </a:lnSpc>
              <a:spcBef>
                <a:spcPts val="0"/>
              </a:spcBef>
              <a:spcAft>
                <a:spcPts val="600"/>
              </a:spcAft>
              <a:buClrTx/>
              <a:buSzTx/>
              <a:tabLst/>
              <a:defRPr/>
            </a:pPr>
            <a:r>
              <a:rPr kumimoji="0" lang="en-GB" sz="1200" b="0" i="0" u="none" strike="noStrike" kern="0" cap="none" spc="0" normalizeH="0" baseline="0" noProof="0">
                <a:ln>
                  <a:noFill/>
                </a:ln>
                <a:solidFill>
                  <a:srgbClr val="FF0000"/>
                </a:solidFill>
                <a:effectLst/>
                <a:uLnTx/>
                <a:uFillTx/>
                <a:latin typeface="Roboto"/>
                <a:ea typeface="Roboto"/>
                <a:cs typeface="Roboto"/>
              </a:rPr>
              <a:t>Some incidents were SIPs</a:t>
            </a:r>
            <a:r>
              <a:rPr kumimoji="0" lang="en-GB" sz="1200" b="0" i="0" u="none" strike="noStrike" kern="0" cap="none" spc="0" normalizeH="0" noProof="0">
                <a:ln>
                  <a:noFill/>
                </a:ln>
                <a:solidFill>
                  <a:srgbClr val="FF0000"/>
                </a:solidFill>
                <a:effectLst/>
                <a:uLnTx/>
                <a:uFillTx/>
                <a:latin typeface="Roboto"/>
                <a:ea typeface="Roboto"/>
                <a:cs typeface="Roboto"/>
              </a:rPr>
              <a:t> meaning they had much greater potential for serious injury</a:t>
            </a:r>
            <a:endParaRPr kumimoji="0" lang="en-GB" sz="1200" b="0" i="0" u="none" strike="noStrike" kern="0" cap="none" spc="0" normalizeH="0" baseline="0" noProof="0">
              <a:ln>
                <a:noFill/>
              </a:ln>
              <a:solidFill>
                <a:srgbClr val="FF0000"/>
              </a:solidFill>
              <a:effectLst/>
              <a:uLnTx/>
              <a:uFillTx/>
              <a:latin typeface="Roboto"/>
              <a:ea typeface="Roboto"/>
              <a:cs typeface="Roboto"/>
            </a:endParaRPr>
          </a:p>
        </p:txBody>
      </p:sp>
      <p:pic>
        <p:nvPicPr>
          <p:cNvPr id="25" name="Grafik 12">
            <a:extLst>
              <a:ext uri="{FF2B5EF4-FFF2-40B4-BE49-F238E27FC236}">
                <a16:creationId xmlns:a16="http://schemas.microsoft.com/office/drawing/2014/main" id="{E9EDD357-8B74-D04A-B9EA-4DC177BF865F}"/>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rcRect/>
          <a:stretch/>
        </p:blipFill>
        <p:spPr>
          <a:xfrm>
            <a:off x="510870" y="5424232"/>
            <a:ext cx="864000" cy="864000"/>
          </a:xfrm>
          <a:prstGeom prst="rect">
            <a:avLst/>
          </a:prstGeom>
        </p:spPr>
      </p:pic>
      <p:sp>
        <p:nvSpPr>
          <p:cNvPr id="26" name="TextBox 25">
            <a:extLst>
              <a:ext uri="{FF2B5EF4-FFF2-40B4-BE49-F238E27FC236}">
                <a16:creationId xmlns:a16="http://schemas.microsoft.com/office/drawing/2014/main" id="{C4C1ED1C-C98D-C01A-3D25-187B7F91D102}"/>
              </a:ext>
            </a:extLst>
          </p:cNvPr>
          <p:cNvSpPr txBox="1"/>
          <p:nvPr/>
        </p:nvSpPr>
        <p:spPr>
          <a:xfrm>
            <a:off x="1473179" y="5586896"/>
            <a:ext cx="4629831" cy="569387"/>
          </a:xfrm>
          <a:prstGeom prst="rect">
            <a:avLst/>
          </a:prstGeom>
          <a:noFill/>
        </p:spPr>
        <p:txBody>
          <a:bodyPr wrap="square" lIns="0" rIns="0" rtlCol="0">
            <a:spAutoFit/>
          </a:bodyPr>
          <a:lstStyle/>
          <a:p>
            <a:pPr algn="l">
              <a:spcAft>
                <a:spcPts val="600"/>
              </a:spcAft>
            </a:pPr>
            <a:r>
              <a:rPr lang="en-GB" sz="1400" b="1">
                <a:solidFill>
                  <a:srgbClr val="F5821E"/>
                </a:solidFill>
                <a:latin typeface="Roboto"/>
                <a:ea typeface="Roboto"/>
                <a:cs typeface="Roboto"/>
              </a:rPr>
              <a:t>TOP ROOT &amp; UNDERLYING CAUSES</a:t>
            </a:r>
          </a:p>
          <a:p>
            <a:pPr algn="l">
              <a:spcAft>
                <a:spcPts val="600"/>
              </a:spcAft>
            </a:pPr>
            <a:r>
              <a:rPr lang="en-GB" sz="1200" kern="0">
                <a:solidFill>
                  <a:srgbClr val="F5821E"/>
                </a:solidFill>
                <a:latin typeface="Roboto"/>
                <a:ea typeface="Roboto"/>
                <a:cs typeface="Roboto"/>
              </a:rPr>
              <a:t>1. MANAGEMENT SUPERVISION &amp; BEHAVIOURAL INFLUENCE</a:t>
            </a:r>
          </a:p>
        </p:txBody>
      </p:sp>
      <p:sp>
        <p:nvSpPr>
          <p:cNvPr id="27" name="TextBox 26">
            <a:extLst>
              <a:ext uri="{FF2B5EF4-FFF2-40B4-BE49-F238E27FC236}">
                <a16:creationId xmlns:a16="http://schemas.microsoft.com/office/drawing/2014/main" id="{ABFE480A-DFE8-7539-BCA2-8FB975474755}"/>
              </a:ext>
            </a:extLst>
          </p:cNvPr>
          <p:cNvSpPr txBox="1"/>
          <p:nvPr/>
        </p:nvSpPr>
        <p:spPr>
          <a:xfrm>
            <a:off x="6393300" y="5856232"/>
            <a:ext cx="2800931" cy="507831"/>
          </a:xfrm>
          <a:prstGeom prst="rect">
            <a:avLst/>
          </a:prstGeom>
          <a:noFill/>
        </p:spPr>
        <p:txBody>
          <a:bodyPr wrap="square" lIns="0" rIns="0" rtlCol="0">
            <a:spAutoFit/>
          </a:bodyPr>
          <a:lstStyle/>
          <a:p>
            <a:pPr algn="l">
              <a:spcAft>
                <a:spcPts val="600"/>
              </a:spcAft>
            </a:pPr>
            <a:r>
              <a:rPr lang="en-GB" sz="1200" kern="0" dirty="0">
                <a:solidFill>
                  <a:srgbClr val="F5821E"/>
                </a:solidFill>
                <a:latin typeface="Roboto"/>
                <a:ea typeface="Roboto"/>
                <a:cs typeface="Roboto"/>
              </a:rPr>
              <a:t>2. RISK ASSESSMENT </a:t>
            </a:r>
          </a:p>
          <a:p>
            <a:pPr algn="l">
              <a:spcAft>
                <a:spcPts val="600"/>
              </a:spcAft>
            </a:pPr>
            <a:r>
              <a:rPr lang="en-GB" sz="1000" dirty="0">
                <a:solidFill>
                  <a:srgbClr val="F5821E"/>
                </a:solidFill>
                <a:latin typeface="Roboto"/>
                <a:ea typeface="Roboto"/>
                <a:cs typeface="Roboto"/>
              </a:rPr>
              <a:t>(Improper, inadequate local implementation)</a:t>
            </a:r>
          </a:p>
        </p:txBody>
      </p:sp>
      <p:sp>
        <p:nvSpPr>
          <p:cNvPr id="28" name="TextBox 27">
            <a:extLst>
              <a:ext uri="{FF2B5EF4-FFF2-40B4-BE49-F238E27FC236}">
                <a16:creationId xmlns:a16="http://schemas.microsoft.com/office/drawing/2014/main" id="{3AF513C9-DC59-49F0-C4A7-487EFDDE64F1}"/>
              </a:ext>
            </a:extLst>
          </p:cNvPr>
          <p:cNvSpPr txBox="1"/>
          <p:nvPr/>
        </p:nvSpPr>
        <p:spPr>
          <a:xfrm>
            <a:off x="9194231" y="5871288"/>
            <a:ext cx="2412425" cy="276999"/>
          </a:xfrm>
          <a:prstGeom prst="rect">
            <a:avLst/>
          </a:prstGeom>
          <a:noFill/>
        </p:spPr>
        <p:txBody>
          <a:bodyPr wrap="square" lIns="0" rIns="0" rtlCol="0">
            <a:spAutoFit/>
          </a:bodyPr>
          <a:lstStyle/>
          <a:p>
            <a:pPr algn="l">
              <a:spcAft>
                <a:spcPts val="600"/>
              </a:spcAft>
            </a:pPr>
            <a:r>
              <a:rPr lang="en-GB" sz="1200" kern="0" dirty="0">
                <a:solidFill>
                  <a:srgbClr val="F5821E"/>
                </a:solidFill>
                <a:latin typeface="Roboto"/>
                <a:ea typeface="Roboto"/>
                <a:cs typeface="Roboto"/>
              </a:rPr>
              <a:t>3. DELIVERY LOAD PLANNING</a:t>
            </a:r>
          </a:p>
        </p:txBody>
      </p:sp>
      <p:sp>
        <p:nvSpPr>
          <p:cNvPr id="32" name="Title 1">
            <a:extLst>
              <a:ext uri="{FF2B5EF4-FFF2-40B4-BE49-F238E27FC236}">
                <a16:creationId xmlns:a16="http://schemas.microsoft.com/office/drawing/2014/main" id="{67D81B36-541B-0226-4F71-E1BAA3068518}"/>
              </a:ext>
            </a:extLst>
          </p:cNvPr>
          <p:cNvSpPr>
            <a:spLocks noGrp="1"/>
          </p:cNvSpPr>
          <p:nvPr>
            <p:ph type="title"/>
          </p:nvPr>
        </p:nvSpPr>
        <p:spPr>
          <a:xfrm>
            <a:off x="514800" y="333375"/>
            <a:ext cx="11161263" cy="554400"/>
          </a:xfrm>
        </p:spPr>
        <p:txBody>
          <a:bodyPr>
            <a:noAutofit/>
          </a:bodyPr>
          <a:lstStyle/>
          <a:p>
            <a:r>
              <a:rPr lang="en-GB" sz="3600" b="1" dirty="0">
                <a:solidFill>
                  <a:srgbClr val="002060"/>
                </a:solidFill>
                <a:latin typeface="Roboto Condensed"/>
                <a:ea typeface="Roboto"/>
                <a:cs typeface="Roboto"/>
              </a:rPr>
              <a:t>Safe to do the right thing</a:t>
            </a:r>
          </a:p>
        </p:txBody>
      </p:sp>
      <p:sp>
        <p:nvSpPr>
          <p:cNvPr id="33" name="Text Placeholder 2">
            <a:extLst>
              <a:ext uri="{FF2B5EF4-FFF2-40B4-BE49-F238E27FC236}">
                <a16:creationId xmlns:a16="http://schemas.microsoft.com/office/drawing/2014/main" id="{BB300412-B8A2-444D-2B50-A14F91345AC7}"/>
              </a:ext>
            </a:extLst>
          </p:cNvPr>
          <p:cNvSpPr>
            <a:spLocks noGrp="1"/>
          </p:cNvSpPr>
          <p:nvPr>
            <p:ph type="body" sz="quarter" idx="13"/>
          </p:nvPr>
        </p:nvSpPr>
        <p:spPr>
          <a:xfrm>
            <a:off x="528638" y="976200"/>
            <a:ext cx="11160125" cy="368412"/>
          </a:xfrm>
        </p:spPr>
        <p:txBody>
          <a:bodyPr vert="horz" lIns="91440" tIns="0" rIns="91440" bIns="0" rtlCol="0" anchor="t">
            <a:normAutofit/>
          </a:bodyPr>
          <a:lstStyle/>
          <a:p>
            <a:r>
              <a:rPr lang="en-GB" sz="1800">
                <a:solidFill>
                  <a:srgbClr val="002060"/>
                </a:solidFill>
                <a:latin typeface="Roboto"/>
                <a:ea typeface="Roboto"/>
                <a:cs typeface="Roboto"/>
              </a:rPr>
              <a:t>Our safety record in 2023 and focus for 2024</a:t>
            </a:r>
          </a:p>
        </p:txBody>
      </p:sp>
    </p:spTree>
    <p:extLst>
      <p:ext uri="{BB962C8B-B14F-4D97-AF65-F5344CB8AC3E}">
        <p14:creationId xmlns:p14="http://schemas.microsoft.com/office/powerpoint/2010/main" val="4141228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C82F6403-0BA7-FB95-A1A0-728C5E278480}"/>
              </a:ext>
            </a:extLst>
          </p:cNvPr>
          <p:cNvGrpSpPr/>
          <p:nvPr/>
        </p:nvGrpSpPr>
        <p:grpSpPr>
          <a:xfrm>
            <a:off x="532081" y="607989"/>
            <a:ext cx="11127837" cy="6106682"/>
            <a:chOff x="583125" y="601434"/>
            <a:chExt cx="11127837" cy="6106682"/>
          </a:xfrm>
        </p:grpSpPr>
        <p:grpSp>
          <p:nvGrpSpPr>
            <p:cNvPr id="7" name="Group 6">
              <a:extLst>
                <a:ext uri="{FF2B5EF4-FFF2-40B4-BE49-F238E27FC236}">
                  <a16:creationId xmlns:a16="http://schemas.microsoft.com/office/drawing/2014/main" id="{5C3964B8-E5AF-F1D3-D196-4856EE91CC1E}"/>
                </a:ext>
              </a:extLst>
            </p:cNvPr>
            <p:cNvGrpSpPr/>
            <p:nvPr/>
          </p:nvGrpSpPr>
          <p:grpSpPr>
            <a:xfrm>
              <a:off x="5187411" y="601434"/>
              <a:ext cx="1944306" cy="1913494"/>
              <a:chOff x="7367207" y="2420355"/>
              <a:chExt cx="1944306" cy="1913494"/>
            </a:xfrm>
          </p:grpSpPr>
          <p:sp>
            <p:nvSpPr>
              <p:cNvPr id="10" name="Rectangle 9">
                <a:extLst>
                  <a:ext uri="{FF2B5EF4-FFF2-40B4-BE49-F238E27FC236}">
                    <a16:creationId xmlns:a16="http://schemas.microsoft.com/office/drawing/2014/main" id="{391FE363-3F18-DC7D-3E69-4D99C0233483}"/>
                  </a:ext>
                </a:extLst>
              </p:cNvPr>
              <p:cNvSpPr/>
              <p:nvPr/>
            </p:nvSpPr>
            <p:spPr>
              <a:xfrm>
                <a:off x="7367207" y="3769034"/>
                <a:ext cx="1944306" cy="5648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0" marR="0" lvl="0" indent="0" algn="ctr" defTabSz="914400" rtl="0" eaLnBrk="1" fontAlgn="auto" latinLnBrk="0" hangingPunct="1">
                  <a:lnSpc>
                    <a:spcPct val="100000"/>
                  </a:lnSpc>
                  <a:spcBef>
                    <a:spcPts val="100"/>
                  </a:spcBef>
                  <a:spcAft>
                    <a:spcPts val="0"/>
                  </a:spcAft>
                  <a:buClrTx/>
                  <a:buSzPts val="1000"/>
                  <a:buFontTx/>
                  <a:buNone/>
                  <a:tabLst>
                    <a:tab pos="914400" algn="l"/>
                  </a:tabLst>
                  <a:defRPr/>
                </a:pPr>
                <a:r>
                  <a:rPr kumimoji="0" lang="en-GB" sz="1000" b="1" i="0" u="none" strike="noStrike" kern="1200" cap="none" spc="0" normalizeH="0" baseline="0" noProof="0" dirty="0">
                    <a:ln>
                      <a:noFill/>
                    </a:ln>
                    <a:solidFill>
                      <a:srgbClr val="000000"/>
                    </a:solidFill>
                    <a:effectLst/>
                    <a:uLnTx/>
                    <a:uFillTx/>
                    <a:latin typeface="Roboto"/>
                    <a:ea typeface="+mn-ea"/>
                    <a:cs typeface="+mn-cs"/>
                  </a:rPr>
                  <a:t>Ian Goldsmith</a:t>
                </a:r>
              </a:p>
              <a:p>
                <a:pPr marL="0" marR="0" lvl="0" indent="0" algn="ctr" defTabSz="914400" rtl="0" eaLnBrk="1" fontAlgn="auto" latinLnBrk="0" hangingPunct="1">
                  <a:lnSpc>
                    <a:spcPct val="100000"/>
                  </a:lnSpc>
                  <a:spcBef>
                    <a:spcPts val="100"/>
                  </a:spcBef>
                  <a:spcAft>
                    <a:spcPts val="0"/>
                  </a:spcAft>
                  <a:buClrTx/>
                  <a:buSzPts val="1000"/>
                  <a:buFontTx/>
                  <a:buNone/>
                  <a:tabLst>
                    <a:tab pos="914400" algn="l"/>
                  </a:tabLst>
                  <a:defRPr/>
                </a:pPr>
                <a:r>
                  <a:rPr kumimoji="0" lang="en-GB" sz="1000" b="0" i="0" u="none" strike="noStrike" kern="1200" cap="none" spc="0" normalizeH="0" baseline="0" noProof="0" dirty="0">
                    <a:ln>
                      <a:noFill/>
                    </a:ln>
                    <a:solidFill>
                      <a:srgbClr val="000000"/>
                    </a:solidFill>
                    <a:effectLst/>
                    <a:uLnTx/>
                    <a:uFillTx/>
                    <a:latin typeface="Roboto"/>
                    <a:ea typeface="+mn-ea"/>
                    <a:cs typeface="+mn-cs"/>
                  </a:rPr>
                  <a:t>Chief Strategy Officer</a:t>
                </a:r>
                <a:br>
                  <a:rPr kumimoji="0" lang="en-GB" sz="1000" b="0" i="0" u="none" strike="noStrike" kern="1200" cap="none" spc="0" normalizeH="0" baseline="0" noProof="0" dirty="0">
                    <a:ln>
                      <a:noFill/>
                    </a:ln>
                    <a:solidFill>
                      <a:srgbClr val="000000"/>
                    </a:solidFill>
                    <a:effectLst/>
                    <a:uLnTx/>
                    <a:uFillTx/>
                    <a:latin typeface="Roboto"/>
                    <a:ea typeface="+mn-ea"/>
                    <a:cs typeface="+mn-cs"/>
                  </a:rPr>
                </a:br>
                <a:r>
                  <a:rPr kumimoji="0" lang="en-GB" sz="1000" b="0" i="0" u="none" strike="noStrike" kern="1200" cap="none" spc="0" normalizeH="0" baseline="0" noProof="0" dirty="0">
                    <a:ln>
                      <a:noFill/>
                    </a:ln>
                    <a:solidFill>
                      <a:srgbClr val="000000"/>
                    </a:solidFill>
                    <a:effectLst/>
                    <a:uLnTx/>
                    <a:uFillTx/>
                    <a:latin typeface="Roboto"/>
                    <a:ea typeface="+mn-ea"/>
                    <a:cs typeface="+mn-cs"/>
                  </a:rPr>
                  <a:t>STARK Building Materials UK </a:t>
                </a:r>
              </a:p>
              <a:p>
                <a:pPr marL="0" marR="0" lvl="0" indent="0" algn="ctr" defTabSz="914400" rtl="0" eaLnBrk="1" fontAlgn="auto" latinLnBrk="0" hangingPunct="1">
                  <a:lnSpc>
                    <a:spcPct val="100000"/>
                  </a:lnSpc>
                  <a:spcBef>
                    <a:spcPts val="100"/>
                  </a:spcBef>
                  <a:spcAft>
                    <a:spcPts val="0"/>
                  </a:spcAft>
                  <a:buClrTx/>
                  <a:buSzTx/>
                  <a:buFontTx/>
                  <a:buNone/>
                  <a:tabLst/>
                  <a:defRPr/>
                </a:pPr>
                <a:endParaRPr kumimoji="0" lang="en-GB" sz="1000" b="0" i="0" u="none" strike="noStrike" kern="1200" cap="none" spc="0" normalizeH="0" baseline="0" noProof="0" dirty="0">
                  <a:ln>
                    <a:noFill/>
                  </a:ln>
                  <a:solidFill>
                    <a:srgbClr val="000000"/>
                  </a:solidFill>
                  <a:effectLst/>
                  <a:uLnTx/>
                  <a:uFillTx/>
                  <a:latin typeface="Roboto"/>
                  <a:ea typeface="+mn-ea"/>
                  <a:cs typeface="+mn-cs"/>
                </a:endParaRPr>
              </a:p>
            </p:txBody>
          </p:sp>
          <p:sp>
            <p:nvSpPr>
              <p:cNvPr id="76" name="Graphic 18">
                <a:extLst>
                  <a:ext uri="{FF2B5EF4-FFF2-40B4-BE49-F238E27FC236}">
                    <a16:creationId xmlns:a16="http://schemas.microsoft.com/office/drawing/2014/main" id="{24EF9464-03D0-0EA1-AF4D-50171CC3A827}"/>
                  </a:ext>
                </a:extLst>
              </p:cNvPr>
              <p:cNvSpPr/>
              <p:nvPr/>
            </p:nvSpPr>
            <p:spPr>
              <a:xfrm>
                <a:off x="7769670" y="2420355"/>
                <a:ext cx="1139380" cy="1315718"/>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dpi="0" rotWithShape="1">
                <a:blip r:embed="rId3" cstate="print">
                  <a:extLst>
                    <a:ext uri="{28A0092B-C50C-407E-A947-70E740481C1C}">
                      <a14:useLocalDpi xmlns:a14="http://schemas.microsoft.com/office/drawing/2010/main" val="0"/>
                    </a:ext>
                  </a:extLst>
                </a:blip>
                <a:srcRect/>
                <a:stretch>
                  <a:fillRect l="-17604" r="-2048"/>
                </a:stretch>
              </a:blipFill>
              <a:ln w="38100" cap="flat">
                <a:solidFill>
                  <a:schemeClr val="tx2"/>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grpSp>
          <p:nvGrpSpPr>
            <p:cNvPr id="3" name="Group 2">
              <a:extLst>
                <a:ext uri="{FF2B5EF4-FFF2-40B4-BE49-F238E27FC236}">
                  <a16:creationId xmlns:a16="http://schemas.microsoft.com/office/drawing/2014/main" id="{A505C51D-09CD-0E9F-5745-66B57B38917B}"/>
                </a:ext>
              </a:extLst>
            </p:cNvPr>
            <p:cNvGrpSpPr/>
            <p:nvPr/>
          </p:nvGrpSpPr>
          <p:grpSpPr>
            <a:xfrm>
              <a:off x="594913" y="601434"/>
              <a:ext cx="1897752" cy="1791727"/>
              <a:chOff x="9855477" y="2216100"/>
              <a:chExt cx="1897752" cy="1791727"/>
            </a:xfrm>
          </p:grpSpPr>
          <p:sp>
            <p:nvSpPr>
              <p:cNvPr id="9" name="Rectangle 8">
                <a:extLst>
                  <a:ext uri="{FF2B5EF4-FFF2-40B4-BE49-F238E27FC236}">
                    <a16:creationId xmlns:a16="http://schemas.microsoft.com/office/drawing/2014/main" id="{936BF96D-7A83-5D40-8711-4C01EC89D5A7}"/>
                  </a:ext>
                </a:extLst>
              </p:cNvPr>
              <p:cNvSpPr/>
              <p:nvPr/>
            </p:nvSpPr>
            <p:spPr>
              <a:xfrm>
                <a:off x="9855477" y="3566927"/>
                <a:ext cx="1897752" cy="440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Roboto"/>
                    <a:ea typeface="+mn-ea"/>
                    <a:cs typeface="+mn-cs"/>
                  </a:rPr>
                  <a:t>John Carter</a:t>
                </a:r>
              </a:p>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Roboto"/>
                    <a:ea typeface="+mn-ea"/>
                    <a:cs typeface="+mn-cs"/>
                  </a:rPr>
                  <a:t>CEO</a:t>
                </a:r>
                <a:br>
                  <a:rPr kumimoji="0" lang="en-US" sz="1000" b="0" i="0" u="none" strike="noStrike" kern="1200" cap="none" spc="0" normalizeH="0" baseline="0" noProof="0" dirty="0">
                    <a:ln>
                      <a:noFill/>
                    </a:ln>
                    <a:solidFill>
                      <a:srgbClr val="000000"/>
                    </a:solidFill>
                    <a:effectLst/>
                    <a:uLnTx/>
                    <a:uFillTx/>
                    <a:latin typeface="Roboto"/>
                    <a:ea typeface="+mn-ea"/>
                    <a:cs typeface="+mn-cs"/>
                  </a:rPr>
                </a:br>
                <a:r>
                  <a:rPr kumimoji="0" lang="en-GB" sz="1000" b="0" i="0" u="none" strike="noStrike" kern="1200" cap="none" spc="0" normalizeH="0" baseline="0" noProof="0" dirty="0">
                    <a:ln>
                      <a:noFill/>
                    </a:ln>
                    <a:solidFill>
                      <a:srgbClr val="000000"/>
                    </a:solidFill>
                    <a:effectLst/>
                    <a:uLnTx/>
                    <a:uFillTx/>
                    <a:latin typeface="Roboto"/>
                    <a:ea typeface="+mn-ea"/>
                    <a:cs typeface="+mn-cs"/>
                  </a:rPr>
                  <a:t>STARK Building Materials UK </a:t>
                </a:r>
              </a:p>
            </p:txBody>
          </p:sp>
          <p:sp>
            <p:nvSpPr>
              <p:cNvPr id="77" name="Graphic 18">
                <a:extLst>
                  <a:ext uri="{FF2B5EF4-FFF2-40B4-BE49-F238E27FC236}">
                    <a16:creationId xmlns:a16="http://schemas.microsoft.com/office/drawing/2014/main" id="{E740CCFA-783B-3C1E-2F52-D31F1475EF9B}"/>
                  </a:ext>
                </a:extLst>
              </p:cNvPr>
              <p:cNvSpPr/>
              <p:nvPr/>
            </p:nvSpPr>
            <p:spPr>
              <a:xfrm>
                <a:off x="10234663" y="2216100"/>
                <a:ext cx="1139380" cy="1315718"/>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a:blip r:embed="rId4" cstate="print">
                  <a:extLst>
                    <a:ext uri="{28A0092B-C50C-407E-A947-70E740481C1C}">
                      <a14:useLocalDpi xmlns:a14="http://schemas.microsoft.com/office/drawing/2010/main" val="0"/>
                    </a:ext>
                  </a:extLst>
                </a:blip>
                <a:stretch>
                  <a:fillRect l="-6587" r="-6587"/>
                </a:stretch>
              </a:blipFill>
              <a:ln w="38100" cap="flat">
                <a:solidFill>
                  <a:schemeClr val="tx2"/>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grpSp>
          <p:nvGrpSpPr>
            <p:cNvPr id="18" name="Group 17">
              <a:extLst>
                <a:ext uri="{FF2B5EF4-FFF2-40B4-BE49-F238E27FC236}">
                  <a16:creationId xmlns:a16="http://schemas.microsoft.com/office/drawing/2014/main" id="{8CFCA122-E6EC-4F33-2758-72F615F5D7CB}"/>
                </a:ext>
              </a:extLst>
            </p:cNvPr>
            <p:cNvGrpSpPr/>
            <p:nvPr/>
          </p:nvGrpSpPr>
          <p:grpSpPr>
            <a:xfrm>
              <a:off x="5104667" y="4761741"/>
              <a:ext cx="1944306" cy="1946375"/>
              <a:chOff x="9710357" y="386502"/>
              <a:chExt cx="1944306" cy="1946375"/>
            </a:xfrm>
          </p:grpSpPr>
          <p:sp>
            <p:nvSpPr>
              <p:cNvPr id="41" name="Rectangle 40">
                <a:extLst>
                  <a:ext uri="{FF2B5EF4-FFF2-40B4-BE49-F238E27FC236}">
                    <a16:creationId xmlns:a16="http://schemas.microsoft.com/office/drawing/2014/main" id="{9C457800-0D32-0943-7D0D-D5F26271606D}"/>
                  </a:ext>
                </a:extLst>
              </p:cNvPr>
              <p:cNvSpPr/>
              <p:nvPr/>
            </p:nvSpPr>
            <p:spPr>
              <a:xfrm>
                <a:off x="9710357" y="1768062"/>
                <a:ext cx="1944306" cy="5648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0" marR="0" lvl="0" indent="0" algn="ctr" defTabSz="914400" rtl="0" eaLnBrk="1" fontAlgn="auto" latinLnBrk="0" hangingPunct="1">
                  <a:lnSpc>
                    <a:spcPct val="100000"/>
                  </a:lnSpc>
                  <a:spcBef>
                    <a:spcPts val="100"/>
                  </a:spcBef>
                  <a:spcAft>
                    <a:spcPts val="0"/>
                  </a:spcAft>
                  <a:buClrTx/>
                  <a:buSzPts val="1000"/>
                  <a:buFontTx/>
                  <a:buNone/>
                  <a:tabLst>
                    <a:tab pos="914400" algn="l"/>
                  </a:tabLst>
                  <a:defRPr/>
                </a:pPr>
                <a:r>
                  <a:rPr kumimoji="0" lang="en-GB" sz="1000" b="1" i="0" u="none" strike="noStrike" kern="1200" cap="none" spc="0" normalizeH="0" baseline="0" noProof="0" dirty="0">
                    <a:ln>
                      <a:noFill/>
                    </a:ln>
                    <a:solidFill>
                      <a:srgbClr val="000000"/>
                    </a:solidFill>
                    <a:effectLst/>
                    <a:uLnTx/>
                    <a:uFillTx/>
                    <a:latin typeface="Roboto"/>
                    <a:ea typeface="Roboto" panose="02000000000000000000" pitchFamily="2" charset="0"/>
                    <a:cs typeface="Roboto" panose="02000000000000000000" pitchFamily="2" charset="0"/>
                  </a:rPr>
                  <a:t>Helene Bradley</a:t>
                </a:r>
              </a:p>
              <a:p>
                <a:pPr marL="0" marR="0" lvl="0" indent="0" algn="ctr" defTabSz="914400" rtl="0" eaLnBrk="1" fontAlgn="auto" latinLnBrk="0" hangingPunct="1">
                  <a:lnSpc>
                    <a:spcPct val="100000"/>
                  </a:lnSpc>
                  <a:spcBef>
                    <a:spcPts val="100"/>
                  </a:spcBef>
                  <a:spcAft>
                    <a:spcPts val="0"/>
                  </a:spcAft>
                  <a:buClrTx/>
                  <a:buSzPts val="1000"/>
                  <a:buFontTx/>
                  <a:buNone/>
                  <a:tabLst>
                    <a:tab pos="914400" algn="l"/>
                  </a:tabLst>
                  <a:defRPr/>
                </a:pPr>
                <a:r>
                  <a:rPr kumimoji="0" lang="en-GB" sz="1000" b="0" i="0" u="none" strike="noStrike" kern="1200" cap="none" spc="0" normalizeH="0" baseline="0" noProof="0" dirty="0">
                    <a:ln>
                      <a:noFill/>
                    </a:ln>
                    <a:solidFill>
                      <a:srgbClr val="000000"/>
                    </a:solidFill>
                    <a:effectLst/>
                    <a:uLnTx/>
                    <a:uFillTx/>
                    <a:latin typeface="Roboto"/>
                    <a:ea typeface="Roboto" panose="02000000000000000000" pitchFamily="2" charset="0"/>
                    <a:cs typeface="Roboto" panose="02000000000000000000" pitchFamily="2" charset="0"/>
                  </a:rPr>
                  <a:t>Communications Director, </a:t>
                </a:r>
                <a:br>
                  <a:rPr kumimoji="0" lang="en-GB" sz="1000" b="0" i="0" u="none" strike="noStrike" kern="1200" cap="none" spc="0" normalizeH="0" baseline="0" noProof="0" dirty="0">
                    <a:ln>
                      <a:noFill/>
                    </a:ln>
                    <a:solidFill>
                      <a:srgbClr val="000000"/>
                    </a:solidFill>
                    <a:effectLst/>
                    <a:uLnTx/>
                    <a:uFillTx/>
                    <a:latin typeface="Roboto"/>
                    <a:ea typeface="Roboto" panose="02000000000000000000" pitchFamily="2" charset="0"/>
                    <a:cs typeface="Roboto" panose="02000000000000000000" pitchFamily="2" charset="0"/>
                  </a:rPr>
                </a:br>
                <a:r>
                  <a:rPr kumimoji="0" lang="en-GB" sz="1000" b="0" i="0" u="none" strike="noStrike" kern="1200" cap="none" spc="0" normalizeH="0" baseline="0" noProof="0" dirty="0">
                    <a:ln>
                      <a:noFill/>
                    </a:ln>
                    <a:solidFill>
                      <a:srgbClr val="000000"/>
                    </a:solidFill>
                    <a:effectLst/>
                    <a:uLnTx/>
                    <a:uFillTx/>
                    <a:latin typeface="Roboto"/>
                    <a:ea typeface="Roboto" panose="02000000000000000000" pitchFamily="2" charset="0"/>
                    <a:cs typeface="Roboto" panose="02000000000000000000" pitchFamily="2" charset="0"/>
                  </a:rPr>
                  <a:t>STARK Building Materials UK </a:t>
                </a:r>
              </a:p>
              <a:p>
                <a:pPr marL="0" marR="0" lvl="0" indent="0" algn="ctr" defTabSz="914400" rtl="0" eaLnBrk="1" fontAlgn="auto" latinLnBrk="0" hangingPunct="1">
                  <a:lnSpc>
                    <a:spcPct val="100000"/>
                  </a:lnSpc>
                  <a:spcBef>
                    <a:spcPts val="100"/>
                  </a:spcBef>
                  <a:spcAft>
                    <a:spcPts val="0"/>
                  </a:spcAft>
                  <a:buClrTx/>
                  <a:buSzTx/>
                  <a:buFontTx/>
                  <a:buNone/>
                  <a:tabLst/>
                  <a:defRPr/>
                </a:pPr>
                <a:endParaRPr kumimoji="0" lang="en-GB" sz="1000" b="0" i="0" u="none" strike="noStrike" kern="1200" cap="none" spc="0" normalizeH="0" baseline="0" noProof="0" dirty="0">
                  <a:ln>
                    <a:noFill/>
                  </a:ln>
                  <a:solidFill>
                    <a:srgbClr val="000000"/>
                  </a:solidFill>
                  <a:effectLst/>
                  <a:uLnTx/>
                  <a:uFillTx/>
                  <a:latin typeface="Roboto"/>
                  <a:ea typeface="+mn-ea"/>
                  <a:cs typeface="+mn-cs"/>
                </a:endParaRPr>
              </a:p>
            </p:txBody>
          </p:sp>
          <p:sp>
            <p:nvSpPr>
              <p:cNvPr id="66" name="Graphic 18">
                <a:extLst>
                  <a:ext uri="{FF2B5EF4-FFF2-40B4-BE49-F238E27FC236}">
                    <a16:creationId xmlns:a16="http://schemas.microsoft.com/office/drawing/2014/main" id="{AA9BF4F9-2EBD-CBAF-F4FD-40F4049AD76C}"/>
                  </a:ext>
                </a:extLst>
              </p:cNvPr>
              <p:cNvSpPr/>
              <p:nvPr/>
            </p:nvSpPr>
            <p:spPr>
              <a:xfrm>
                <a:off x="10112820" y="386502"/>
                <a:ext cx="1139380" cy="1315718"/>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dpi="0" rotWithShape="1">
                <a:blip r:embed="rId5" cstate="print">
                  <a:extLst>
                    <a:ext uri="{28A0092B-C50C-407E-A947-70E740481C1C}">
                      <a14:useLocalDpi xmlns:a14="http://schemas.microsoft.com/office/drawing/2010/main" val="0"/>
                    </a:ext>
                  </a:extLst>
                </a:blip>
                <a:srcRect/>
                <a:stretch>
                  <a:fillRect l="-8062" r="-8062"/>
                </a:stretch>
              </a:blipFill>
              <a:ln w="38100" cap="flat">
                <a:solidFill>
                  <a:schemeClr val="tx2"/>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grpSp>
          <p:nvGrpSpPr>
            <p:cNvPr id="4" name="Group 3">
              <a:extLst>
                <a:ext uri="{FF2B5EF4-FFF2-40B4-BE49-F238E27FC236}">
                  <a16:creationId xmlns:a16="http://schemas.microsoft.com/office/drawing/2014/main" id="{E09B25F9-9B3B-43D5-D567-BB710160C2FF}"/>
                </a:ext>
              </a:extLst>
            </p:cNvPr>
            <p:cNvGrpSpPr/>
            <p:nvPr/>
          </p:nvGrpSpPr>
          <p:grpSpPr>
            <a:xfrm>
              <a:off x="583125" y="4761741"/>
              <a:ext cx="1921328" cy="1896899"/>
              <a:chOff x="594913" y="2420355"/>
              <a:chExt cx="1921328" cy="1896899"/>
            </a:xfrm>
          </p:grpSpPr>
          <p:sp>
            <p:nvSpPr>
              <p:cNvPr id="38" name="Rectangle 37">
                <a:extLst>
                  <a:ext uri="{FF2B5EF4-FFF2-40B4-BE49-F238E27FC236}">
                    <a16:creationId xmlns:a16="http://schemas.microsoft.com/office/drawing/2014/main" id="{72FE03D7-4820-9124-D9D4-05385D74BEA2}"/>
                  </a:ext>
                </a:extLst>
              </p:cNvPr>
              <p:cNvSpPr/>
              <p:nvPr/>
            </p:nvSpPr>
            <p:spPr>
              <a:xfrm>
                <a:off x="594913" y="3826108"/>
                <a:ext cx="1921328" cy="491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0" marR="0" lvl="0" indent="0" algn="ctr" defTabSz="914400" rtl="0" eaLnBrk="1" fontAlgn="auto" latinLnBrk="0" hangingPunct="1">
                  <a:lnSpc>
                    <a:spcPct val="100000"/>
                  </a:lnSpc>
                  <a:spcBef>
                    <a:spcPts val="100"/>
                  </a:spcBef>
                  <a:spcAft>
                    <a:spcPts val="0"/>
                  </a:spcAft>
                  <a:buClrTx/>
                  <a:buSzPts val="1000"/>
                  <a:buFontTx/>
                  <a:buNone/>
                  <a:tabLst>
                    <a:tab pos="914400" algn="l"/>
                  </a:tabLst>
                  <a:defRPr/>
                </a:pPr>
                <a:r>
                  <a:rPr kumimoji="0" lang="en-GB" sz="1000" b="1" i="0" u="none" strike="noStrike" kern="1200" cap="none" spc="0" normalizeH="0" baseline="0" noProof="0" dirty="0">
                    <a:ln>
                      <a:noFill/>
                    </a:ln>
                    <a:solidFill>
                      <a:srgbClr val="000000"/>
                    </a:solidFill>
                    <a:effectLst/>
                    <a:uLnTx/>
                    <a:uFillTx/>
                    <a:latin typeface="Roboto"/>
                    <a:ea typeface="Roboto" panose="02000000000000000000" pitchFamily="2" charset="0"/>
                    <a:cs typeface="Roboto" panose="02000000000000000000" pitchFamily="2" charset="0"/>
                  </a:rPr>
                  <a:t>Ranald Forbes</a:t>
                </a:r>
              </a:p>
              <a:p>
                <a:pPr marL="0" marR="0" lvl="0" indent="0" algn="ctr" defTabSz="914400" rtl="0" eaLnBrk="1" fontAlgn="auto" latinLnBrk="0" hangingPunct="1">
                  <a:lnSpc>
                    <a:spcPct val="100000"/>
                  </a:lnSpc>
                  <a:spcBef>
                    <a:spcPts val="100"/>
                  </a:spcBef>
                  <a:spcAft>
                    <a:spcPts val="0"/>
                  </a:spcAft>
                  <a:buClrTx/>
                  <a:buSzPts val="1000"/>
                  <a:buFontTx/>
                  <a:buNone/>
                  <a:tabLst>
                    <a:tab pos="914400" algn="l"/>
                  </a:tabLst>
                  <a:defRPr/>
                </a:pPr>
                <a:r>
                  <a:rPr kumimoji="0" lang="en-GB" sz="1000" b="0" i="0" u="none" strike="noStrike" kern="1200" cap="none" spc="0" normalizeH="0" baseline="0" noProof="0" dirty="0">
                    <a:ln>
                      <a:noFill/>
                    </a:ln>
                    <a:solidFill>
                      <a:srgbClr val="000000"/>
                    </a:solidFill>
                    <a:effectLst/>
                    <a:uLnTx/>
                    <a:uFillTx/>
                    <a:latin typeface="Roboto"/>
                    <a:ea typeface="Roboto" panose="02000000000000000000" pitchFamily="2" charset="0"/>
                    <a:cs typeface="Roboto" panose="02000000000000000000" pitchFamily="2" charset="0"/>
                  </a:rPr>
                  <a:t>Chief Logistics Officer, STARK Building Materials UK </a:t>
                </a:r>
              </a:p>
              <a:p>
                <a:pPr marL="0" marR="0" lvl="0" indent="0" algn="ctr" defTabSz="914400" rtl="0" eaLnBrk="1" fontAlgn="auto" latinLnBrk="0" hangingPunct="1">
                  <a:lnSpc>
                    <a:spcPct val="100000"/>
                  </a:lnSpc>
                  <a:spcBef>
                    <a:spcPts val="100"/>
                  </a:spcBef>
                  <a:spcAft>
                    <a:spcPts val="0"/>
                  </a:spcAft>
                  <a:buClrTx/>
                  <a:buSzTx/>
                  <a:buFontTx/>
                  <a:buNone/>
                  <a:tabLst/>
                  <a:defRPr/>
                </a:pPr>
                <a:endParaRPr kumimoji="0" lang="en-GB" sz="1000" b="0" i="0" u="none" strike="noStrike" kern="1200" cap="none" spc="0" normalizeH="0" baseline="0" noProof="0" dirty="0">
                  <a:ln>
                    <a:noFill/>
                  </a:ln>
                  <a:solidFill>
                    <a:srgbClr val="000000"/>
                  </a:solidFill>
                  <a:effectLst/>
                  <a:uLnTx/>
                  <a:uFillTx/>
                  <a:latin typeface="Roboto"/>
                  <a:ea typeface="+mn-ea"/>
                  <a:cs typeface="+mn-cs"/>
                </a:endParaRPr>
              </a:p>
            </p:txBody>
          </p:sp>
          <p:sp>
            <p:nvSpPr>
              <p:cNvPr id="67" name="Graphic 18">
                <a:extLst>
                  <a:ext uri="{FF2B5EF4-FFF2-40B4-BE49-F238E27FC236}">
                    <a16:creationId xmlns:a16="http://schemas.microsoft.com/office/drawing/2014/main" id="{30ABAD25-89AF-EC29-AA16-9D5DC28A401A}"/>
                  </a:ext>
                </a:extLst>
              </p:cNvPr>
              <p:cNvSpPr/>
              <p:nvPr/>
            </p:nvSpPr>
            <p:spPr>
              <a:xfrm>
                <a:off x="985887" y="2420355"/>
                <a:ext cx="1139380" cy="1315718"/>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dpi="0" rotWithShape="1">
                <a:blip r:embed="rId6" cstate="print">
                  <a:extLst>
                    <a:ext uri="{28A0092B-C50C-407E-A947-70E740481C1C}">
                      <a14:useLocalDpi xmlns:a14="http://schemas.microsoft.com/office/drawing/2010/main" val="0"/>
                    </a:ext>
                  </a:extLst>
                </a:blip>
                <a:srcRect/>
                <a:stretch>
                  <a:fillRect l="-6175" r="-6175"/>
                </a:stretch>
              </a:blipFill>
              <a:ln w="38100" cap="flat">
                <a:solidFill>
                  <a:schemeClr val="tx2"/>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grpSp>
          <p:nvGrpSpPr>
            <p:cNvPr id="5" name="Group 4">
              <a:extLst>
                <a:ext uri="{FF2B5EF4-FFF2-40B4-BE49-F238E27FC236}">
                  <a16:creationId xmlns:a16="http://schemas.microsoft.com/office/drawing/2014/main" id="{F032B565-CABD-7841-8776-4A294D287210}"/>
                </a:ext>
              </a:extLst>
            </p:cNvPr>
            <p:cNvGrpSpPr/>
            <p:nvPr/>
          </p:nvGrpSpPr>
          <p:grpSpPr>
            <a:xfrm>
              <a:off x="7390284" y="4761741"/>
              <a:ext cx="1965924" cy="1915405"/>
              <a:chOff x="2657475" y="2420355"/>
              <a:chExt cx="1965924" cy="1915405"/>
            </a:xfrm>
          </p:grpSpPr>
          <p:sp>
            <p:nvSpPr>
              <p:cNvPr id="44" name="Rectangle 43">
                <a:extLst>
                  <a:ext uri="{FF2B5EF4-FFF2-40B4-BE49-F238E27FC236}">
                    <a16:creationId xmlns:a16="http://schemas.microsoft.com/office/drawing/2014/main" id="{120B03BA-D855-FC63-BD83-AC0D1C944861}"/>
                  </a:ext>
                </a:extLst>
              </p:cNvPr>
              <p:cNvSpPr/>
              <p:nvPr/>
            </p:nvSpPr>
            <p:spPr>
              <a:xfrm>
                <a:off x="2657475" y="3770945"/>
                <a:ext cx="1965924" cy="5648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0" marR="0" lvl="0" indent="0" algn="ctr" defTabSz="914400" rtl="0" eaLnBrk="1" fontAlgn="auto" latinLnBrk="0" hangingPunct="1">
                  <a:lnSpc>
                    <a:spcPct val="100000"/>
                  </a:lnSpc>
                  <a:spcBef>
                    <a:spcPts val="100"/>
                  </a:spcBef>
                  <a:spcAft>
                    <a:spcPts val="0"/>
                  </a:spcAft>
                  <a:buClrTx/>
                  <a:buSzPts val="1000"/>
                  <a:buFontTx/>
                  <a:buNone/>
                  <a:tabLst>
                    <a:tab pos="914400" algn="l"/>
                  </a:tabLst>
                  <a:defRPr/>
                </a:pPr>
                <a:r>
                  <a:rPr kumimoji="0" lang="en-GB" sz="1000" b="1" i="0" u="none" strike="noStrike" kern="1200" cap="none" spc="0" normalizeH="0" baseline="0" noProof="0" dirty="0">
                    <a:ln>
                      <a:noFill/>
                    </a:ln>
                    <a:solidFill>
                      <a:srgbClr val="000000"/>
                    </a:solidFill>
                    <a:effectLst/>
                    <a:uLnTx/>
                    <a:uFillTx/>
                    <a:latin typeface="Roboto"/>
                    <a:ea typeface="Roboto" panose="02000000000000000000" pitchFamily="2" charset="0"/>
                    <a:cs typeface="Roboto" panose="02000000000000000000" pitchFamily="2" charset="0"/>
                  </a:rPr>
                  <a:t>Nim Cassidy</a:t>
                </a:r>
              </a:p>
              <a:p>
                <a:pPr marL="0" marR="0" lvl="0" indent="0" algn="ctr" defTabSz="914400" rtl="0" eaLnBrk="1" fontAlgn="auto" latinLnBrk="0" hangingPunct="1">
                  <a:lnSpc>
                    <a:spcPct val="100000"/>
                  </a:lnSpc>
                  <a:spcBef>
                    <a:spcPts val="100"/>
                  </a:spcBef>
                  <a:spcAft>
                    <a:spcPts val="0"/>
                  </a:spcAft>
                  <a:buClrTx/>
                  <a:buSzPts val="1000"/>
                  <a:buFontTx/>
                  <a:buNone/>
                  <a:tabLst>
                    <a:tab pos="914400" algn="l"/>
                  </a:tabLst>
                  <a:defRPr/>
                </a:pPr>
                <a:r>
                  <a:rPr kumimoji="0" lang="en-GB" sz="1000" b="0" i="0" u="none" strike="noStrike" kern="1200" cap="none" spc="0" normalizeH="0" baseline="0" noProof="0" dirty="0">
                    <a:ln>
                      <a:noFill/>
                    </a:ln>
                    <a:solidFill>
                      <a:srgbClr val="000000"/>
                    </a:solidFill>
                    <a:effectLst/>
                    <a:uLnTx/>
                    <a:uFillTx/>
                    <a:latin typeface="Roboto"/>
                    <a:ea typeface="Roboto" panose="02000000000000000000" pitchFamily="2" charset="0"/>
                    <a:cs typeface="Roboto" panose="02000000000000000000" pitchFamily="2" charset="0"/>
                  </a:rPr>
                  <a:t>General Counsel and Company Secretary, STARK Building Materials UK </a:t>
                </a:r>
              </a:p>
              <a:p>
                <a:pPr marL="0" marR="0" lvl="0" indent="0" algn="ctr" defTabSz="914400" rtl="0" eaLnBrk="1" fontAlgn="auto" latinLnBrk="0" hangingPunct="1">
                  <a:lnSpc>
                    <a:spcPct val="100000"/>
                  </a:lnSpc>
                  <a:spcBef>
                    <a:spcPts val="100"/>
                  </a:spcBef>
                  <a:spcAft>
                    <a:spcPts val="0"/>
                  </a:spcAft>
                  <a:buClrTx/>
                  <a:buSzTx/>
                  <a:buFontTx/>
                  <a:buNone/>
                  <a:tabLst/>
                  <a:defRPr/>
                </a:pPr>
                <a:endParaRPr kumimoji="0" lang="en-GB" sz="1000" b="0" i="0" u="none" strike="noStrike" kern="1200" cap="none" spc="0" normalizeH="0" baseline="0" noProof="0" dirty="0">
                  <a:ln>
                    <a:noFill/>
                  </a:ln>
                  <a:solidFill>
                    <a:srgbClr val="000000"/>
                  </a:solidFill>
                  <a:effectLst/>
                  <a:uLnTx/>
                  <a:uFillTx/>
                  <a:latin typeface="Roboto"/>
                  <a:ea typeface="+mn-ea"/>
                  <a:cs typeface="+mn-cs"/>
                </a:endParaRPr>
              </a:p>
            </p:txBody>
          </p:sp>
          <p:sp>
            <p:nvSpPr>
              <p:cNvPr id="68" name="Graphic 18">
                <a:extLst>
                  <a:ext uri="{FF2B5EF4-FFF2-40B4-BE49-F238E27FC236}">
                    <a16:creationId xmlns:a16="http://schemas.microsoft.com/office/drawing/2014/main" id="{001B79AB-DFE4-016B-B139-6026CDCE6470}"/>
                  </a:ext>
                </a:extLst>
              </p:cNvPr>
              <p:cNvSpPr/>
              <p:nvPr/>
            </p:nvSpPr>
            <p:spPr>
              <a:xfrm>
                <a:off x="3132113" y="2420355"/>
                <a:ext cx="1139380" cy="1315718"/>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dpi="0" rotWithShape="1">
                <a:blip r:embed="rId7" cstate="print">
                  <a:extLst>
                    <a:ext uri="{28A0092B-C50C-407E-A947-70E740481C1C}">
                      <a14:useLocalDpi xmlns:a14="http://schemas.microsoft.com/office/drawing/2010/main" val="0"/>
                    </a:ext>
                  </a:extLst>
                </a:blip>
                <a:srcRect/>
                <a:stretch>
                  <a:fillRect l="-10769" r="-10769"/>
                </a:stretch>
              </a:blipFill>
              <a:ln w="38100" cap="flat">
                <a:solidFill>
                  <a:schemeClr val="tx2"/>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grpSp>
          <p:nvGrpSpPr>
            <p:cNvPr id="6" name="Group 5">
              <a:extLst>
                <a:ext uri="{FF2B5EF4-FFF2-40B4-BE49-F238E27FC236}">
                  <a16:creationId xmlns:a16="http://schemas.microsoft.com/office/drawing/2014/main" id="{89B4C10E-FE41-2488-C7CA-6364E3622940}"/>
                </a:ext>
              </a:extLst>
            </p:cNvPr>
            <p:cNvGrpSpPr/>
            <p:nvPr/>
          </p:nvGrpSpPr>
          <p:grpSpPr>
            <a:xfrm>
              <a:off x="2845764" y="4761741"/>
              <a:ext cx="1917592" cy="1856418"/>
              <a:chOff x="4961498" y="2420355"/>
              <a:chExt cx="1917592" cy="1856418"/>
            </a:xfrm>
          </p:grpSpPr>
          <p:sp>
            <p:nvSpPr>
              <p:cNvPr id="47" name="Rectangle 46">
                <a:extLst>
                  <a:ext uri="{FF2B5EF4-FFF2-40B4-BE49-F238E27FC236}">
                    <a16:creationId xmlns:a16="http://schemas.microsoft.com/office/drawing/2014/main" id="{8666AE54-EC20-132D-16E9-8F50FE2D5298}"/>
                  </a:ext>
                </a:extLst>
              </p:cNvPr>
              <p:cNvSpPr/>
              <p:nvPr/>
            </p:nvSpPr>
            <p:spPr>
              <a:xfrm>
                <a:off x="4961498" y="3826108"/>
                <a:ext cx="1917592" cy="450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0" marR="0" lvl="0" indent="0" algn="ctr" defTabSz="914400" rtl="0" eaLnBrk="1" fontAlgn="auto" latinLnBrk="0" hangingPunct="1">
                  <a:lnSpc>
                    <a:spcPct val="100000"/>
                  </a:lnSpc>
                  <a:spcBef>
                    <a:spcPts val="100"/>
                  </a:spcBef>
                  <a:spcAft>
                    <a:spcPts val="0"/>
                  </a:spcAft>
                  <a:buClrTx/>
                  <a:buSzPts val="1000"/>
                  <a:buFontTx/>
                  <a:buNone/>
                  <a:tabLst>
                    <a:tab pos="914400" algn="l"/>
                  </a:tabLst>
                  <a:defRPr/>
                </a:pPr>
                <a:r>
                  <a:rPr kumimoji="0" lang="en-GB" sz="1000" b="1" i="0" u="none" strike="noStrike" kern="1200" cap="none" spc="0" normalizeH="0" baseline="0" noProof="0" dirty="0">
                    <a:ln>
                      <a:noFill/>
                    </a:ln>
                    <a:solidFill>
                      <a:srgbClr val="000000"/>
                    </a:solidFill>
                    <a:effectLst/>
                    <a:uLnTx/>
                    <a:uFillTx/>
                    <a:latin typeface="Roboto"/>
                    <a:ea typeface="Roboto" panose="02000000000000000000" pitchFamily="2" charset="0"/>
                    <a:cs typeface="Roboto" panose="02000000000000000000" pitchFamily="2" charset="0"/>
                  </a:rPr>
                  <a:t>Patrick Knight</a:t>
                </a:r>
              </a:p>
              <a:p>
                <a:pPr marL="0" marR="0" lvl="0" indent="0" algn="ctr" defTabSz="914400" rtl="0" eaLnBrk="1" fontAlgn="auto" latinLnBrk="0" hangingPunct="1">
                  <a:lnSpc>
                    <a:spcPct val="100000"/>
                  </a:lnSpc>
                  <a:spcBef>
                    <a:spcPts val="100"/>
                  </a:spcBef>
                  <a:spcAft>
                    <a:spcPts val="0"/>
                  </a:spcAft>
                  <a:buClrTx/>
                  <a:buSzPts val="1000"/>
                  <a:buFontTx/>
                  <a:buNone/>
                  <a:tabLst>
                    <a:tab pos="914400" algn="l"/>
                  </a:tabLst>
                  <a:defRPr/>
                </a:pPr>
                <a:r>
                  <a:rPr kumimoji="0" lang="en-GB" sz="1000" b="0" i="0" u="none" strike="noStrike" kern="1200" cap="none" spc="0" normalizeH="0" baseline="0" noProof="0" dirty="0">
                    <a:ln>
                      <a:noFill/>
                    </a:ln>
                    <a:solidFill>
                      <a:srgbClr val="000000"/>
                    </a:solidFill>
                    <a:effectLst/>
                    <a:uLnTx/>
                    <a:uFillTx/>
                    <a:latin typeface="Roboto"/>
                    <a:ea typeface="Roboto" panose="02000000000000000000" pitchFamily="2" charset="0"/>
                    <a:cs typeface="Roboto" panose="02000000000000000000" pitchFamily="2" charset="0"/>
                  </a:rPr>
                  <a:t>Chief Information Officer, STARK Building Materials UK </a:t>
                </a:r>
              </a:p>
              <a:p>
                <a:pPr marL="0" marR="0" lvl="0" indent="0" algn="ctr" defTabSz="914400" rtl="0" eaLnBrk="1" fontAlgn="auto" latinLnBrk="0" hangingPunct="1">
                  <a:lnSpc>
                    <a:spcPct val="100000"/>
                  </a:lnSpc>
                  <a:spcBef>
                    <a:spcPts val="100"/>
                  </a:spcBef>
                  <a:spcAft>
                    <a:spcPts val="0"/>
                  </a:spcAft>
                  <a:buClrTx/>
                  <a:buSzTx/>
                  <a:buFontTx/>
                  <a:buNone/>
                  <a:tabLst/>
                  <a:defRPr/>
                </a:pPr>
                <a:endParaRPr kumimoji="0" lang="en-GB" sz="1000" b="0" i="0" u="none" strike="noStrike" kern="1200" cap="none" spc="0" normalizeH="0" baseline="0" noProof="0" dirty="0">
                  <a:ln>
                    <a:noFill/>
                  </a:ln>
                  <a:solidFill>
                    <a:srgbClr val="000000"/>
                  </a:solidFill>
                  <a:effectLst/>
                  <a:uLnTx/>
                  <a:uFillTx/>
                  <a:latin typeface="Roboto"/>
                  <a:ea typeface="+mn-ea"/>
                  <a:cs typeface="+mn-cs"/>
                </a:endParaRPr>
              </a:p>
            </p:txBody>
          </p:sp>
          <p:sp>
            <p:nvSpPr>
              <p:cNvPr id="69" name="Graphic 18">
                <a:extLst>
                  <a:ext uri="{FF2B5EF4-FFF2-40B4-BE49-F238E27FC236}">
                    <a16:creationId xmlns:a16="http://schemas.microsoft.com/office/drawing/2014/main" id="{7060C82A-0A60-47F2-F91D-60665ED8C811}"/>
                  </a:ext>
                </a:extLst>
              </p:cNvPr>
              <p:cNvSpPr/>
              <p:nvPr/>
            </p:nvSpPr>
            <p:spPr>
              <a:xfrm>
                <a:off x="5350604" y="2420355"/>
                <a:ext cx="1139380" cy="1315718"/>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dpi="0" rotWithShape="1">
                <a:blip r:embed="rId8" cstate="print">
                  <a:extLst>
                    <a:ext uri="{28A0092B-C50C-407E-A947-70E740481C1C}">
                      <a14:useLocalDpi xmlns:a14="http://schemas.microsoft.com/office/drawing/2010/main" val="0"/>
                    </a:ext>
                  </a:extLst>
                </a:blip>
                <a:srcRect/>
                <a:stretch>
                  <a:fillRect l="-7104" r="-7104"/>
                </a:stretch>
              </a:blipFill>
              <a:ln w="38100" cap="flat">
                <a:solidFill>
                  <a:schemeClr val="tx2"/>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grpSp>
          <p:nvGrpSpPr>
            <p:cNvPr id="12" name="Group 11">
              <a:extLst>
                <a:ext uri="{FF2B5EF4-FFF2-40B4-BE49-F238E27FC236}">
                  <a16:creationId xmlns:a16="http://schemas.microsoft.com/office/drawing/2014/main" id="{D8E19531-9078-86EC-5AD3-867889ECE7C5}"/>
                </a:ext>
              </a:extLst>
            </p:cNvPr>
            <p:cNvGrpSpPr/>
            <p:nvPr/>
          </p:nvGrpSpPr>
          <p:grpSpPr>
            <a:xfrm>
              <a:off x="2839210" y="605577"/>
              <a:ext cx="2013444" cy="1882642"/>
              <a:chOff x="2817788" y="386502"/>
              <a:chExt cx="2013444" cy="1882642"/>
            </a:xfrm>
          </p:grpSpPr>
          <p:sp>
            <p:nvSpPr>
              <p:cNvPr id="24" name="Rectangle 23">
                <a:extLst>
                  <a:ext uri="{FF2B5EF4-FFF2-40B4-BE49-F238E27FC236}">
                    <a16:creationId xmlns:a16="http://schemas.microsoft.com/office/drawing/2014/main" id="{18FB0326-975E-27D8-6FCC-D71B0FCD126C}"/>
                  </a:ext>
                </a:extLst>
              </p:cNvPr>
              <p:cNvSpPr/>
              <p:nvPr/>
            </p:nvSpPr>
            <p:spPr>
              <a:xfrm>
                <a:off x="2817788" y="1768062"/>
                <a:ext cx="2013444" cy="5010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Roboto"/>
                    <a:ea typeface="+mn-ea"/>
                    <a:cs typeface="+mn-cs"/>
                  </a:rPr>
                  <a:t>James Martin</a:t>
                </a:r>
              </a:p>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Roboto"/>
                    <a:ea typeface="+mn-ea"/>
                    <a:cs typeface="+mn-cs"/>
                  </a:rPr>
                  <a:t>Chief Financial Officer, </a:t>
                </a:r>
                <a:br>
                  <a:rPr kumimoji="0" lang="en-GB" sz="1000" b="0" i="0" u="none" strike="noStrike" kern="1200" cap="none" spc="0" normalizeH="0" baseline="0" noProof="0" dirty="0">
                    <a:ln>
                      <a:noFill/>
                    </a:ln>
                    <a:solidFill>
                      <a:srgbClr val="000000"/>
                    </a:solidFill>
                    <a:effectLst/>
                    <a:uLnTx/>
                    <a:uFillTx/>
                    <a:latin typeface="Roboto"/>
                    <a:ea typeface="+mn-ea"/>
                    <a:cs typeface="+mn-cs"/>
                  </a:rPr>
                </a:br>
                <a:r>
                  <a:rPr kumimoji="0" lang="en-GB" sz="1000" b="0" i="0" u="none" strike="noStrike" kern="1200" cap="none" spc="0" normalizeH="0" baseline="0" noProof="0" dirty="0">
                    <a:ln>
                      <a:noFill/>
                    </a:ln>
                    <a:solidFill>
                      <a:srgbClr val="000000"/>
                    </a:solidFill>
                    <a:effectLst/>
                    <a:uLnTx/>
                    <a:uFillTx/>
                    <a:latin typeface="Roboto"/>
                    <a:ea typeface="+mn-ea"/>
                    <a:cs typeface="+mn-cs"/>
                  </a:rPr>
                  <a:t>STARK Building Materials UK</a:t>
                </a:r>
              </a:p>
            </p:txBody>
          </p:sp>
          <p:sp>
            <p:nvSpPr>
              <p:cNvPr id="71" name="Graphic 18">
                <a:extLst>
                  <a:ext uri="{FF2B5EF4-FFF2-40B4-BE49-F238E27FC236}">
                    <a16:creationId xmlns:a16="http://schemas.microsoft.com/office/drawing/2014/main" id="{43135266-B28B-6D64-EFA2-5DA498F50B2D}"/>
                  </a:ext>
                </a:extLst>
              </p:cNvPr>
              <p:cNvSpPr/>
              <p:nvPr/>
            </p:nvSpPr>
            <p:spPr>
              <a:xfrm>
                <a:off x="3254820" y="386502"/>
                <a:ext cx="1139380" cy="1315718"/>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dpi="0" rotWithShape="1">
                <a:blip r:embed="rId9" cstate="print">
                  <a:extLst>
                    <a:ext uri="{28A0092B-C50C-407E-A947-70E740481C1C}">
                      <a14:useLocalDpi xmlns:a14="http://schemas.microsoft.com/office/drawing/2010/main" val="0"/>
                    </a:ext>
                  </a:extLst>
                </a:blip>
                <a:srcRect/>
                <a:stretch>
                  <a:fillRect l="-10769" r="-10769"/>
                </a:stretch>
              </a:blipFill>
              <a:ln w="38100" cap="flat">
                <a:solidFill>
                  <a:schemeClr val="tx2"/>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grpSp>
          <p:nvGrpSpPr>
            <p:cNvPr id="8" name="Group 7">
              <a:extLst>
                <a:ext uri="{FF2B5EF4-FFF2-40B4-BE49-F238E27FC236}">
                  <a16:creationId xmlns:a16="http://schemas.microsoft.com/office/drawing/2014/main" id="{9706395F-77E0-A60B-06C3-4EB2DB308A36}"/>
                </a:ext>
              </a:extLst>
            </p:cNvPr>
            <p:cNvGrpSpPr/>
            <p:nvPr/>
          </p:nvGrpSpPr>
          <p:grpSpPr>
            <a:xfrm>
              <a:off x="7466474" y="612964"/>
              <a:ext cx="1897752" cy="1882642"/>
              <a:chOff x="606702" y="386502"/>
              <a:chExt cx="1897752" cy="1882642"/>
            </a:xfrm>
          </p:grpSpPr>
          <p:sp>
            <p:nvSpPr>
              <p:cNvPr id="23" name="Rectangle 22">
                <a:extLst>
                  <a:ext uri="{FF2B5EF4-FFF2-40B4-BE49-F238E27FC236}">
                    <a16:creationId xmlns:a16="http://schemas.microsoft.com/office/drawing/2014/main" id="{1333EC6A-E9B6-8238-1D08-6095886C19C8}"/>
                  </a:ext>
                </a:extLst>
              </p:cNvPr>
              <p:cNvSpPr/>
              <p:nvPr/>
            </p:nvSpPr>
            <p:spPr>
              <a:xfrm>
                <a:off x="606702" y="1768062"/>
                <a:ext cx="1897752" cy="5010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Roboto"/>
                    <a:ea typeface="+mn-ea"/>
                    <a:cs typeface="+mn-cs"/>
                  </a:rPr>
                  <a:t>Carol Kavanagh</a:t>
                </a:r>
              </a:p>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Roboto"/>
                    <a:ea typeface="+mn-ea"/>
                    <a:cs typeface="+mn-cs"/>
                  </a:rPr>
                  <a:t>HR Director, STARK Building Materials UK</a:t>
                </a:r>
              </a:p>
            </p:txBody>
          </p:sp>
          <p:sp>
            <p:nvSpPr>
              <p:cNvPr id="72" name="Graphic 18">
                <a:extLst>
                  <a:ext uri="{FF2B5EF4-FFF2-40B4-BE49-F238E27FC236}">
                    <a16:creationId xmlns:a16="http://schemas.microsoft.com/office/drawing/2014/main" id="{C763DE06-588D-C446-446D-B0E8299E6BBF}"/>
                  </a:ext>
                </a:extLst>
              </p:cNvPr>
              <p:cNvSpPr/>
              <p:nvPr/>
            </p:nvSpPr>
            <p:spPr>
              <a:xfrm>
                <a:off x="985888" y="386502"/>
                <a:ext cx="1139380" cy="1315718"/>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dpi="0" rotWithShape="1">
                <a:blip r:embed="rId10" cstate="print">
                  <a:extLst>
                    <a:ext uri="{28A0092B-C50C-407E-A947-70E740481C1C}">
                      <a14:useLocalDpi xmlns:a14="http://schemas.microsoft.com/office/drawing/2010/main" val="0"/>
                    </a:ext>
                  </a:extLst>
                </a:blip>
                <a:srcRect/>
                <a:stretch>
                  <a:fillRect l="-7674" r="-7674"/>
                </a:stretch>
              </a:blipFill>
              <a:ln w="38100" cap="flat">
                <a:solidFill>
                  <a:schemeClr val="tx2"/>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Roboto"/>
                  <a:ea typeface="+mn-ea"/>
                  <a:cs typeface="+mn-cs"/>
                </a:endParaRPr>
              </a:p>
            </p:txBody>
          </p:sp>
        </p:grpSp>
        <p:grpSp>
          <p:nvGrpSpPr>
            <p:cNvPr id="13" name="Group 12">
              <a:extLst>
                <a:ext uri="{FF2B5EF4-FFF2-40B4-BE49-F238E27FC236}">
                  <a16:creationId xmlns:a16="http://schemas.microsoft.com/office/drawing/2014/main" id="{D549FF7D-99C9-5B66-986F-5C377BE93C10}"/>
                </a:ext>
              </a:extLst>
            </p:cNvPr>
            <p:cNvGrpSpPr/>
            <p:nvPr/>
          </p:nvGrpSpPr>
          <p:grpSpPr>
            <a:xfrm>
              <a:off x="9697518" y="605577"/>
              <a:ext cx="2013444" cy="1882642"/>
              <a:chOff x="5085856" y="386502"/>
              <a:chExt cx="2013444" cy="1882642"/>
            </a:xfrm>
          </p:grpSpPr>
          <p:sp>
            <p:nvSpPr>
              <p:cNvPr id="25" name="Rectangle 24">
                <a:extLst>
                  <a:ext uri="{FF2B5EF4-FFF2-40B4-BE49-F238E27FC236}">
                    <a16:creationId xmlns:a16="http://schemas.microsoft.com/office/drawing/2014/main" id="{A2E3969B-A0B8-6836-BE43-FE1D596FBF8F}"/>
                  </a:ext>
                </a:extLst>
              </p:cNvPr>
              <p:cNvSpPr/>
              <p:nvPr/>
            </p:nvSpPr>
            <p:spPr>
              <a:xfrm>
                <a:off x="5085856" y="1768062"/>
                <a:ext cx="2013444" cy="5010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Roboto"/>
                    <a:ea typeface="+mn-ea"/>
                    <a:cs typeface="+mn-cs"/>
                  </a:rPr>
                  <a:t>Mark </a:t>
                </a:r>
                <a:r>
                  <a:rPr kumimoji="0" lang="en-GB" sz="1000" b="1" i="0" u="none" strike="noStrike" kern="1200" cap="none" spc="0" normalizeH="0" baseline="0" noProof="0" dirty="0" err="1">
                    <a:ln>
                      <a:noFill/>
                    </a:ln>
                    <a:solidFill>
                      <a:srgbClr val="000000"/>
                    </a:solidFill>
                    <a:effectLst/>
                    <a:uLnTx/>
                    <a:uFillTx/>
                    <a:latin typeface="Roboto"/>
                    <a:ea typeface="+mn-ea"/>
                    <a:cs typeface="+mn-cs"/>
                  </a:rPr>
                  <a:t>Esling</a:t>
                </a:r>
                <a:endParaRPr kumimoji="0" lang="en-GB" sz="1000" b="1" i="0" u="none" strike="noStrike" kern="1200" cap="none" spc="0" normalizeH="0" baseline="0" noProof="0" dirty="0">
                  <a:ln>
                    <a:noFill/>
                  </a:ln>
                  <a:solidFill>
                    <a:srgbClr val="000000"/>
                  </a:solidFill>
                  <a:effectLst/>
                  <a:uLnTx/>
                  <a:uFillTx/>
                  <a:latin typeface="Roboto"/>
                  <a:ea typeface="+mn-ea"/>
                  <a:cs typeface="+mn-cs"/>
                </a:endParaRPr>
              </a:p>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Roboto"/>
                    <a:ea typeface="+mn-ea"/>
                    <a:cs typeface="+mn-cs"/>
                  </a:rPr>
                  <a:t>Chief Commercial Officer, </a:t>
                </a:r>
                <a:br>
                  <a:rPr kumimoji="0" lang="en-GB" sz="1000" b="0" i="0" u="none" strike="noStrike" kern="1200" cap="none" spc="0" normalizeH="0" baseline="0" noProof="0" dirty="0">
                    <a:ln>
                      <a:noFill/>
                    </a:ln>
                    <a:solidFill>
                      <a:srgbClr val="000000"/>
                    </a:solidFill>
                    <a:effectLst/>
                    <a:uLnTx/>
                    <a:uFillTx/>
                    <a:latin typeface="Roboto"/>
                    <a:ea typeface="+mn-ea"/>
                    <a:cs typeface="+mn-cs"/>
                  </a:rPr>
                </a:br>
                <a:r>
                  <a:rPr kumimoji="0" lang="en-GB" sz="1000" b="0" i="0" u="none" strike="noStrike" kern="1200" cap="none" spc="0" normalizeH="0" baseline="0" noProof="0" dirty="0">
                    <a:ln>
                      <a:noFill/>
                    </a:ln>
                    <a:solidFill>
                      <a:srgbClr val="000000"/>
                    </a:solidFill>
                    <a:effectLst/>
                    <a:uLnTx/>
                    <a:uFillTx/>
                    <a:latin typeface="Roboto"/>
                    <a:ea typeface="+mn-ea"/>
                    <a:cs typeface="+mn-cs"/>
                  </a:rPr>
                  <a:t>STARK Building Materials UK </a:t>
                </a:r>
              </a:p>
            </p:txBody>
          </p:sp>
          <p:sp>
            <p:nvSpPr>
              <p:cNvPr id="73" name="Graphic 18">
                <a:extLst>
                  <a:ext uri="{FF2B5EF4-FFF2-40B4-BE49-F238E27FC236}">
                    <a16:creationId xmlns:a16="http://schemas.microsoft.com/office/drawing/2014/main" id="{CAAE76AA-CA37-EC62-2080-8811144AA424}"/>
                  </a:ext>
                </a:extLst>
              </p:cNvPr>
              <p:cNvSpPr/>
              <p:nvPr/>
            </p:nvSpPr>
            <p:spPr>
              <a:xfrm>
                <a:off x="5522888" y="386502"/>
                <a:ext cx="1139380" cy="1315718"/>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dpi="0" rotWithShape="1">
                <a:blip r:embed="rId11" cstate="print">
                  <a:extLst>
                    <a:ext uri="{28A0092B-C50C-407E-A947-70E740481C1C}">
                      <a14:useLocalDpi xmlns:a14="http://schemas.microsoft.com/office/drawing/2010/main" val="0"/>
                    </a:ext>
                  </a:extLst>
                </a:blip>
                <a:srcRect/>
                <a:stretch>
                  <a:fillRect l="-15121" r="-1"/>
                </a:stretch>
              </a:blipFill>
              <a:ln w="38100" cap="flat">
                <a:solidFill>
                  <a:schemeClr val="tx2"/>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grpSp>
          <p:nvGrpSpPr>
            <p:cNvPr id="15" name="Group 14">
              <a:extLst>
                <a:ext uri="{FF2B5EF4-FFF2-40B4-BE49-F238E27FC236}">
                  <a16:creationId xmlns:a16="http://schemas.microsoft.com/office/drawing/2014/main" id="{D5718C2E-2289-4B05-D9F9-0D8A6CE826AB}"/>
                </a:ext>
              </a:extLst>
            </p:cNvPr>
            <p:cNvGrpSpPr/>
            <p:nvPr/>
          </p:nvGrpSpPr>
          <p:grpSpPr>
            <a:xfrm>
              <a:off x="9697518" y="4761741"/>
              <a:ext cx="2013444" cy="1882642"/>
              <a:chOff x="7351974" y="386502"/>
              <a:chExt cx="2013444" cy="1882642"/>
            </a:xfrm>
          </p:grpSpPr>
          <p:sp>
            <p:nvSpPr>
              <p:cNvPr id="26" name="Rectangle 25">
                <a:extLst>
                  <a:ext uri="{FF2B5EF4-FFF2-40B4-BE49-F238E27FC236}">
                    <a16:creationId xmlns:a16="http://schemas.microsoft.com/office/drawing/2014/main" id="{4BDD9E25-0637-2728-1AC8-C491E3975E29}"/>
                  </a:ext>
                </a:extLst>
              </p:cNvPr>
              <p:cNvSpPr/>
              <p:nvPr/>
            </p:nvSpPr>
            <p:spPr>
              <a:xfrm>
                <a:off x="7351974" y="1768062"/>
                <a:ext cx="2013444" cy="5010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GB" sz="1000" b="1" i="0" u="none" strike="noStrike" kern="1200" cap="none" spc="0" normalizeH="0" baseline="0" noProof="0">
                    <a:ln>
                      <a:noFill/>
                    </a:ln>
                    <a:solidFill>
                      <a:srgbClr val="000000"/>
                    </a:solidFill>
                    <a:effectLst/>
                    <a:uLnTx/>
                    <a:uFillTx/>
                    <a:latin typeface="Roboto"/>
                    <a:ea typeface="+mn-ea"/>
                    <a:cs typeface="+mn-cs"/>
                  </a:rPr>
                  <a:t>Martin </a:t>
                </a:r>
                <a:r>
                  <a:rPr kumimoji="0" lang="en-GB" sz="1000" b="1" i="0" u="none" strike="noStrike" kern="1200" cap="none" spc="0" normalizeH="0" baseline="0" noProof="0" err="1">
                    <a:ln>
                      <a:noFill/>
                    </a:ln>
                    <a:solidFill>
                      <a:srgbClr val="000000"/>
                    </a:solidFill>
                    <a:effectLst/>
                    <a:uLnTx/>
                    <a:uFillTx/>
                    <a:latin typeface="Roboto"/>
                    <a:ea typeface="+mn-ea"/>
                    <a:cs typeface="+mn-cs"/>
                  </a:rPr>
                  <a:t>Meech</a:t>
                </a:r>
                <a:endParaRPr kumimoji="0" lang="en-GB" sz="1000" b="1" i="0" u="none" strike="noStrike" kern="1200" cap="none" spc="0" normalizeH="0" baseline="0" noProof="0">
                  <a:ln>
                    <a:noFill/>
                  </a:ln>
                  <a:solidFill>
                    <a:srgbClr val="000000"/>
                  </a:solidFill>
                  <a:effectLst/>
                  <a:uLnTx/>
                  <a:uFillTx/>
                  <a:latin typeface="Roboto"/>
                  <a:ea typeface="+mn-ea"/>
                  <a:cs typeface="+mn-cs"/>
                </a:endParaRPr>
              </a:p>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Roboto"/>
                    <a:ea typeface="+mn-ea"/>
                    <a:cs typeface="+mn-cs"/>
                  </a:rPr>
                  <a:t>Strategic Property Officer, STARK Building Materials UK</a:t>
                </a:r>
              </a:p>
            </p:txBody>
          </p:sp>
          <p:sp>
            <p:nvSpPr>
              <p:cNvPr id="74" name="Graphic 18">
                <a:extLst>
                  <a:ext uri="{FF2B5EF4-FFF2-40B4-BE49-F238E27FC236}">
                    <a16:creationId xmlns:a16="http://schemas.microsoft.com/office/drawing/2014/main" id="{172A747F-B021-609B-BC9F-665299404437}"/>
                  </a:ext>
                </a:extLst>
              </p:cNvPr>
              <p:cNvSpPr/>
              <p:nvPr/>
            </p:nvSpPr>
            <p:spPr>
              <a:xfrm>
                <a:off x="7789006" y="386502"/>
                <a:ext cx="1139380" cy="1315718"/>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dpi="0" rotWithShape="1">
                <a:blip r:embed="rId12" cstate="print">
                  <a:extLst>
                    <a:ext uri="{28A0092B-C50C-407E-A947-70E740481C1C}">
                      <a14:useLocalDpi xmlns:a14="http://schemas.microsoft.com/office/drawing/2010/main" val="0"/>
                    </a:ext>
                  </a:extLst>
                </a:blip>
                <a:srcRect/>
                <a:stretch>
                  <a:fillRect l="-8192" r="-8192"/>
                </a:stretch>
              </a:blipFill>
              <a:ln w="38100" cap="flat">
                <a:solidFill>
                  <a:schemeClr val="tx2"/>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grpSp>
          <p:nvGrpSpPr>
            <p:cNvPr id="22" name="Group 21">
              <a:extLst>
                <a:ext uri="{FF2B5EF4-FFF2-40B4-BE49-F238E27FC236}">
                  <a16:creationId xmlns:a16="http://schemas.microsoft.com/office/drawing/2014/main" id="{9F954B94-41C5-7ED8-4A46-4ED8701D0F07}"/>
                </a:ext>
              </a:extLst>
            </p:cNvPr>
            <p:cNvGrpSpPr/>
            <p:nvPr/>
          </p:nvGrpSpPr>
          <p:grpSpPr>
            <a:xfrm>
              <a:off x="6172921" y="2700719"/>
              <a:ext cx="1917592" cy="1850342"/>
              <a:chOff x="7441151" y="4636145"/>
              <a:chExt cx="1917592" cy="1850342"/>
            </a:xfrm>
          </p:grpSpPr>
          <p:sp>
            <p:nvSpPr>
              <p:cNvPr id="27" name="Rectangle 26">
                <a:extLst>
                  <a:ext uri="{FF2B5EF4-FFF2-40B4-BE49-F238E27FC236}">
                    <a16:creationId xmlns:a16="http://schemas.microsoft.com/office/drawing/2014/main" id="{41981CB4-4729-BD84-B59A-892BB204FED9}"/>
                  </a:ext>
                </a:extLst>
              </p:cNvPr>
              <p:cNvSpPr/>
              <p:nvPr/>
            </p:nvSpPr>
            <p:spPr>
              <a:xfrm>
                <a:off x="7441151" y="5985405"/>
                <a:ext cx="1917592" cy="5010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0" marR="0" lvl="0" indent="0" algn="ctr" defTabSz="914400" rtl="0" eaLnBrk="1" fontAlgn="auto" latinLnBrk="0" hangingPunct="1">
                  <a:lnSpc>
                    <a:spcPct val="100000"/>
                  </a:lnSpc>
                  <a:spcBef>
                    <a:spcPts val="100"/>
                  </a:spcBef>
                  <a:spcAft>
                    <a:spcPts val="0"/>
                  </a:spcAft>
                  <a:buClrTx/>
                  <a:buSzPts val="1000"/>
                  <a:buFontTx/>
                  <a:buNone/>
                  <a:tabLst>
                    <a:tab pos="914400" algn="l"/>
                  </a:tabLst>
                  <a:defRPr/>
                </a:pPr>
                <a:r>
                  <a:rPr kumimoji="0" lang="en-GB" sz="1000" b="1" i="0" u="none" strike="noStrike" kern="1200" cap="none" spc="0" normalizeH="0" baseline="0" noProof="0" dirty="0">
                    <a:ln>
                      <a:noFill/>
                    </a:ln>
                    <a:solidFill>
                      <a:srgbClr val="000000"/>
                    </a:solidFill>
                    <a:effectLst/>
                    <a:uLnTx/>
                    <a:uFillTx/>
                    <a:latin typeface="Roboto"/>
                    <a:ea typeface="Roboto" panose="02000000000000000000" pitchFamily="2" charset="0"/>
                    <a:cs typeface="Roboto" panose="02000000000000000000" pitchFamily="2" charset="0"/>
                  </a:rPr>
                  <a:t>Neil </a:t>
                </a:r>
                <a:r>
                  <a:rPr kumimoji="0" lang="en-GB" sz="1000" b="1" i="0" u="none" strike="noStrike" kern="1200" cap="none" spc="0" normalizeH="0" baseline="0" noProof="0" dirty="0" err="1">
                    <a:ln>
                      <a:noFill/>
                    </a:ln>
                    <a:solidFill>
                      <a:srgbClr val="000000"/>
                    </a:solidFill>
                    <a:effectLst/>
                    <a:uLnTx/>
                    <a:uFillTx/>
                    <a:latin typeface="Roboto"/>
                    <a:ea typeface="+mn-ea"/>
                    <a:cs typeface="+mn-cs"/>
                  </a:rPr>
                  <a:t>Grindley</a:t>
                </a:r>
                <a:endParaRPr kumimoji="0" lang="en-GB" sz="1000" b="1" i="0" u="none" strike="noStrike" kern="1200" cap="none" spc="0" normalizeH="0" baseline="0" noProof="0" dirty="0">
                  <a:ln>
                    <a:noFill/>
                  </a:ln>
                  <a:solidFill>
                    <a:srgbClr val="000000"/>
                  </a:solidFill>
                  <a:effectLst/>
                  <a:uLnTx/>
                  <a:uFillTx/>
                  <a:latin typeface="Roboto"/>
                  <a:ea typeface="+mn-ea"/>
                  <a:cs typeface="+mn-cs"/>
                </a:endParaRPr>
              </a:p>
              <a:p>
                <a:pPr marL="0" marR="0" lvl="0" indent="0" algn="ctr" defTabSz="914400" rtl="0" eaLnBrk="1" fontAlgn="auto" latinLnBrk="0" hangingPunct="1">
                  <a:lnSpc>
                    <a:spcPct val="100000"/>
                  </a:lnSpc>
                  <a:spcBef>
                    <a:spcPts val="100"/>
                  </a:spcBef>
                  <a:spcAft>
                    <a:spcPts val="0"/>
                  </a:spcAft>
                  <a:buClrTx/>
                  <a:buSzPts val="1000"/>
                  <a:buFontTx/>
                  <a:buNone/>
                  <a:tabLst>
                    <a:tab pos="914400" algn="l"/>
                  </a:tabLst>
                  <a:defRPr/>
                </a:pPr>
                <a:r>
                  <a:rPr kumimoji="0" lang="en-GB" sz="1000" b="0" i="0" u="none" strike="noStrike" kern="1200" cap="none" spc="0" normalizeH="0" baseline="0" noProof="0" dirty="0">
                    <a:ln>
                      <a:noFill/>
                    </a:ln>
                    <a:solidFill>
                      <a:srgbClr val="000000"/>
                    </a:solidFill>
                    <a:effectLst/>
                    <a:uLnTx/>
                    <a:uFillTx/>
                    <a:latin typeface="Roboto"/>
                    <a:ea typeface="+mn-ea"/>
                    <a:cs typeface="+mn-cs"/>
                  </a:rPr>
                  <a:t>Regional Managing Director, Jewson West &amp; Wales </a:t>
                </a:r>
              </a:p>
              <a:p>
                <a:pPr marL="0" marR="0" lvl="0" indent="0" algn="ctr" defTabSz="914400" rtl="0" eaLnBrk="1" fontAlgn="auto" latinLnBrk="0" hangingPunct="1">
                  <a:lnSpc>
                    <a:spcPct val="100000"/>
                  </a:lnSpc>
                  <a:spcBef>
                    <a:spcPts val="100"/>
                  </a:spcBef>
                  <a:spcAft>
                    <a:spcPts val="0"/>
                  </a:spcAft>
                  <a:buClrTx/>
                  <a:buSzTx/>
                  <a:buFontTx/>
                  <a:buNone/>
                  <a:tabLst/>
                  <a:defRPr/>
                </a:pPr>
                <a:endParaRPr kumimoji="0" lang="en-GB" sz="1000" b="0" i="0" u="none" strike="noStrike" kern="1200" cap="none" spc="0" normalizeH="0" baseline="0" noProof="0" dirty="0">
                  <a:ln>
                    <a:noFill/>
                  </a:ln>
                  <a:solidFill>
                    <a:srgbClr val="000000"/>
                  </a:solidFill>
                  <a:effectLst/>
                  <a:uLnTx/>
                  <a:uFillTx/>
                  <a:latin typeface="Roboto"/>
                  <a:ea typeface="+mn-ea"/>
                  <a:cs typeface="+mn-cs"/>
                </a:endParaRPr>
              </a:p>
            </p:txBody>
          </p:sp>
          <p:sp>
            <p:nvSpPr>
              <p:cNvPr id="75" name="Graphic 18">
                <a:extLst>
                  <a:ext uri="{FF2B5EF4-FFF2-40B4-BE49-F238E27FC236}">
                    <a16:creationId xmlns:a16="http://schemas.microsoft.com/office/drawing/2014/main" id="{D9B8F3BC-9D5F-738E-E459-4F240F06E948}"/>
                  </a:ext>
                </a:extLst>
              </p:cNvPr>
              <p:cNvSpPr/>
              <p:nvPr/>
            </p:nvSpPr>
            <p:spPr>
              <a:xfrm>
                <a:off x="7792157" y="4636145"/>
                <a:ext cx="1139380" cy="1315718"/>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dpi="0" rotWithShape="1">
                <a:blip r:embed="rId13" cstate="print">
                  <a:extLst>
                    <a:ext uri="{28A0092B-C50C-407E-A947-70E740481C1C}">
                      <a14:useLocalDpi xmlns:a14="http://schemas.microsoft.com/office/drawing/2010/main" val="0"/>
                    </a:ext>
                  </a:extLst>
                </a:blip>
                <a:srcRect/>
                <a:stretch>
                  <a:fillRect l="-11533" r="-11533"/>
                </a:stretch>
              </a:blipFill>
              <a:ln w="38100" cap="flat">
                <a:solidFill>
                  <a:schemeClr val="tx2"/>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grpSp>
          <p:nvGrpSpPr>
            <p:cNvPr id="19" name="Group 18">
              <a:extLst>
                <a:ext uri="{FF2B5EF4-FFF2-40B4-BE49-F238E27FC236}">
                  <a16:creationId xmlns:a16="http://schemas.microsoft.com/office/drawing/2014/main" id="{FB0A37F9-BE2C-E137-EBC0-1E37241558C0}"/>
                </a:ext>
              </a:extLst>
            </p:cNvPr>
            <p:cNvGrpSpPr/>
            <p:nvPr/>
          </p:nvGrpSpPr>
          <p:grpSpPr>
            <a:xfrm>
              <a:off x="8305311" y="2697546"/>
              <a:ext cx="2292844" cy="1839496"/>
              <a:chOff x="364631" y="4636145"/>
              <a:chExt cx="2292844" cy="1839496"/>
            </a:xfrm>
          </p:grpSpPr>
          <p:sp>
            <p:nvSpPr>
              <p:cNvPr id="11" name="Rectangle 10">
                <a:extLst>
                  <a:ext uri="{FF2B5EF4-FFF2-40B4-BE49-F238E27FC236}">
                    <a16:creationId xmlns:a16="http://schemas.microsoft.com/office/drawing/2014/main" id="{CF738EE8-E835-882E-132E-374A64396251}"/>
                  </a:ext>
                </a:extLst>
              </p:cNvPr>
              <p:cNvSpPr/>
              <p:nvPr/>
            </p:nvSpPr>
            <p:spPr>
              <a:xfrm>
                <a:off x="364631" y="5985405"/>
                <a:ext cx="2292844" cy="4902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0" marR="0" lvl="0" indent="0" algn="ctr" defTabSz="914400" rtl="0" eaLnBrk="1" fontAlgn="auto" latinLnBrk="0" hangingPunct="1">
                  <a:lnSpc>
                    <a:spcPct val="100000"/>
                  </a:lnSpc>
                  <a:spcBef>
                    <a:spcPts val="100"/>
                  </a:spcBef>
                  <a:spcAft>
                    <a:spcPts val="0"/>
                  </a:spcAft>
                  <a:buClrTx/>
                  <a:buSzPts val="1000"/>
                  <a:buFontTx/>
                  <a:buNone/>
                  <a:tabLst>
                    <a:tab pos="914400" algn="l"/>
                  </a:tabLst>
                  <a:defRPr/>
                </a:pPr>
                <a:r>
                  <a:rPr kumimoji="0" lang="en-GB" sz="1000" b="1" i="0" u="none" strike="noStrike" kern="1200" cap="none" spc="0" normalizeH="0" baseline="0" noProof="0" dirty="0">
                    <a:ln>
                      <a:noFill/>
                    </a:ln>
                    <a:solidFill>
                      <a:srgbClr val="000000"/>
                    </a:solidFill>
                    <a:effectLst/>
                    <a:uLnTx/>
                    <a:uFillTx/>
                    <a:latin typeface="Roboto"/>
                    <a:ea typeface="+mn-ea"/>
                    <a:cs typeface="+mn-cs"/>
                  </a:rPr>
                  <a:t>Alex Davis</a:t>
                </a:r>
              </a:p>
              <a:p>
                <a:pPr marL="0" marR="0" lvl="0" indent="0" algn="ctr" defTabSz="914400" rtl="0" eaLnBrk="1" fontAlgn="auto" latinLnBrk="0" hangingPunct="1">
                  <a:lnSpc>
                    <a:spcPct val="100000"/>
                  </a:lnSpc>
                  <a:spcBef>
                    <a:spcPts val="100"/>
                  </a:spcBef>
                  <a:spcAft>
                    <a:spcPts val="0"/>
                  </a:spcAft>
                  <a:buClrTx/>
                  <a:buSzPts val="1000"/>
                  <a:buFontTx/>
                  <a:buNone/>
                  <a:tabLst>
                    <a:tab pos="914400" algn="l"/>
                  </a:tabLst>
                  <a:defRPr/>
                </a:pPr>
                <a:r>
                  <a:rPr kumimoji="0" lang="en-GB" sz="1000" b="0" i="0" u="none" strike="noStrike" kern="1200" cap="none" spc="0" normalizeH="0" baseline="0" noProof="0" dirty="0">
                    <a:ln>
                      <a:noFill/>
                    </a:ln>
                    <a:solidFill>
                      <a:srgbClr val="000000"/>
                    </a:solidFill>
                    <a:effectLst/>
                    <a:uLnTx/>
                    <a:uFillTx/>
                    <a:latin typeface="Roboto"/>
                    <a:ea typeface="+mn-ea"/>
                    <a:cs typeface="+mn-cs"/>
                  </a:rPr>
                  <a:t>Managing Director Contracts Division (Minster &amp; Jewson Civils Frazer) </a:t>
                </a:r>
              </a:p>
            </p:txBody>
          </p:sp>
          <p:sp>
            <p:nvSpPr>
              <p:cNvPr id="78" name="Graphic 18">
                <a:extLst>
                  <a:ext uri="{FF2B5EF4-FFF2-40B4-BE49-F238E27FC236}">
                    <a16:creationId xmlns:a16="http://schemas.microsoft.com/office/drawing/2014/main" id="{5C34B2C9-71FB-0A64-BB59-CF79F10C42CA}"/>
                  </a:ext>
                </a:extLst>
              </p:cNvPr>
              <p:cNvSpPr/>
              <p:nvPr/>
            </p:nvSpPr>
            <p:spPr>
              <a:xfrm>
                <a:off x="941363" y="4636145"/>
                <a:ext cx="1139380" cy="1315718"/>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dpi="0" rotWithShape="1">
                <a:blip r:embed="rId14" cstate="print">
                  <a:extLst>
                    <a:ext uri="{28A0092B-C50C-407E-A947-70E740481C1C}">
                      <a14:useLocalDpi xmlns:a14="http://schemas.microsoft.com/office/drawing/2010/main" val="0"/>
                    </a:ext>
                  </a:extLst>
                </a:blip>
                <a:srcRect/>
                <a:stretch>
                  <a:fillRect l="-9365" r="-9365"/>
                </a:stretch>
              </a:blipFill>
              <a:ln w="38100" cap="flat">
                <a:solidFill>
                  <a:schemeClr val="tx2"/>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grpSp>
          <p:nvGrpSpPr>
            <p:cNvPr id="20" name="Group 19">
              <a:extLst>
                <a:ext uri="{FF2B5EF4-FFF2-40B4-BE49-F238E27FC236}">
                  <a16:creationId xmlns:a16="http://schemas.microsoft.com/office/drawing/2014/main" id="{6B5721A3-2AE6-3644-6EA9-CA11117D7F14}"/>
                </a:ext>
              </a:extLst>
            </p:cNvPr>
            <p:cNvGrpSpPr/>
            <p:nvPr/>
          </p:nvGrpSpPr>
          <p:grpSpPr>
            <a:xfrm>
              <a:off x="1748377" y="2677004"/>
              <a:ext cx="1917592" cy="1839496"/>
              <a:chOff x="2818374" y="4636145"/>
              <a:chExt cx="1917592" cy="1839496"/>
            </a:xfrm>
          </p:grpSpPr>
          <p:sp>
            <p:nvSpPr>
              <p:cNvPr id="16" name="Rectangle 15">
                <a:extLst>
                  <a:ext uri="{FF2B5EF4-FFF2-40B4-BE49-F238E27FC236}">
                    <a16:creationId xmlns:a16="http://schemas.microsoft.com/office/drawing/2014/main" id="{300335E4-5ECC-0BA2-63E6-AE0698FFFABC}"/>
                  </a:ext>
                </a:extLst>
              </p:cNvPr>
              <p:cNvSpPr/>
              <p:nvPr/>
            </p:nvSpPr>
            <p:spPr>
              <a:xfrm>
                <a:off x="2818374" y="5985405"/>
                <a:ext cx="1917592" cy="4902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Roboto"/>
                    <a:ea typeface="+mn-ea"/>
                    <a:cs typeface="+mn-cs"/>
                  </a:rPr>
                  <a:t>Allan Davidson</a:t>
                </a:r>
              </a:p>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Roboto"/>
                    <a:ea typeface="+mn-ea"/>
                    <a:cs typeface="+mn-cs"/>
                  </a:rPr>
                  <a:t>Regional Managing Director, Jewson Scotland &amp; North</a:t>
                </a:r>
              </a:p>
            </p:txBody>
          </p:sp>
          <p:sp>
            <p:nvSpPr>
              <p:cNvPr id="79" name="Graphic 18">
                <a:extLst>
                  <a:ext uri="{FF2B5EF4-FFF2-40B4-BE49-F238E27FC236}">
                    <a16:creationId xmlns:a16="http://schemas.microsoft.com/office/drawing/2014/main" id="{A227E01C-C143-2BD3-D535-E9952EFED561}"/>
                  </a:ext>
                </a:extLst>
              </p:cNvPr>
              <p:cNvSpPr/>
              <p:nvPr/>
            </p:nvSpPr>
            <p:spPr>
              <a:xfrm>
                <a:off x="3207479" y="4636145"/>
                <a:ext cx="1139380" cy="1315718"/>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dpi="0" rotWithShape="1">
                <a:blip r:embed="rId15" cstate="print">
                  <a:extLst>
                    <a:ext uri="{28A0092B-C50C-407E-A947-70E740481C1C}">
                      <a14:useLocalDpi xmlns:a14="http://schemas.microsoft.com/office/drawing/2010/main" val="0"/>
                    </a:ext>
                  </a:extLst>
                </a:blip>
                <a:srcRect/>
                <a:stretch>
                  <a:fillRect l="-11380" r="-9854"/>
                </a:stretch>
              </a:blipFill>
              <a:ln w="38100" cap="flat">
                <a:solidFill>
                  <a:schemeClr val="tx2"/>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grpSp>
          <p:nvGrpSpPr>
            <p:cNvPr id="21" name="Group 20">
              <a:extLst>
                <a:ext uri="{FF2B5EF4-FFF2-40B4-BE49-F238E27FC236}">
                  <a16:creationId xmlns:a16="http://schemas.microsoft.com/office/drawing/2014/main" id="{E913B3AD-7B27-403A-22E5-07D60522E141}"/>
                </a:ext>
              </a:extLst>
            </p:cNvPr>
            <p:cNvGrpSpPr/>
            <p:nvPr/>
          </p:nvGrpSpPr>
          <p:grpSpPr>
            <a:xfrm>
              <a:off x="3880767" y="2711565"/>
              <a:ext cx="2077356" cy="1839496"/>
              <a:chOff x="5008594" y="4636145"/>
              <a:chExt cx="2077356" cy="1839496"/>
            </a:xfrm>
          </p:grpSpPr>
          <p:sp>
            <p:nvSpPr>
              <p:cNvPr id="17" name="Rectangle 16">
                <a:extLst>
                  <a:ext uri="{FF2B5EF4-FFF2-40B4-BE49-F238E27FC236}">
                    <a16:creationId xmlns:a16="http://schemas.microsoft.com/office/drawing/2014/main" id="{C2AB4B7F-2B19-74E9-2535-C3287D57E6C9}"/>
                  </a:ext>
                </a:extLst>
              </p:cNvPr>
              <p:cNvSpPr/>
              <p:nvPr/>
            </p:nvSpPr>
            <p:spPr>
              <a:xfrm>
                <a:off x="5008594" y="5985405"/>
                <a:ext cx="2077356" cy="4902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Roboto"/>
                    <a:ea typeface="+mn-ea"/>
                    <a:cs typeface="+mn-cs"/>
                  </a:rPr>
                  <a:t>Andy Jordan</a:t>
                </a:r>
              </a:p>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Roboto"/>
                    <a:ea typeface="+mn-ea"/>
                    <a:cs typeface="+mn-cs"/>
                  </a:rPr>
                  <a:t>Regional Managing Director, </a:t>
                </a:r>
                <a:br>
                  <a:rPr kumimoji="0" lang="en-GB" sz="1000" b="0" i="0" u="none" strike="noStrike" kern="1200" cap="none" spc="0" normalizeH="0" baseline="0" noProof="0" dirty="0">
                    <a:ln>
                      <a:noFill/>
                    </a:ln>
                    <a:solidFill>
                      <a:srgbClr val="000000"/>
                    </a:solidFill>
                    <a:effectLst/>
                    <a:uLnTx/>
                    <a:uFillTx/>
                    <a:latin typeface="Roboto"/>
                    <a:ea typeface="+mn-ea"/>
                    <a:cs typeface="+mn-cs"/>
                  </a:rPr>
                </a:br>
                <a:r>
                  <a:rPr kumimoji="0" lang="en-GB" sz="1000" b="0" i="0" u="none" strike="noStrike" kern="1200" cap="none" spc="0" normalizeH="0" baseline="0" noProof="0" dirty="0">
                    <a:ln>
                      <a:noFill/>
                    </a:ln>
                    <a:solidFill>
                      <a:srgbClr val="000000"/>
                    </a:solidFill>
                    <a:effectLst/>
                    <a:uLnTx/>
                    <a:uFillTx/>
                    <a:latin typeface="Roboto"/>
                    <a:ea typeface="+mn-ea"/>
                    <a:cs typeface="+mn-cs"/>
                  </a:rPr>
                  <a:t>Jewson South West</a:t>
                </a:r>
              </a:p>
            </p:txBody>
          </p:sp>
          <p:sp>
            <p:nvSpPr>
              <p:cNvPr id="80" name="Graphic 18">
                <a:extLst>
                  <a:ext uri="{FF2B5EF4-FFF2-40B4-BE49-F238E27FC236}">
                    <a16:creationId xmlns:a16="http://schemas.microsoft.com/office/drawing/2014/main" id="{E48CBBD1-0F37-8ACB-F611-0D3BC317E758}"/>
                  </a:ext>
                </a:extLst>
              </p:cNvPr>
              <p:cNvSpPr/>
              <p:nvPr/>
            </p:nvSpPr>
            <p:spPr>
              <a:xfrm>
                <a:off x="5477582" y="4636145"/>
                <a:ext cx="1139380" cy="1315718"/>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dpi="0" rotWithShape="1">
                <a:blip r:embed="rId16" cstate="print">
                  <a:extLst>
                    <a:ext uri="{28A0092B-C50C-407E-A947-70E740481C1C}">
                      <a14:useLocalDpi xmlns:a14="http://schemas.microsoft.com/office/drawing/2010/main" val="0"/>
                    </a:ext>
                  </a:extLst>
                </a:blip>
                <a:srcRect/>
                <a:stretch>
                  <a:fillRect l="-11144" r="-11144"/>
                </a:stretch>
              </a:blipFill>
              <a:ln w="38100" cap="flat">
                <a:solidFill>
                  <a:schemeClr val="tx2"/>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grpSp>
      <p:sp>
        <p:nvSpPr>
          <p:cNvPr id="2" name="Text Placeholder 13">
            <a:extLst>
              <a:ext uri="{FF2B5EF4-FFF2-40B4-BE49-F238E27FC236}">
                <a16:creationId xmlns:a16="http://schemas.microsoft.com/office/drawing/2014/main" id="{A14A0914-0403-2378-E7FA-264D936C5981}"/>
              </a:ext>
            </a:extLst>
          </p:cNvPr>
          <p:cNvSpPr txBox="1">
            <a:spLocks/>
          </p:cNvSpPr>
          <p:nvPr/>
        </p:nvSpPr>
        <p:spPr>
          <a:xfrm>
            <a:off x="4450402" y="45800"/>
            <a:ext cx="2967321" cy="501082"/>
          </a:xfrm>
          <a:prstGeom prst="rect">
            <a:avLst/>
          </a:prstGeom>
        </p:spPr>
        <p:txBody>
          <a:bodyPr vert="horz" lIns="0" tIns="45720" rIns="0" bIns="45720" rtlCol="0">
            <a:normAutofit/>
          </a:bodyPr>
          <a:lstStyle>
            <a:lvl1pPr marL="228600" indent="-228600" algn="l" defTabSz="914400" rtl="0" eaLnBrk="1" latinLnBrk="0" hangingPunct="1">
              <a:lnSpc>
                <a:spcPct val="110000"/>
              </a:lnSpc>
              <a:spcBef>
                <a:spcPts val="1000"/>
              </a:spcBef>
              <a:buClr>
                <a:schemeClr val="accent1"/>
              </a:buClr>
              <a:buFont typeface="Wingdings" panose="05000000000000000000" pitchFamily="2" charset="2"/>
              <a:buChar char="§"/>
              <a:defRPr sz="1800" kern="1200">
                <a:solidFill>
                  <a:schemeClr val="tx1"/>
                </a:solidFill>
                <a:latin typeface="+mn-lt"/>
                <a:ea typeface="+mn-ea"/>
                <a:cs typeface="+mn-cs"/>
              </a:defRPr>
            </a:lvl1pPr>
            <a:lvl2pPr marL="468000" indent="-228600" algn="l" defTabSz="914400" rtl="0" eaLnBrk="1" latinLnBrk="0" hangingPunct="1">
              <a:lnSpc>
                <a:spcPct val="110000"/>
              </a:lnSpc>
              <a:spcBef>
                <a:spcPts val="600"/>
              </a:spcBef>
              <a:buClr>
                <a:schemeClr val="accent1"/>
              </a:buClr>
              <a:buFont typeface="Wingdings" panose="05000000000000000000" pitchFamily="2" charset="2"/>
              <a:buChar char="§"/>
              <a:defRPr sz="1600" kern="1200">
                <a:solidFill>
                  <a:schemeClr val="tx1"/>
                </a:solidFill>
                <a:latin typeface="+mn-lt"/>
                <a:ea typeface="+mn-ea"/>
                <a:cs typeface="+mn-cs"/>
              </a:defRPr>
            </a:lvl2pPr>
            <a:lvl3pPr marL="702000" indent="-228600" algn="l" defTabSz="914400" rtl="0" eaLnBrk="1" latinLnBrk="0" hangingPunct="1">
              <a:lnSpc>
                <a:spcPct val="110000"/>
              </a:lnSpc>
              <a:spcBef>
                <a:spcPts val="600"/>
              </a:spcBef>
              <a:buClr>
                <a:schemeClr val="accent1"/>
              </a:buClr>
              <a:buFont typeface="Wingdings" panose="05000000000000000000" pitchFamily="2" charset="2"/>
              <a:buChar char="§"/>
              <a:defRPr sz="1600" kern="1200">
                <a:solidFill>
                  <a:schemeClr val="tx1"/>
                </a:solidFill>
                <a:latin typeface="+mn-lt"/>
                <a:ea typeface="+mn-ea"/>
                <a:cs typeface="+mn-cs"/>
              </a:defRPr>
            </a:lvl3pPr>
            <a:lvl4pPr marL="936000" indent="-228600" algn="l" defTabSz="914400" rtl="0" eaLnBrk="1" latinLnBrk="0" hangingPunct="1">
              <a:lnSpc>
                <a:spcPct val="11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1152000" indent="-228600" algn="l" defTabSz="914400" rtl="0" eaLnBrk="1" latinLnBrk="0" hangingPunct="1">
              <a:lnSpc>
                <a:spcPct val="11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9pPr>
          </a:lstStyle>
          <a:p>
            <a:pPr marL="0" indent="0" algn="ctr">
              <a:lnSpc>
                <a:spcPct val="100000"/>
              </a:lnSpc>
              <a:spcBef>
                <a:spcPts val="600"/>
              </a:spcBef>
              <a:buFont typeface="Wingdings" panose="05000000000000000000" pitchFamily="2" charset="2"/>
              <a:buNone/>
            </a:pPr>
            <a:r>
              <a:rPr lang="en-US" b="1" dirty="0">
                <a:solidFill>
                  <a:schemeClr val="tx2"/>
                </a:solidFill>
                <a:latin typeface="+mj-lt"/>
              </a:rPr>
              <a:t>STARK UK EXECUTIVE TEAM</a:t>
            </a:r>
            <a:endParaRPr lang="en-GB" b="1" dirty="0">
              <a:solidFill>
                <a:schemeClr val="tx2"/>
              </a:solidFill>
              <a:latin typeface="+mj-lt"/>
            </a:endParaRPr>
          </a:p>
        </p:txBody>
      </p:sp>
    </p:spTree>
    <p:extLst>
      <p:ext uri="{BB962C8B-B14F-4D97-AF65-F5344CB8AC3E}">
        <p14:creationId xmlns:p14="http://schemas.microsoft.com/office/powerpoint/2010/main" val="2593071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Graphic 18">
            <a:extLst>
              <a:ext uri="{FF2B5EF4-FFF2-40B4-BE49-F238E27FC236}">
                <a16:creationId xmlns:a16="http://schemas.microsoft.com/office/drawing/2014/main" id="{57B207B5-A166-3B5E-9B5B-DB29B0E05FC1}"/>
              </a:ext>
            </a:extLst>
          </p:cNvPr>
          <p:cNvSpPr/>
          <p:nvPr/>
        </p:nvSpPr>
        <p:spPr>
          <a:xfrm>
            <a:off x="9242721" y="3802752"/>
            <a:ext cx="1860194" cy="2076912"/>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dpi="0" rotWithShape="1">
            <a:blip r:embed="rId3"/>
            <a:srcRect/>
            <a:stretch>
              <a:fillRect l="-6004" t="-28005" r="-12689" b="-15851"/>
            </a:stretch>
          </a:blipFill>
          <a:ln w="38100" cap="flat">
            <a:solidFill>
              <a:schemeClr val="tx2"/>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2" name="Title 1">
            <a:extLst>
              <a:ext uri="{FF2B5EF4-FFF2-40B4-BE49-F238E27FC236}">
                <a16:creationId xmlns:a16="http://schemas.microsoft.com/office/drawing/2014/main" id="{B47CE321-44A0-FF6B-E6F5-CEAE734F869C}"/>
              </a:ext>
            </a:extLst>
          </p:cNvPr>
          <p:cNvSpPr>
            <a:spLocks noGrp="1"/>
          </p:cNvSpPr>
          <p:nvPr>
            <p:ph type="title"/>
          </p:nvPr>
        </p:nvSpPr>
        <p:spPr>
          <a:xfrm>
            <a:off x="304974" y="178766"/>
            <a:ext cx="11161263" cy="554400"/>
          </a:xfrm>
        </p:spPr>
        <p:txBody>
          <a:bodyPr>
            <a:noAutofit/>
          </a:bodyPr>
          <a:lstStyle/>
          <a:p>
            <a:r>
              <a:rPr lang="en-GB" sz="3600" b="1" dirty="0">
                <a:solidFill>
                  <a:srgbClr val="002060"/>
                </a:solidFill>
                <a:latin typeface="Roboto Condensed"/>
                <a:ea typeface="Roboto Condensed"/>
                <a:cs typeface="Roboto Condensed"/>
              </a:rPr>
              <a:t>Jewson South East &amp; London</a:t>
            </a:r>
          </a:p>
        </p:txBody>
      </p:sp>
      <p:grpSp>
        <p:nvGrpSpPr>
          <p:cNvPr id="47" name="Group 46">
            <a:extLst>
              <a:ext uri="{FF2B5EF4-FFF2-40B4-BE49-F238E27FC236}">
                <a16:creationId xmlns:a16="http://schemas.microsoft.com/office/drawing/2014/main" id="{269DC44C-5C72-DF6F-D198-6D702F30B7CB}"/>
              </a:ext>
            </a:extLst>
          </p:cNvPr>
          <p:cNvGrpSpPr/>
          <p:nvPr/>
        </p:nvGrpSpPr>
        <p:grpSpPr>
          <a:xfrm>
            <a:off x="1059651" y="1004946"/>
            <a:ext cx="2001299" cy="5287465"/>
            <a:chOff x="374664" y="759566"/>
            <a:chExt cx="2001299" cy="5287465"/>
          </a:xfrm>
        </p:grpSpPr>
        <p:grpSp>
          <p:nvGrpSpPr>
            <p:cNvPr id="38" name="Group 37">
              <a:extLst>
                <a:ext uri="{FF2B5EF4-FFF2-40B4-BE49-F238E27FC236}">
                  <a16:creationId xmlns:a16="http://schemas.microsoft.com/office/drawing/2014/main" id="{52042A66-22C8-DCA1-DBDA-7FA5A3733265}"/>
                </a:ext>
              </a:extLst>
            </p:cNvPr>
            <p:cNvGrpSpPr/>
            <p:nvPr/>
          </p:nvGrpSpPr>
          <p:grpSpPr>
            <a:xfrm>
              <a:off x="382946" y="759566"/>
              <a:ext cx="1984734" cy="2509672"/>
              <a:chOff x="328459" y="714116"/>
              <a:chExt cx="1984734" cy="2509672"/>
            </a:xfrm>
          </p:grpSpPr>
          <p:pic>
            <p:nvPicPr>
              <p:cNvPr id="20" name="Picture 19" descr="A collage of a person&amp;#39;s face&#10;&#10;Description automatically generated">
                <a:extLst>
                  <a:ext uri="{FF2B5EF4-FFF2-40B4-BE49-F238E27FC236}">
                    <a16:creationId xmlns:a16="http://schemas.microsoft.com/office/drawing/2014/main" id="{D88447AA-810D-BAC4-0E2F-D0C0B3FAAA5A}"/>
                  </a:ext>
                </a:extLst>
              </p:cNvPr>
              <p:cNvPicPr>
                <a:picLocks noChangeAspect="1"/>
              </p:cNvPicPr>
              <p:nvPr/>
            </p:nvPicPr>
            <p:blipFill rotWithShape="1">
              <a:blip r:embed="rId4"/>
              <a:srcRect l="2776" t="39020" r="80464" b="55563"/>
              <a:stretch/>
            </p:blipFill>
            <p:spPr>
              <a:xfrm>
                <a:off x="344218" y="2930276"/>
                <a:ext cx="1953217" cy="293512"/>
              </a:xfrm>
              <a:prstGeom prst="rect">
                <a:avLst/>
              </a:prstGeom>
            </p:spPr>
          </p:pic>
          <p:pic>
            <p:nvPicPr>
              <p:cNvPr id="21" name="Picture 20" descr="A collage of a person&amp;#39;s face&#10;&#10;Description automatically generated">
                <a:extLst>
                  <a:ext uri="{FF2B5EF4-FFF2-40B4-BE49-F238E27FC236}">
                    <a16:creationId xmlns:a16="http://schemas.microsoft.com/office/drawing/2014/main" id="{3C261208-B8C5-0D6F-375B-3DFD0A84C103}"/>
                  </a:ext>
                </a:extLst>
              </p:cNvPr>
              <p:cNvPicPr>
                <a:picLocks noChangeAspect="1"/>
              </p:cNvPicPr>
              <p:nvPr/>
            </p:nvPicPr>
            <p:blipFill rotWithShape="1">
              <a:blip r:embed="rId4"/>
              <a:srcRect l="1472" t="-942" r="81499" b="61306"/>
              <a:stretch/>
            </p:blipFill>
            <p:spPr>
              <a:xfrm>
                <a:off x="328459" y="714116"/>
                <a:ext cx="1984734" cy="2147732"/>
              </a:xfrm>
              <a:prstGeom prst="rect">
                <a:avLst/>
              </a:prstGeom>
            </p:spPr>
          </p:pic>
        </p:grpSp>
        <p:grpSp>
          <p:nvGrpSpPr>
            <p:cNvPr id="45" name="Group 44">
              <a:extLst>
                <a:ext uri="{FF2B5EF4-FFF2-40B4-BE49-F238E27FC236}">
                  <a16:creationId xmlns:a16="http://schemas.microsoft.com/office/drawing/2014/main" id="{F3BA01E9-7BD0-EAAD-9BDA-1B553F42C3AE}"/>
                </a:ext>
              </a:extLst>
            </p:cNvPr>
            <p:cNvGrpSpPr/>
            <p:nvPr/>
          </p:nvGrpSpPr>
          <p:grpSpPr>
            <a:xfrm>
              <a:off x="374664" y="3522390"/>
              <a:ext cx="2001299" cy="2524641"/>
              <a:chOff x="409575" y="3522390"/>
              <a:chExt cx="2001299" cy="2524641"/>
            </a:xfrm>
          </p:grpSpPr>
          <p:pic>
            <p:nvPicPr>
              <p:cNvPr id="28" name="Picture 27" descr="A collage of a person&amp;#39;s face&#10;&#10;Description automatically generated">
                <a:extLst>
                  <a:ext uri="{FF2B5EF4-FFF2-40B4-BE49-F238E27FC236}">
                    <a16:creationId xmlns:a16="http://schemas.microsoft.com/office/drawing/2014/main" id="{FCF6E250-7561-8454-2C17-BAF68373B41F}"/>
                  </a:ext>
                </a:extLst>
              </p:cNvPr>
              <p:cNvPicPr>
                <a:picLocks noChangeAspect="1"/>
              </p:cNvPicPr>
              <p:nvPr/>
            </p:nvPicPr>
            <p:blipFill rotWithShape="1">
              <a:blip r:embed="rId4"/>
              <a:srcRect l="4397" t="91618" r="83508" b="2415"/>
              <a:stretch/>
            </p:blipFill>
            <p:spPr>
              <a:xfrm>
                <a:off x="705374" y="5723677"/>
                <a:ext cx="1409700" cy="323354"/>
              </a:xfrm>
              <a:prstGeom prst="rect">
                <a:avLst/>
              </a:prstGeom>
            </p:spPr>
          </p:pic>
          <p:pic>
            <p:nvPicPr>
              <p:cNvPr id="29" name="Picture 28" descr="A collage of a person&amp;#39;s face&#10;&#10;Description automatically generated">
                <a:extLst>
                  <a:ext uri="{FF2B5EF4-FFF2-40B4-BE49-F238E27FC236}">
                    <a16:creationId xmlns:a16="http://schemas.microsoft.com/office/drawing/2014/main" id="{5ABDFE4F-451F-0B33-BD8D-163C43054E12}"/>
                  </a:ext>
                </a:extLst>
              </p:cNvPr>
              <p:cNvPicPr>
                <a:picLocks noChangeAspect="1"/>
              </p:cNvPicPr>
              <p:nvPr/>
            </p:nvPicPr>
            <p:blipFill rotWithShape="1">
              <a:blip r:embed="rId4"/>
              <a:srcRect l="581" t="50694" r="82248" b="9806"/>
              <a:stretch/>
            </p:blipFill>
            <p:spPr>
              <a:xfrm>
                <a:off x="409575" y="3522390"/>
                <a:ext cx="2001299" cy="2140468"/>
              </a:xfrm>
              <a:prstGeom prst="rect">
                <a:avLst/>
              </a:prstGeom>
            </p:spPr>
          </p:pic>
        </p:grpSp>
      </p:grpSp>
      <p:grpSp>
        <p:nvGrpSpPr>
          <p:cNvPr id="48" name="Group 47">
            <a:extLst>
              <a:ext uri="{FF2B5EF4-FFF2-40B4-BE49-F238E27FC236}">
                <a16:creationId xmlns:a16="http://schemas.microsoft.com/office/drawing/2014/main" id="{F9526CB7-F219-5C24-75AE-02E17281D51F}"/>
              </a:ext>
            </a:extLst>
          </p:cNvPr>
          <p:cNvGrpSpPr/>
          <p:nvPr/>
        </p:nvGrpSpPr>
        <p:grpSpPr>
          <a:xfrm>
            <a:off x="6470336" y="1054286"/>
            <a:ext cx="2001299" cy="5238125"/>
            <a:chOff x="6649845" y="808906"/>
            <a:chExt cx="2001299" cy="5238125"/>
          </a:xfrm>
        </p:grpSpPr>
        <p:grpSp>
          <p:nvGrpSpPr>
            <p:cNvPr id="40" name="Group 39">
              <a:extLst>
                <a:ext uri="{FF2B5EF4-FFF2-40B4-BE49-F238E27FC236}">
                  <a16:creationId xmlns:a16="http://schemas.microsoft.com/office/drawing/2014/main" id="{ABF78EAF-9E09-E179-6268-4CA71A059573}"/>
                </a:ext>
              </a:extLst>
            </p:cNvPr>
            <p:cNvGrpSpPr/>
            <p:nvPr/>
          </p:nvGrpSpPr>
          <p:grpSpPr>
            <a:xfrm>
              <a:off x="6658127" y="808906"/>
              <a:ext cx="1984735" cy="2460332"/>
              <a:chOff x="5092339" y="769101"/>
              <a:chExt cx="1984735" cy="2460332"/>
            </a:xfrm>
          </p:grpSpPr>
          <p:pic>
            <p:nvPicPr>
              <p:cNvPr id="24" name="Picture 23" descr="A collage of a person&amp;#39;s face&#10;&#10;Description automatically generated">
                <a:extLst>
                  <a:ext uri="{FF2B5EF4-FFF2-40B4-BE49-F238E27FC236}">
                    <a16:creationId xmlns:a16="http://schemas.microsoft.com/office/drawing/2014/main" id="{D2D2F8A7-CF19-56F6-77F5-30E5E9DF0377}"/>
                  </a:ext>
                </a:extLst>
              </p:cNvPr>
              <p:cNvPicPr>
                <a:picLocks noChangeAspect="1"/>
              </p:cNvPicPr>
              <p:nvPr/>
            </p:nvPicPr>
            <p:blipFill rotWithShape="1">
              <a:blip r:embed="rId4"/>
              <a:srcRect l="57301" t="39952" r="28804" b="54423"/>
              <a:stretch/>
            </p:blipFill>
            <p:spPr>
              <a:xfrm>
                <a:off x="5274976" y="2924632"/>
                <a:ext cx="1619460" cy="304801"/>
              </a:xfrm>
              <a:prstGeom prst="rect">
                <a:avLst/>
              </a:prstGeom>
            </p:spPr>
          </p:pic>
          <p:pic>
            <p:nvPicPr>
              <p:cNvPr id="25" name="Picture 24" descr="A collage of a person&amp;#39;s face&#10;&#10;Description automatically generated">
                <a:extLst>
                  <a:ext uri="{FF2B5EF4-FFF2-40B4-BE49-F238E27FC236}">
                    <a16:creationId xmlns:a16="http://schemas.microsoft.com/office/drawing/2014/main" id="{193F1D41-32F7-DCEC-B3DE-272FAAC2ABB5}"/>
                  </a:ext>
                </a:extLst>
              </p:cNvPr>
              <p:cNvPicPr>
                <a:picLocks noChangeAspect="1"/>
              </p:cNvPicPr>
              <p:nvPr/>
            </p:nvPicPr>
            <p:blipFill rotWithShape="1">
              <a:blip r:embed="rId4"/>
              <a:srcRect l="55149" t="-366" r="27823" b="61921"/>
              <a:stretch/>
            </p:blipFill>
            <p:spPr>
              <a:xfrm>
                <a:off x="5092339" y="769101"/>
                <a:ext cx="1984735" cy="2083222"/>
              </a:xfrm>
              <a:prstGeom prst="rect">
                <a:avLst/>
              </a:prstGeom>
            </p:spPr>
          </p:pic>
        </p:grpSp>
        <p:grpSp>
          <p:nvGrpSpPr>
            <p:cNvPr id="43" name="Group 42">
              <a:extLst>
                <a:ext uri="{FF2B5EF4-FFF2-40B4-BE49-F238E27FC236}">
                  <a16:creationId xmlns:a16="http://schemas.microsoft.com/office/drawing/2014/main" id="{437866B2-DBE1-3006-B379-0679E88278CA}"/>
                </a:ext>
              </a:extLst>
            </p:cNvPr>
            <p:cNvGrpSpPr/>
            <p:nvPr/>
          </p:nvGrpSpPr>
          <p:grpSpPr>
            <a:xfrm>
              <a:off x="6649845" y="3522390"/>
              <a:ext cx="2001299" cy="2524641"/>
              <a:chOff x="5417607" y="3522390"/>
              <a:chExt cx="2001299" cy="2524641"/>
            </a:xfrm>
          </p:grpSpPr>
          <p:pic>
            <p:nvPicPr>
              <p:cNvPr id="32" name="Picture 31" descr="A collage of a person&amp;#39;s face&#10;&#10;Description automatically generated">
                <a:extLst>
                  <a:ext uri="{FF2B5EF4-FFF2-40B4-BE49-F238E27FC236}">
                    <a16:creationId xmlns:a16="http://schemas.microsoft.com/office/drawing/2014/main" id="{162FEEAC-07B3-EC54-0D5B-FB2BFD5DC95D}"/>
                  </a:ext>
                </a:extLst>
              </p:cNvPr>
              <p:cNvPicPr>
                <a:picLocks noChangeAspect="1"/>
              </p:cNvPicPr>
              <p:nvPr/>
            </p:nvPicPr>
            <p:blipFill rotWithShape="1">
              <a:blip r:embed="rId4"/>
              <a:srcRect l="57777" t="92314" r="30238" b="1719"/>
              <a:stretch/>
            </p:blipFill>
            <p:spPr>
              <a:xfrm>
                <a:off x="5719798" y="5723677"/>
                <a:ext cx="1396916" cy="323354"/>
              </a:xfrm>
              <a:prstGeom prst="rect">
                <a:avLst/>
              </a:prstGeom>
            </p:spPr>
          </p:pic>
          <p:pic>
            <p:nvPicPr>
              <p:cNvPr id="33" name="Picture 32" descr="A collage of a person&amp;#39;s face&#10;&#10;Description automatically generated">
                <a:extLst>
                  <a:ext uri="{FF2B5EF4-FFF2-40B4-BE49-F238E27FC236}">
                    <a16:creationId xmlns:a16="http://schemas.microsoft.com/office/drawing/2014/main" id="{E500A21D-AFE2-AFF3-6215-AE45F20FDC33}"/>
                  </a:ext>
                </a:extLst>
              </p:cNvPr>
              <p:cNvPicPr>
                <a:picLocks noChangeAspect="1"/>
              </p:cNvPicPr>
              <p:nvPr/>
            </p:nvPicPr>
            <p:blipFill rotWithShape="1">
              <a:blip r:embed="rId4"/>
              <a:srcRect l="54152" t="50694" r="28679" b="9805"/>
              <a:stretch/>
            </p:blipFill>
            <p:spPr>
              <a:xfrm>
                <a:off x="5417607" y="3522390"/>
                <a:ext cx="2001299" cy="2140468"/>
              </a:xfrm>
              <a:prstGeom prst="rect">
                <a:avLst/>
              </a:prstGeom>
            </p:spPr>
          </p:pic>
        </p:grpSp>
      </p:grpSp>
      <p:grpSp>
        <p:nvGrpSpPr>
          <p:cNvPr id="41" name="Group 40">
            <a:extLst>
              <a:ext uri="{FF2B5EF4-FFF2-40B4-BE49-F238E27FC236}">
                <a16:creationId xmlns:a16="http://schemas.microsoft.com/office/drawing/2014/main" id="{49292238-41B0-2169-5128-36262BAB593C}"/>
              </a:ext>
            </a:extLst>
          </p:cNvPr>
          <p:cNvGrpSpPr/>
          <p:nvPr/>
        </p:nvGrpSpPr>
        <p:grpSpPr>
          <a:xfrm>
            <a:off x="9192244" y="1048642"/>
            <a:ext cx="1984735" cy="2465976"/>
            <a:chOff x="7845065" y="769101"/>
            <a:chExt cx="1984735" cy="2465976"/>
          </a:xfrm>
        </p:grpSpPr>
        <p:pic>
          <p:nvPicPr>
            <p:cNvPr id="26" name="Picture 25" descr="A collage of a person&amp;#39;s face&#10;&#10;Description automatically generated">
              <a:extLst>
                <a:ext uri="{FF2B5EF4-FFF2-40B4-BE49-F238E27FC236}">
                  <a16:creationId xmlns:a16="http://schemas.microsoft.com/office/drawing/2014/main" id="{38705FA3-2A0A-8C8D-2F85-90CF1CD0E20C}"/>
                </a:ext>
              </a:extLst>
            </p:cNvPr>
            <p:cNvPicPr>
              <a:picLocks noChangeAspect="1"/>
            </p:cNvPicPr>
            <p:nvPr/>
          </p:nvPicPr>
          <p:blipFill rotWithShape="1">
            <a:blip r:embed="rId4"/>
            <a:srcRect l="84482" t="39952" r="3272" b="54215"/>
            <a:stretch/>
          </p:blipFill>
          <p:spPr>
            <a:xfrm>
              <a:off x="8123852" y="2918987"/>
              <a:ext cx="1427161" cy="316090"/>
            </a:xfrm>
            <a:prstGeom prst="rect">
              <a:avLst/>
            </a:prstGeom>
          </p:spPr>
        </p:pic>
        <p:pic>
          <p:nvPicPr>
            <p:cNvPr id="27" name="Picture 26" descr="A collage of a person&amp;#39;s face&#10;&#10;Description automatically generated">
              <a:extLst>
                <a:ext uri="{FF2B5EF4-FFF2-40B4-BE49-F238E27FC236}">
                  <a16:creationId xmlns:a16="http://schemas.microsoft.com/office/drawing/2014/main" id="{0055B493-9102-4821-4BDA-ECA65D6BEA95}"/>
                </a:ext>
              </a:extLst>
            </p:cNvPr>
            <p:cNvPicPr>
              <a:picLocks noChangeAspect="1"/>
            </p:cNvPicPr>
            <p:nvPr/>
          </p:nvPicPr>
          <p:blipFill rotWithShape="1">
            <a:blip r:embed="rId4"/>
            <a:srcRect l="82018" r="953" b="61555"/>
            <a:stretch/>
          </p:blipFill>
          <p:spPr>
            <a:xfrm>
              <a:off x="7845065" y="769101"/>
              <a:ext cx="1984735" cy="2083222"/>
            </a:xfrm>
            <a:prstGeom prst="rect">
              <a:avLst/>
            </a:prstGeom>
          </p:spPr>
        </p:pic>
      </p:grpSp>
      <p:pic>
        <p:nvPicPr>
          <p:cNvPr id="35" name="Picture 34" descr="A collage of a person&amp;#39;s face&#10;&#10;Description automatically generated">
            <a:extLst>
              <a:ext uri="{FF2B5EF4-FFF2-40B4-BE49-F238E27FC236}">
                <a16:creationId xmlns:a16="http://schemas.microsoft.com/office/drawing/2014/main" id="{BEE85329-37B4-360A-7DE4-4E76922DF540}"/>
              </a:ext>
            </a:extLst>
          </p:cNvPr>
          <p:cNvPicPr>
            <a:picLocks noChangeAspect="1"/>
          </p:cNvPicPr>
          <p:nvPr/>
        </p:nvPicPr>
        <p:blipFill rotWithShape="1">
          <a:blip r:embed="rId4"/>
          <a:srcRect l="84593" t="92072" r="4046" b="2303"/>
          <a:stretch/>
        </p:blipFill>
        <p:spPr>
          <a:xfrm>
            <a:off x="9522623" y="5987610"/>
            <a:ext cx="1323976" cy="304801"/>
          </a:xfrm>
          <a:prstGeom prst="rect">
            <a:avLst/>
          </a:prstGeom>
        </p:spPr>
      </p:pic>
      <p:grpSp>
        <p:nvGrpSpPr>
          <p:cNvPr id="46" name="Group 45">
            <a:extLst>
              <a:ext uri="{FF2B5EF4-FFF2-40B4-BE49-F238E27FC236}">
                <a16:creationId xmlns:a16="http://schemas.microsoft.com/office/drawing/2014/main" id="{C3E5B634-BE13-AA73-E030-1CCD8EF70593}"/>
              </a:ext>
            </a:extLst>
          </p:cNvPr>
          <p:cNvGrpSpPr/>
          <p:nvPr/>
        </p:nvGrpSpPr>
        <p:grpSpPr>
          <a:xfrm>
            <a:off x="3773276" y="1043864"/>
            <a:ext cx="1984734" cy="5248547"/>
            <a:chOff x="3510419" y="798484"/>
            <a:chExt cx="1984734" cy="5248547"/>
          </a:xfrm>
        </p:grpSpPr>
        <p:grpSp>
          <p:nvGrpSpPr>
            <p:cNvPr id="39" name="Group 38">
              <a:extLst>
                <a:ext uri="{FF2B5EF4-FFF2-40B4-BE49-F238E27FC236}">
                  <a16:creationId xmlns:a16="http://schemas.microsoft.com/office/drawing/2014/main" id="{29F10ABE-3263-2A0E-18F4-C7ED156B81DC}"/>
                </a:ext>
              </a:extLst>
            </p:cNvPr>
            <p:cNvGrpSpPr/>
            <p:nvPr/>
          </p:nvGrpSpPr>
          <p:grpSpPr>
            <a:xfrm>
              <a:off x="3510419" y="798484"/>
              <a:ext cx="1984734" cy="2470754"/>
              <a:chOff x="2658705" y="764323"/>
              <a:chExt cx="1984734" cy="2470754"/>
            </a:xfrm>
          </p:grpSpPr>
          <p:pic>
            <p:nvPicPr>
              <p:cNvPr id="22" name="Picture 21" descr="A collage of a person&amp;#39;s face&#10;&#10;Description automatically generated">
                <a:extLst>
                  <a:ext uri="{FF2B5EF4-FFF2-40B4-BE49-F238E27FC236}">
                    <a16:creationId xmlns:a16="http://schemas.microsoft.com/office/drawing/2014/main" id="{CF8B9E75-6178-069E-BCC2-17B0034F0E33}"/>
                  </a:ext>
                </a:extLst>
              </p:cNvPr>
              <p:cNvPicPr>
                <a:picLocks noChangeAspect="1"/>
              </p:cNvPicPr>
              <p:nvPr/>
            </p:nvPicPr>
            <p:blipFill rotWithShape="1">
              <a:blip r:embed="rId4"/>
              <a:srcRect l="31965" t="39743" r="54140" b="54423"/>
              <a:stretch/>
            </p:blipFill>
            <p:spPr>
              <a:xfrm>
                <a:off x="2841343" y="2918987"/>
                <a:ext cx="1619459" cy="316090"/>
              </a:xfrm>
              <a:prstGeom prst="rect">
                <a:avLst/>
              </a:prstGeom>
            </p:spPr>
          </p:pic>
          <p:pic>
            <p:nvPicPr>
              <p:cNvPr id="23" name="Picture 22" descr="A collage of a person&amp;#39;s face&#10;&#10;Description automatically generated">
                <a:extLst>
                  <a:ext uri="{FF2B5EF4-FFF2-40B4-BE49-F238E27FC236}">
                    <a16:creationId xmlns:a16="http://schemas.microsoft.com/office/drawing/2014/main" id="{662C49AA-9EB6-EF29-5E63-301245DB429E}"/>
                  </a:ext>
                </a:extLst>
              </p:cNvPr>
              <p:cNvPicPr>
                <a:picLocks noChangeAspect="1"/>
              </p:cNvPicPr>
              <p:nvPr/>
            </p:nvPicPr>
            <p:blipFill rotWithShape="1">
              <a:blip r:embed="rId4"/>
              <a:srcRect l="28242" r="54768" b="61555"/>
              <a:stretch/>
            </p:blipFill>
            <p:spPr>
              <a:xfrm>
                <a:off x="2658705" y="764323"/>
                <a:ext cx="1984734" cy="2088000"/>
              </a:xfrm>
              <a:prstGeom prst="rect">
                <a:avLst/>
              </a:prstGeom>
            </p:spPr>
          </p:pic>
        </p:grpSp>
        <p:grpSp>
          <p:nvGrpSpPr>
            <p:cNvPr id="44" name="Group 43">
              <a:extLst>
                <a:ext uri="{FF2B5EF4-FFF2-40B4-BE49-F238E27FC236}">
                  <a16:creationId xmlns:a16="http://schemas.microsoft.com/office/drawing/2014/main" id="{3A64BFDD-4F26-15C4-2F66-8FA46C1B30E8}"/>
                </a:ext>
              </a:extLst>
            </p:cNvPr>
            <p:cNvGrpSpPr/>
            <p:nvPr/>
          </p:nvGrpSpPr>
          <p:grpSpPr>
            <a:xfrm>
              <a:off x="3569180" y="3557371"/>
              <a:ext cx="1867213" cy="2489660"/>
              <a:chOff x="2923883" y="3557371"/>
              <a:chExt cx="1867213" cy="2489660"/>
            </a:xfrm>
          </p:grpSpPr>
          <p:pic>
            <p:nvPicPr>
              <p:cNvPr id="30" name="Picture 29" descr="A collage of a person&amp;#39;s face&#10;&#10;Description automatically generated">
                <a:extLst>
                  <a:ext uri="{FF2B5EF4-FFF2-40B4-BE49-F238E27FC236}">
                    <a16:creationId xmlns:a16="http://schemas.microsoft.com/office/drawing/2014/main" id="{A0DA7939-7B70-1B07-C237-0ABA1552D037}"/>
                  </a:ext>
                </a:extLst>
              </p:cNvPr>
              <p:cNvPicPr>
                <a:picLocks noChangeAspect="1"/>
              </p:cNvPicPr>
              <p:nvPr/>
            </p:nvPicPr>
            <p:blipFill rotWithShape="1">
              <a:blip r:embed="rId4"/>
              <a:srcRect l="32682" t="91618" r="55995" b="2414"/>
              <a:stretch/>
            </p:blipFill>
            <p:spPr>
              <a:xfrm>
                <a:off x="3197682" y="5723677"/>
                <a:ext cx="1319615" cy="323354"/>
              </a:xfrm>
              <a:prstGeom prst="rect">
                <a:avLst/>
              </a:prstGeom>
            </p:spPr>
          </p:pic>
          <p:sp>
            <p:nvSpPr>
              <p:cNvPr id="37" name="Graphic 18">
                <a:extLst>
                  <a:ext uri="{FF2B5EF4-FFF2-40B4-BE49-F238E27FC236}">
                    <a16:creationId xmlns:a16="http://schemas.microsoft.com/office/drawing/2014/main" id="{7A213D8F-5777-424B-D5B0-D90F0CBA4D76}"/>
                  </a:ext>
                </a:extLst>
              </p:cNvPr>
              <p:cNvSpPr/>
              <p:nvPr/>
            </p:nvSpPr>
            <p:spPr>
              <a:xfrm>
                <a:off x="2923883" y="3557371"/>
                <a:ext cx="1867213" cy="2076912"/>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dpi="0" rotWithShape="1">
                <a:blip r:embed="rId5"/>
                <a:srcRect/>
                <a:stretch>
                  <a:fillRect l="-20000" t="-10000" r="-13000" b="-6000"/>
                </a:stretch>
              </a:blipFill>
              <a:ln w="38100" cap="flat">
                <a:solidFill>
                  <a:schemeClr val="tx2"/>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grpSp>
      </p:grpSp>
    </p:spTree>
    <p:extLst>
      <p:ext uri="{BB962C8B-B14F-4D97-AF65-F5344CB8AC3E}">
        <p14:creationId xmlns:p14="http://schemas.microsoft.com/office/powerpoint/2010/main" val="153547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7CE321-44A0-FF6B-E6F5-CEAE734F869C}"/>
              </a:ext>
            </a:extLst>
          </p:cNvPr>
          <p:cNvSpPr>
            <a:spLocks noGrp="1"/>
          </p:cNvSpPr>
          <p:nvPr>
            <p:ph type="title"/>
          </p:nvPr>
        </p:nvSpPr>
        <p:spPr/>
        <p:txBody>
          <a:bodyPr>
            <a:noAutofit/>
          </a:bodyPr>
          <a:lstStyle/>
          <a:p>
            <a:r>
              <a:rPr lang="en-GB" sz="3600" b="1" dirty="0">
                <a:solidFill>
                  <a:srgbClr val="002060"/>
                </a:solidFill>
                <a:latin typeface="Roboto Condensed"/>
                <a:ea typeface="Roboto Condensed"/>
                <a:cs typeface="Roboto Condensed"/>
              </a:rPr>
              <a:t>Jewson Scotland &amp; North</a:t>
            </a:r>
          </a:p>
        </p:txBody>
      </p:sp>
      <p:sp>
        <p:nvSpPr>
          <p:cNvPr id="27" name="Graphic 18">
            <a:extLst>
              <a:ext uri="{FF2B5EF4-FFF2-40B4-BE49-F238E27FC236}">
                <a16:creationId xmlns:a16="http://schemas.microsoft.com/office/drawing/2014/main" id="{1070FFD0-C711-0F38-EBE2-799AE5088A7F}"/>
              </a:ext>
            </a:extLst>
          </p:cNvPr>
          <p:cNvSpPr/>
          <p:nvPr/>
        </p:nvSpPr>
        <p:spPr>
          <a:xfrm>
            <a:off x="2810219" y="1029820"/>
            <a:ext cx="1818641" cy="2100106"/>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a:blip r:embed="rId3"/>
            <a:stretch>
              <a:fillRect l="-16723" t="-13982" r="-23597" b="-3409"/>
            </a:stretch>
          </a:blipFill>
          <a:ln w="38100" cap="flat">
            <a:solidFill>
              <a:schemeClr val="tx2"/>
            </a:solidFill>
            <a:prstDash val="solid"/>
            <a:miter/>
          </a:ln>
        </p:spPr>
        <p:txBody>
          <a:bodyPr rtlCol="0" anchor="ctr"/>
          <a:lstStyle/>
          <a:p>
            <a:pPr algn="ctr"/>
            <a:endParaRPr lang="en-GB"/>
          </a:p>
        </p:txBody>
      </p:sp>
      <p:sp>
        <p:nvSpPr>
          <p:cNvPr id="29" name="Graphic 18">
            <a:extLst>
              <a:ext uri="{FF2B5EF4-FFF2-40B4-BE49-F238E27FC236}">
                <a16:creationId xmlns:a16="http://schemas.microsoft.com/office/drawing/2014/main" id="{4730D649-C1B6-2D55-3B9F-EBFD45EFCA82}"/>
              </a:ext>
            </a:extLst>
          </p:cNvPr>
          <p:cNvSpPr/>
          <p:nvPr/>
        </p:nvSpPr>
        <p:spPr>
          <a:xfrm>
            <a:off x="5102709" y="993810"/>
            <a:ext cx="1818641" cy="2100106"/>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a:blip r:embed="rId4"/>
            <a:stretch>
              <a:fillRect l="-9194" t="-415" r="-11210" b="-837"/>
            </a:stretch>
          </a:blipFill>
          <a:ln w="38100" cap="flat">
            <a:solidFill>
              <a:schemeClr val="tx2"/>
            </a:solidFill>
            <a:prstDash val="solid"/>
            <a:miter/>
          </a:ln>
        </p:spPr>
        <p:txBody>
          <a:bodyPr rtlCol="0" anchor="ctr"/>
          <a:lstStyle/>
          <a:p>
            <a:pPr algn="ctr"/>
            <a:endParaRPr lang="en-GB"/>
          </a:p>
        </p:txBody>
      </p:sp>
      <p:sp>
        <p:nvSpPr>
          <p:cNvPr id="33" name="Graphic 18">
            <a:extLst>
              <a:ext uri="{FF2B5EF4-FFF2-40B4-BE49-F238E27FC236}">
                <a16:creationId xmlns:a16="http://schemas.microsoft.com/office/drawing/2014/main" id="{756508E7-35FA-2AE8-72D7-64D3978604A2}"/>
              </a:ext>
            </a:extLst>
          </p:cNvPr>
          <p:cNvSpPr/>
          <p:nvPr/>
        </p:nvSpPr>
        <p:spPr>
          <a:xfrm>
            <a:off x="7290681" y="927729"/>
            <a:ext cx="1818641" cy="2100106"/>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a:blip r:embed="rId5"/>
            <a:stretch>
              <a:fillRect l="-1019" t="32" r="-1277" b="-32"/>
            </a:stretch>
          </a:blipFill>
          <a:ln w="38100" cap="flat">
            <a:solidFill>
              <a:schemeClr val="tx2"/>
            </a:solidFill>
            <a:prstDash val="solid"/>
            <a:miter/>
          </a:ln>
        </p:spPr>
        <p:txBody>
          <a:bodyPr rtlCol="0" anchor="ctr"/>
          <a:lstStyle/>
          <a:p>
            <a:pPr algn="ctr"/>
            <a:endParaRPr lang="en-GB"/>
          </a:p>
        </p:txBody>
      </p:sp>
      <p:sp>
        <p:nvSpPr>
          <p:cNvPr id="35" name="TextBox 34">
            <a:extLst>
              <a:ext uri="{FF2B5EF4-FFF2-40B4-BE49-F238E27FC236}">
                <a16:creationId xmlns:a16="http://schemas.microsoft.com/office/drawing/2014/main" id="{409C66B0-CFAD-6E33-2409-921D93E1B2BF}"/>
              </a:ext>
            </a:extLst>
          </p:cNvPr>
          <p:cNvSpPr txBox="1"/>
          <p:nvPr/>
        </p:nvSpPr>
        <p:spPr>
          <a:xfrm>
            <a:off x="6748052" y="2996633"/>
            <a:ext cx="3246668"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defPPr>
              <a:defRPr lang="en-US"/>
            </a:defPPr>
            <a:lvl1pPr marR="0" lvl="0" indent="0" algn="ctr" fontAlgn="auto">
              <a:spcBef>
                <a:spcPts val="0"/>
              </a:spcBef>
              <a:spcAft>
                <a:spcPts val="0"/>
              </a:spcAft>
              <a:buClrTx/>
              <a:buSzTx/>
              <a:buFontTx/>
              <a:buNone/>
              <a:tabLst/>
              <a:defRPr kumimoji="0" sz="1600" b="1" i="0" u="none" strike="noStrike" cap="none" spc="0" normalizeH="0" baseline="0">
                <a:ln>
                  <a:noFill/>
                </a:ln>
                <a:effectLst/>
                <a:uLnTx/>
                <a:uFillTx/>
                <a:latin typeface="Roboto"/>
                <a:ea typeface="Roboto"/>
                <a:cs typeface="Roboto"/>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GB">
                <a:solidFill>
                  <a:schemeClr val="tx1"/>
                </a:solidFill>
              </a:rPr>
              <a:t>Andy Kitching</a:t>
            </a:r>
          </a:p>
          <a:p>
            <a:r>
              <a:rPr lang="en-GB" b="0">
                <a:solidFill>
                  <a:schemeClr val="tx1"/>
                </a:solidFill>
                <a:latin typeface="+mj-lt"/>
                <a:ea typeface="+mn-ea"/>
                <a:cs typeface="+mn-cs"/>
              </a:rPr>
              <a:t>Regional Director North</a:t>
            </a:r>
          </a:p>
        </p:txBody>
      </p:sp>
      <p:sp>
        <p:nvSpPr>
          <p:cNvPr id="36" name="TextBox 35">
            <a:extLst>
              <a:ext uri="{FF2B5EF4-FFF2-40B4-BE49-F238E27FC236}">
                <a16:creationId xmlns:a16="http://schemas.microsoft.com/office/drawing/2014/main" id="{48B5F2E2-D083-DD57-D823-87C6D8891CB2}"/>
              </a:ext>
            </a:extLst>
          </p:cNvPr>
          <p:cNvSpPr txBox="1"/>
          <p:nvPr/>
        </p:nvSpPr>
        <p:spPr>
          <a:xfrm>
            <a:off x="4759683" y="3030158"/>
            <a:ext cx="2638425"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defPPr>
              <a:defRPr lang="en-US"/>
            </a:defPPr>
            <a:lvl1pPr marR="0" lvl="0" indent="0" algn="ctr" fontAlgn="auto">
              <a:spcBef>
                <a:spcPts val="0"/>
              </a:spcBef>
              <a:spcAft>
                <a:spcPts val="0"/>
              </a:spcAft>
              <a:buClrTx/>
              <a:buSzTx/>
              <a:buFontTx/>
              <a:buNone/>
              <a:tabLst/>
              <a:defRPr kumimoji="0" sz="1600" b="1" i="0" u="none" strike="noStrike" cap="none" spc="0" normalizeH="0" baseline="0">
                <a:ln>
                  <a:noFill/>
                </a:ln>
                <a:effectLst/>
                <a:uLnTx/>
                <a:uFillTx/>
                <a:latin typeface="Roboto"/>
                <a:ea typeface="Roboto"/>
                <a:cs typeface="Roboto"/>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GB">
                <a:solidFill>
                  <a:schemeClr val="tx1"/>
                </a:solidFill>
              </a:rPr>
              <a:t>Douglas Trainer</a:t>
            </a:r>
          </a:p>
          <a:p>
            <a:r>
              <a:rPr lang="en-GB" b="0">
                <a:solidFill>
                  <a:schemeClr val="tx1"/>
                </a:solidFill>
                <a:latin typeface="+mj-lt"/>
                <a:ea typeface="+mn-ea"/>
                <a:cs typeface="+mn-cs"/>
              </a:rPr>
              <a:t>Regional Director West</a:t>
            </a:r>
          </a:p>
        </p:txBody>
      </p:sp>
      <p:sp>
        <p:nvSpPr>
          <p:cNvPr id="37" name="TextBox 36">
            <a:extLst>
              <a:ext uri="{FF2B5EF4-FFF2-40B4-BE49-F238E27FC236}">
                <a16:creationId xmlns:a16="http://schemas.microsoft.com/office/drawing/2014/main" id="{E081DDA1-09FA-1363-DFAF-D96D7FED39DE}"/>
              </a:ext>
            </a:extLst>
          </p:cNvPr>
          <p:cNvSpPr txBox="1"/>
          <p:nvPr/>
        </p:nvSpPr>
        <p:spPr>
          <a:xfrm>
            <a:off x="2223114" y="3062871"/>
            <a:ext cx="3289300"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defPPr>
              <a:defRPr lang="en-US"/>
            </a:defPPr>
            <a:lvl1pPr marR="0" lvl="0" indent="0" algn="ctr" fontAlgn="auto">
              <a:spcBef>
                <a:spcPts val="0"/>
              </a:spcBef>
              <a:spcAft>
                <a:spcPts val="0"/>
              </a:spcAft>
              <a:buClrTx/>
              <a:buSzTx/>
              <a:buFontTx/>
              <a:buNone/>
              <a:tabLst/>
              <a:defRPr kumimoji="0" sz="1600" b="1" i="0" u="none" strike="noStrike" cap="none" spc="0" normalizeH="0" baseline="0">
                <a:ln>
                  <a:noFill/>
                </a:ln>
                <a:effectLst/>
                <a:uLnTx/>
                <a:uFillTx/>
                <a:latin typeface="Roboto"/>
                <a:ea typeface="Roboto"/>
                <a:cs typeface="Roboto"/>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GB">
                <a:solidFill>
                  <a:schemeClr val="tx1"/>
                </a:solidFill>
              </a:rPr>
              <a:t>David McNamara</a:t>
            </a:r>
          </a:p>
          <a:p>
            <a:r>
              <a:rPr lang="en-GB" b="0">
                <a:solidFill>
                  <a:schemeClr val="tx1"/>
                </a:solidFill>
                <a:latin typeface="+mj-lt"/>
                <a:ea typeface="+mn-ea"/>
                <a:cs typeface="+mn-cs"/>
              </a:rPr>
              <a:t>Regional Director East</a:t>
            </a:r>
          </a:p>
          <a:p>
            <a:pPr algn="ctr"/>
            <a:endParaRPr lang="en-GB" sz="1600" b="1">
              <a:solidFill>
                <a:schemeClr val="tx1"/>
              </a:solidFill>
              <a:latin typeface="Roboto"/>
              <a:ea typeface="Roboto"/>
            </a:endParaRPr>
          </a:p>
        </p:txBody>
      </p:sp>
      <p:sp>
        <p:nvSpPr>
          <p:cNvPr id="38" name="Rectangle 37">
            <a:extLst>
              <a:ext uri="{FF2B5EF4-FFF2-40B4-BE49-F238E27FC236}">
                <a16:creationId xmlns:a16="http://schemas.microsoft.com/office/drawing/2014/main" id="{C6749F5B-CA5D-23F6-30F6-D613E048FDA8}"/>
              </a:ext>
            </a:extLst>
          </p:cNvPr>
          <p:cNvSpPr/>
          <p:nvPr/>
        </p:nvSpPr>
        <p:spPr>
          <a:xfrm>
            <a:off x="0" y="3091173"/>
            <a:ext cx="2984500" cy="5648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r>
              <a:rPr lang="en-GB" sz="1600" b="1">
                <a:solidFill>
                  <a:schemeClr val="tx1"/>
                </a:solidFill>
              </a:rPr>
              <a:t>Allan Davidson</a:t>
            </a:r>
          </a:p>
          <a:p>
            <a:pPr algn="ctr"/>
            <a:r>
              <a:rPr lang="en-GB" sz="1600">
                <a:solidFill>
                  <a:schemeClr val="tx1"/>
                </a:solidFill>
                <a:latin typeface="+mj-lt"/>
              </a:rPr>
              <a:t>Regional Managing Director</a:t>
            </a:r>
            <a:endParaRPr lang="en-GB" sz="1600">
              <a:solidFill>
                <a:schemeClr val="tx1"/>
              </a:solidFill>
              <a:latin typeface="+mj-lt"/>
              <a:ea typeface="Roboto"/>
            </a:endParaRPr>
          </a:p>
          <a:p>
            <a:pPr algn="ctr"/>
            <a:endParaRPr lang="en-GB" sz="1600">
              <a:solidFill>
                <a:schemeClr val="tx1"/>
              </a:solidFill>
              <a:latin typeface="Roboto"/>
              <a:ea typeface="Roboto"/>
            </a:endParaRPr>
          </a:p>
          <a:p>
            <a:pPr algn="ctr"/>
            <a:endParaRPr lang="en-GB" sz="1600" b="1">
              <a:solidFill>
                <a:schemeClr val="tx1"/>
              </a:solidFill>
              <a:latin typeface="Roboto"/>
              <a:ea typeface="Roboto"/>
            </a:endParaRPr>
          </a:p>
        </p:txBody>
      </p:sp>
      <p:sp>
        <p:nvSpPr>
          <p:cNvPr id="39" name="Graphic 18">
            <a:extLst>
              <a:ext uri="{FF2B5EF4-FFF2-40B4-BE49-F238E27FC236}">
                <a16:creationId xmlns:a16="http://schemas.microsoft.com/office/drawing/2014/main" id="{77C56DDD-475C-4280-BA4D-3D811E33DCB3}"/>
              </a:ext>
            </a:extLst>
          </p:cNvPr>
          <p:cNvSpPr/>
          <p:nvPr/>
        </p:nvSpPr>
        <p:spPr>
          <a:xfrm>
            <a:off x="2828021" y="3732563"/>
            <a:ext cx="1818641" cy="2100106"/>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a:blip r:embed="rId6"/>
            <a:stretch>
              <a:fillRect l="-12353" t="-1667" r="-21815" b="1667"/>
            </a:stretch>
          </a:blipFill>
          <a:ln w="38100" cap="flat">
            <a:solidFill>
              <a:schemeClr val="tx2"/>
            </a:solidFill>
            <a:prstDash val="solid"/>
            <a:miter/>
          </a:ln>
        </p:spPr>
        <p:txBody>
          <a:bodyPr rtlCol="0" anchor="ctr"/>
          <a:lstStyle/>
          <a:p>
            <a:pPr algn="ctr"/>
            <a:endParaRPr lang="en-GB"/>
          </a:p>
        </p:txBody>
      </p:sp>
      <p:sp>
        <p:nvSpPr>
          <p:cNvPr id="40" name="Graphic 18">
            <a:extLst>
              <a:ext uri="{FF2B5EF4-FFF2-40B4-BE49-F238E27FC236}">
                <a16:creationId xmlns:a16="http://schemas.microsoft.com/office/drawing/2014/main" id="{CA0D2190-7033-B71F-0950-9F43CEA6E2AB}"/>
              </a:ext>
            </a:extLst>
          </p:cNvPr>
          <p:cNvSpPr/>
          <p:nvPr/>
        </p:nvSpPr>
        <p:spPr>
          <a:xfrm>
            <a:off x="5169574" y="3771733"/>
            <a:ext cx="1818641" cy="2100106"/>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a:blip r:embed="rId7"/>
            <a:stretch>
              <a:fillRect l="-12352" t="-1667" r="-11064" b="1667"/>
            </a:stretch>
          </a:blipFill>
          <a:ln w="38100" cap="flat">
            <a:solidFill>
              <a:schemeClr val="tx2"/>
            </a:solidFill>
            <a:prstDash val="solid"/>
            <a:miter/>
          </a:ln>
        </p:spPr>
        <p:txBody>
          <a:bodyPr rtlCol="0" anchor="ctr"/>
          <a:lstStyle/>
          <a:p>
            <a:pPr algn="ctr"/>
            <a:endParaRPr lang="en-GB"/>
          </a:p>
        </p:txBody>
      </p:sp>
      <p:sp>
        <p:nvSpPr>
          <p:cNvPr id="41" name="Graphic 18">
            <a:extLst>
              <a:ext uri="{FF2B5EF4-FFF2-40B4-BE49-F238E27FC236}">
                <a16:creationId xmlns:a16="http://schemas.microsoft.com/office/drawing/2014/main" id="{91357DFF-9BE9-638D-B3D9-A126460DD6AC}"/>
              </a:ext>
            </a:extLst>
          </p:cNvPr>
          <p:cNvSpPr/>
          <p:nvPr/>
        </p:nvSpPr>
        <p:spPr>
          <a:xfrm>
            <a:off x="425096" y="3808121"/>
            <a:ext cx="1818641" cy="2100106"/>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a:blip r:embed="rId8"/>
            <a:stretch>
              <a:fillRect l="-6946" t="32" r="-7840" b="-32"/>
            </a:stretch>
          </a:blipFill>
          <a:ln w="38100" cap="flat">
            <a:solidFill>
              <a:schemeClr val="tx2"/>
            </a:solidFill>
            <a:prstDash val="solid"/>
            <a:miter/>
          </a:ln>
        </p:spPr>
        <p:txBody>
          <a:bodyPr rtlCol="0" anchor="ctr"/>
          <a:lstStyle/>
          <a:p>
            <a:pPr algn="ctr"/>
            <a:endParaRPr lang="en-GB"/>
          </a:p>
        </p:txBody>
      </p:sp>
      <p:sp>
        <p:nvSpPr>
          <p:cNvPr id="42" name="Graphic 18">
            <a:extLst>
              <a:ext uri="{FF2B5EF4-FFF2-40B4-BE49-F238E27FC236}">
                <a16:creationId xmlns:a16="http://schemas.microsoft.com/office/drawing/2014/main" id="{F1E177B8-C3C7-76E8-7D97-9072B1E3D228}"/>
              </a:ext>
            </a:extLst>
          </p:cNvPr>
          <p:cNvSpPr/>
          <p:nvPr/>
        </p:nvSpPr>
        <p:spPr>
          <a:xfrm>
            <a:off x="7462065" y="3771733"/>
            <a:ext cx="1818641" cy="2100106"/>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a:blip r:embed="rId9"/>
            <a:stretch>
              <a:fillRect l="-7213" t="-14691" r="-7581" b="-8592"/>
            </a:stretch>
          </a:blipFill>
          <a:ln w="38100" cap="flat">
            <a:solidFill>
              <a:schemeClr val="tx2"/>
            </a:solidFill>
            <a:prstDash val="solid"/>
            <a:miter/>
          </a:ln>
        </p:spPr>
        <p:txBody>
          <a:bodyPr rtlCol="0" anchor="ctr"/>
          <a:lstStyle/>
          <a:p>
            <a:pPr algn="ctr"/>
            <a:endParaRPr lang="en-GB"/>
          </a:p>
        </p:txBody>
      </p:sp>
      <p:sp>
        <p:nvSpPr>
          <p:cNvPr id="43" name="TextBox 42">
            <a:extLst>
              <a:ext uri="{FF2B5EF4-FFF2-40B4-BE49-F238E27FC236}">
                <a16:creationId xmlns:a16="http://schemas.microsoft.com/office/drawing/2014/main" id="{C9C5004F-5F7E-507D-C363-B138680BD985}"/>
              </a:ext>
            </a:extLst>
          </p:cNvPr>
          <p:cNvSpPr txBox="1"/>
          <p:nvPr/>
        </p:nvSpPr>
        <p:spPr>
          <a:xfrm>
            <a:off x="-288918" y="5909244"/>
            <a:ext cx="3246668"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defPPr>
              <a:defRPr lang="en-US"/>
            </a:defPPr>
            <a:lvl1pPr marR="0" lvl="0" indent="0" algn="ctr" fontAlgn="auto">
              <a:spcBef>
                <a:spcPts val="0"/>
              </a:spcBef>
              <a:spcAft>
                <a:spcPts val="0"/>
              </a:spcAft>
              <a:buClrTx/>
              <a:buSzTx/>
              <a:buFontTx/>
              <a:buNone/>
              <a:tabLst/>
              <a:defRPr kumimoji="0" sz="1600" b="1" i="0" u="none" strike="noStrike" cap="none" spc="0" normalizeH="0" baseline="0">
                <a:ln>
                  <a:noFill/>
                </a:ln>
                <a:effectLst/>
                <a:uLnTx/>
                <a:uFillTx/>
                <a:latin typeface="Roboto"/>
                <a:ea typeface="Roboto"/>
                <a:cs typeface="Roboto"/>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GB">
                <a:solidFill>
                  <a:schemeClr val="tx1"/>
                </a:solidFill>
              </a:rPr>
              <a:t>Laura Lawler</a:t>
            </a:r>
            <a:endParaRPr lang="en-GB" sz="1600" b="1">
              <a:solidFill>
                <a:schemeClr val="tx1"/>
              </a:solidFill>
              <a:latin typeface="Roboto"/>
              <a:ea typeface="Roboto"/>
            </a:endParaRPr>
          </a:p>
          <a:p>
            <a:pPr algn="ctr"/>
            <a:r>
              <a:rPr lang="en-GB" sz="1600" b="0">
                <a:solidFill>
                  <a:schemeClr val="tx1"/>
                </a:solidFill>
                <a:latin typeface="+mj-lt"/>
                <a:ea typeface="Roboto"/>
              </a:rPr>
              <a:t>HRBP</a:t>
            </a:r>
          </a:p>
        </p:txBody>
      </p:sp>
      <p:sp>
        <p:nvSpPr>
          <p:cNvPr id="44" name="TextBox 43">
            <a:extLst>
              <a:ext uri="{FF2B5EF4-FFF2-40B4-BE49-F238E27FC236}">
                <a16:creationId xmlns:a16="http://schemas.microsoft.com/office/drawing/2014/main" id="{FFB4CF8F-DDCB-9A27-BDBB-2C2C0ABEC1AC}"/>
              </a:ext>
            </a:extLst>
          </p:cNvPr>
          <p:cNvSpPr txBox="1"/>
          <p:nvPr/>
        </p:nvSpPr>
        <p:spPr>
          <a:xfrm>
            <a:off x="4776217" y="5861241"/>
            <a:ext cx="2638425"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defPPr>
              <a:defRPr lang="en-US"/>
            </a:defPPr>
            <a:lvl1pPr marR="0" lvl="0" indent="0" algn="ctr" fontAlgn="auto">
              <a:spcBef>
                <a:spcPts val="0"/>
              </a:spcBef>
              <a:spcAft>
                <a:spcPts val="0"/>
              </a:spcAft>
              <a:buClrTx/>
              <a:buSzTx/>
              <a:buFontTx/>
              <a:buNone/>
              <a:tabLst/>
              <a:defRPr kumimoji="0" sz="1600" b="1" i="0" u="none" strike="noStrike" cap="none" spc="0" normalizeH="0" baseline="0">
                <a:ln>
                  <a:noFill/>
                </a:ln>
                <a:effectLst/>
                <a:uLnTx/>
                <a:uFillTx/>
                <a:latin typeface="Roboto"/>
                <a:ea typeface="Roboto"/>
                <a:cs typeface="Roboto"/>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GB">
                <a:solidFill>
                  <a:schemeClr val="tx1"/>
                </a:solidFill>
              </a:rPr>
              <a:t>Colin Brown</a:t>
            </a:r>
            <a:endParaRPr lang="en-GB" sz="1600" b="1">
              <a:solidFill>
                <a:schemeClr val="tx1"/>
              </a:solidFill>
              <a:latin typeface="Roboto"/>
              <a:ea typeface="Roboto"/>
            </a:endParaRPr>
          </a:p>
          <a:p>
            <a:r>
              <a:rPr lang="en-GB" b="0">
                <a:solidFill>
                  <a:schemeClr val="tx1"/>
                </a:solidFill>
                <a:latin typeface="+mj-lt"/>
                <a:ea typeface="+mn-ea"/>
                <a:cs typeface="+mn-cs"/>
              </a:rPr>
              <a:t>RSOM</a:t>
            </a:r>
          </a:p>
        </p:txBody>
      </p:sp>
      <p:sp>
        <p:nvSpPr>
          <p:cNvPr id="45" name="TextBox 44">
            <a:extLst>
              <a:ext uri="{FF2B5EF4-FFF2-40B4-BE49-F238E27FC236}">
                <a16:creationId xmlns:a16="http://schemas.microsoft.com/office/drawing/2014/main" id="{7CE5DDBB-B2AB-EB04-452C-DE7DE0E5CB8A}"/>
              </a:ext>
            </a:extLst>
          </p:cNvPr>
          <p:cNvSpPr txBox="1"/>
          <p:nvPr/>
        </p:nvSpPr>
        <p:spPr>
          <a:xfrm>
            <a:off x="2213439" y="5818165"/>
            <a:ext cx="3289300"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defPPr>
              <a:defRPr lang="en-US"/>
            </a:defPPr>
            <a:lvl1pPr marR="0" lvl="0" indent="0" algn="ctr" fontAlgn="auto">
              <a:spcBef>
                <a:spcPts val="0"/>
              </a:spcBef>
              <a:spcAft>
                <a:spcPts val="0"/>
              </a:spcAft>
              <a:buClrTx/>
              <a:buSzTx/>
              <a:buFontTx/>
              <a:buNone/>
              <a:tabLst/>
              <a:defRPr kumimoji="0" sz="1600" b="1" i="0" u="none" strike="noStrike" cap="none" spc="0" normalizeH="0" baseline="0">
                <a:ln>
                  <a:noFill/>
                </a:ln>
                <a:effectLst/>
                <a:uLnTx/>
                <a:uFillTx/>
                <a:latin typeface="Roboto"/>
                <a:ea typeface="Roboto"/>
                <a:cs typeface="Roboto"/>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GB">
                <a:solidFill>
                  <a:schemeClr val="tx1"/>
                </a:solidFill>
              </a:rPr>
              <a:t>T</a:t>
            </a:r>
            <a:r>
              <a:rPr lang="en-GB" sz="1600" b="1">
                <a:solidFill>
                  <a:schemeClr val="tx1"/>
                </a:solidFill>
                <a:latin typeface="Roboto"/>
                <a:ea typeface="Roboto"/>
              </a:rPr>
              <a:t>om Devlin</a:t>
            </a:r>
          </a:p>
          <a:p>
            <a:r>
              <a:rPr lang="en-GB" b="0">
                <a:solidFill>
                  <a:schemeClr val="tx1"/>
                </a:solidFill>
                <a:latin typeface="+mj-lt"/>
                <a:ea typeface="+mn-ea"/>
                <a:cs typeface="+mn-cs"/>
              </a:rPr>
              <a:t>Regional Commercial Director</a:t>
            </a:r>
          </a:p>
        </p:txBody>
      </p:sp>
      <p:sp>
        <p:nvSpPr>
          <p:cNvPr id="46" name="Rectangle 45">
            <a:extLst>
              <a:ext uri="{FF2B5EF4-FFF2-40B4-BE49-F238E27FC236}">
                <a16:creationId xmlns:a16="http://schemas.microsoft.com/office/drawing/2014/main" id="{306E2875-CACD-B0AA-E98C-46D13A5C1892}"/>
              </a:ext>
            </a:extLst>
          </p:cNvPr>
          <p:cNvSpPr/>
          <p:nvPr/>
        </p:nvSpPr>
        <p:spPr>
          <a:xfrm>
            <a:off x="9207259" y="2920723"/>
            <a:ext cx="2984500" cy="5648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endParaRPr lang="en-GB" sz="1600" b="1">
              <a:solidFill>
                <a:schemeClr val="tx1"/>
              </a:solidFill>
              <a:latin typeface="Roboto"/>
              <a:ea typeface="Roboto"/>
            </a:endParaRPr>
          </a:p>
          <a:p>
            <a:pPr algn="ctr"/>
            <a:r>
              <a:rPr lang="en-GB" sz="1600" b="1">
                <a:solidFill>
                  <a:schemeClr val="tx1"/>
                </a:solidFill>
                <a:latin typeface="Roboto"/>
                <a:ea typeface="Roboto"/>
              </a:rPr>
              <a:t>Regional Sales Director</a:t>
            </a:r>
          </a:p>
          <a:p>
            <a:pPr algn="ctr"/>
            <a:endParaRPr lang="en-GB" sz="1600" b="1">
              <a:solidFill>
                <a:schemeClr val="tx1"/>
              </a:solidFill>
              <a:latin typeface="Roboto"/>
              <a:ea typeface="Roboto"/>
            </a:endParaRPr>
          </a:p>
        </p:txBody>
      </p:sp>
      <p:sp>
        <p:nvSpPr>
          <p:cNvPr id="11" name="AutoShape 2">
            <a:extLst>
              <a:ext uri="{FF2B5EF4-FFF2-40B4-BE49-F238E27FC236}">
                <a16:creationId xmlns:a16="http://schemas.microsoft.com/office/drawing/2014/main" id="{B79568E6-2A7E-6758-5D22-F5FA22B09027}"/>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2" name="AutoShape 4">
            <a:extLst>
              <a:ext uri="{FF2B5EF4-FFF2-40B4-BE49-F238E27FC236}">
                <a16:creationId xmlns:a16="http://schemas.microsoft.com/office/drawing/2014/main" id="{94FAABD3-7FBA-591F-C495-38DCD95ACC0E}"/>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 name="Graphic 18">
            <a:extLst>
              <a:ext uri="{FF2B5EF4-FFF2-40B4-BE49-F238E27FC236}">
                <a16:creationId xmlns:a16="http://schemas.microsoft.com/office/drawing/2014/main" id="{D78D2955-F20C-F4FC-E4A9-A1F2EF4F42B4}"/>
              </a:ext>
            </a:extLst>
          </p:cNvPr>
          <p:cNvSpPr/>
          <p:nvPr/>
        </p:nvSpPr>
        <p:spPr>
          <a:xfrm>
            <a:off x="9641414" y="842719"/>
            <a:ext cx="1818641" cy="2100106"/>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rgbClr val="FFC000"/>
          </a:solidFill>
          <a:ln w="38100" cap="flat">
            <a:solidFill>
              <a:schemeClr val="tx2"/>
            </a:solidFill>
            <a:prstDash val="solid"/>
            <a:miter/>
          </a:ln>
        </p:spPr>
        <p:txBody>
          <a:bodyPr rtlCol="0" anchor="ctr"/>
          <a:lstStyle/>
          <a:p>
            <a:pPr algn="ctr"/>
            <a:r>
              <a:rPr lang="en-GB"/>
              <a:t>TBC</a:t>
            </a:r>
          </a:p>
        </p:txBody>
      </p:sp>
      <p:sp>
        <p:nvSpPr>
          <p:cNvPr id="5" name="Graphic 18">
            <a:extLst>
              <a:ext uri="{FF2B5EF4-FFF2-40B4-BE49-F238E27FC236}">
                <a16:creationId xmlns:a16="http://schemas.microsoft.com/office/drawing/2014/main" id="{500EDCF0-DF1E-B230-114E-3AECAD76AFB7}"/>
              </a:ext>
            </a:extLst>
          </p:cNvPr>
          <p:cNvSpPr/>
          <p:nvPr/>
        </p:nvSpPr>
        <p:spPr>
          <a:xfrm>
            <a:off x="9857422" y="3771733"/>
            <a:ext cx="1818641" cy="2100106"/>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a:blip r:embed="rId10"/>
            <a:stretch>
              <a:fillRect l="-7213" t="-9064" r="-7581" b="-6830"/>
            </a:stretch>
          </a:blipFill>
          <a:ln w="38100" cap="flat">
            <a:solidFill>
              <a:schemeClr val="tx2"/>
            </a:solidFill>
            <a:prstDash val="solid"/>
            <a:miter/>
          </a:ln>
        </p:spPr>
        <p:txBody>
          <a:bodyPr rtlCol="0" anchor="ctr"/>
          <a:lstStyle/>
          <a:p>
            <a:pPr algn="ctr"/>
            <a:endParaRPr lang="en-GB"/>
          </a:p>
        </p:txBody>
      </p:sp>
      <p:sp>
        <p:nvSpPr>
          <p:cNvPr id="7" name="TextBox 6">
            <a:extLst>
              <a:ext uri="{FF2B5EF4-FFF2-40B4-BE49-F238E27FC236}">
                <a16:creationId xmlns:a16="http://schemas.microsoft.com/office/drawing/2014/main" id="{5325290E-DAC1-57DD-176A-309E377DDDF9}"/>
              </a:ext>
            </a:extLst>
          </p:cNvPr>
          <p:cNvSpPr txBox="1"/>
          <p:nvPr/>
        </p:nvSpPr>
        <p:spPr>
          <a:xfrm>
            <a:off x="7052172" y="5838988"/>
            <a:ext cx="2638425"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defPPr>
              <a:defRPr lang="en-US"/>
            </a:defPPr>
            <a:lvl1pPr marR="0" lvl="0" indent="0" algn="ctr" fontAlgn="auto">
              <a:spcBef>
                <a:spcPts val="0"/>
              </a:spcBef>
              <a:spcAft>
                <a:spcPts val="0"/>
              </a:spcAft>
              <a:buClrTx/>
              <a:buSzTx/>
              <a:buFontTx/>
              <a:buNone/>
              <a:tabLst/>
              <a:defRPr kumimoji="0" sz="1600" b="1" i="0" u="none" strike="noStrike" cap="none" spc="0" normalizeH="0" baseline="0">
                <a:ln>
                  <a:noFill/>
                </a:ln>
                <a:effectLst/>
                <a:uLnTx/>
                <a:uFillTx/>
                <a:latin typeface="Roboto"/>
                <a:ea typeface="Roboto"/>
                <a:cs typeface="Roboto"/>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GB">
                <a:solidFill>
                  <a:schemeClr val="tx1"/>
                </a:solidFill>
              </a:rPr>
              <a:t>John Dunn</a:t>
            </a:r>
            <a:endParaRPr lang="en-GB" sz="1600" b="1">
              <a:solidFill>
                <a:schemeClr val="tx1"/>
              </a:solidFill>
              <a:latin typeface="Roboto"/>
              <a:ea typeface="Roboto"/>
            </a:endParaRPr>
          </a:p>
          <a:p>
            <a:r>
              <a:rPr lang="en-GB" b="0">
                <a:solidFill>
                  <a:schemeClr val="tx1"/>
                </a:solidFill>
                <a:latin typeface="+mj-lt"/>
                <a:ea typeface="+mn-ea"/>
                <a:cs typeface="+mn-cs"/>
              </a:rPr>
              <a:t>Regional Transport </a:t>
            </a:r>
            <a:r>
              <a:rPr lang="en-GB" b="0" err="1">
                <a:solidFill>
                  <a:schemeClr val="tx1"/>
                </a:solidFill>
                <a:latin typeface="+mj-lt"/>
                <a:ea typeface="+mn-ea"/>
                <a:cs typeface="+mn-cs"/>
              </a:rPr>
              <a:t>Mgr</a:t>
            </a:r>
            <a:endParaRPr lang="en-GB" b="0">
              <a:solidFill>
                <a:schemeClr val="tx1"/>
              </a:solidFill>
              <a:latin typeface="+mj-lt"/>
              <a:ea typeface="+mn-ea"/>
              <a:cs typeface="+mn-cs"/>
            </a:endParaRPr>
          </a:p>
        </p:txBody>
      </p:sp>
      <p:sp>
        <p:nvSpPr>
          <p:cNvPr id="9" name="TextBox 8">
            <a:extLst>
              <a:ext uri="{FF2B5EF4-FFF2-40B4-BE49-F238E27FC236}">
                <a16:creationId xmlns:a16="http://schemas.microsoft.com/office/drawing/2014/main" id="{A9E903B4-489D-A0B3-8E6E-A5566E4FD9F4}"/>
              </a:ext>
            </a:extLst>
          </p:cNvPr>
          <p:cNvSpPr txBox="1"/>
          <p:nvPr/>
        </p:nvSpPr>
        <p:spPr>
          <a:xfrm>
            <a:off x="9553334" y="5805463"/>
            <a:ext cx="2638425"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defPPr>
              <a:defRPr lang="en-US"/>
            </a:defPPr>
            <a:lvl1pPr marR="0" lvl="0" indent="0" algn="ctr" fontAlgn="auto">
              <a:spcBef>
                <a:spcPts val="0"/>
              </a:spcBef>
              <a:spcAft>
                <a:spcPts val="0"/>
              </a:spcAft>
              <a:buClrTx/>
              <a:buSzTx/>
              <a:buFontTx/>
              <a:buNone/>
              <a:tabLst/>
              <a:defRPr kumimoji="0" sz="1600" b="1" i="0" u="none" strike="noStrike" cap="none" spc="0" normalizeH="0" baseline="0">
                <a:ln>
                  <a:noFill/>
                </a:ln>
                <a:effectLst/>
                <a:uLnTx/>
                <a:uFillTx/>
                <a:latin typeface="Roboto"/>
                <a:ea typeface="Roboto"/>
                <a:cs typeface="Roboto"/>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GB" sz="1600" b="1">
                <a:solidFill>
                  <a:schemeClr val="tx1"/>
                </a:solidFill>
                <a:latin typeface="Roboto"/>
                <a:ea typeface="Roboto"/>
              </a:rPr>
              <a:t>Iain Alexander</a:t>
            </a:r>
          </a:p>
          <a:p>
            <a:r>
              <a:rPr lang="en-GB" b="0">
                <a:solidFill>
                  <a:schemeClr val="tx1"/>
                </a:solidFill>
                <a:latin typeface="+mj-lt"/>
                <a:ea typeface="+mn-ea"/>
                <a:cs typeface="+mn-cs"/>
              </a:rPr>
              <a:t>Regional Tool Hire Director</a:t>
            </a:r>
          </a:p>
        </p:txBody>
      </p:sp>
      <p:sp>
        <p:nvSpPr>
          <p:cNvPr id="4" name="Graphic 18">
            <a:extLst>
              <a:ext uri="{FF2B5EF4-FFF2-40B4-BE49-F238E27FC236}">
                <a16:creationId xmlns:a16="http://schemas.microsoft.com/office/drawing/2014/main" id="{908661AE-F814-CACB-D564-7FDF8BC13B89}"/>
              </a:ext>
            </a:extLst>
          </p:cNvPr>
          <p:cNvSpPr/>
          <p:nvPr/>
        </p:nvSpPr>
        <p:spPr>
          <a:xfrm>
            <a:off x="610313" y="1029820"/>
            <a:ext cx="1818641" cy="2100106"/>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a:blip r:embed="rId11"/>
            <a:stretch>
              <a:fillRect l="-3982" t="-415" r="-3410" b="-837"/>
            </a:stretch>
          </a:blipFill>
          <a:ln w="38100" cap="flat">
            <a:solidFill>
              <a:schemeClr val="tx2"/>
            </a:solidFill>
            <a:prstDash val="solid"/>
            <a:miter/>
          </a:ln>
        </p:spPr>
        <p:txBody>
          <a:bodyPr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Tree>
    <p:extLst>
      <p:ext uri="{BB962C8B-B14F-4D97-AF65-F5344CB8AC3E}">
        <p14:creationId xmlns:p14="http://schemas.microsoft.com/office/powerpoint/2010/main" val="419323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7CE321-44A0-FF6B-E6F5-CEAE734F869C}"/>
              </a:ext>
            </a:extLst>
          </p:cNvPr>
          <p:cNvSpPr>
            <a:spLocks noGrp="1"/>
          </p:cNvSpPr>
          <p:nvPr>
            <p:ph type="title"/>
          </p:nvPr>
        </p:nvSpPr>
        <p:spPr>
          <a:xfrm>
            <a:off x="426540" y="-647593"/>
            <a:ext cx="10671674" cy="2421737"/>
          </a:xfrm>
        </p:spPr>
        <p:txBody>
          <a:bodyPr>
            <a:normAutofit/>
          </a:bodyPr>
          <a:lstStyle/>
          <a:p>
            <a:r>
              <a:rPr lang="en-GB" sz="3600" b="1" dirty="0">
                <a:solidFill>
                  <a:srgbClr val="002060"/>
                </a:solidFill>
                <a:latin typeface="Roboto Condensed"/>
                <a:ea typeface="Roboto Condensed"/>
                <a:cs typeface="Roboto Condensed"/>
              </a:rPr>
              <a:t>Jewson Wales &amp; Central England</a:t>
            </a:r>
          </a:p>
        </p:txBody>
      </p:sp>
      <p:sp>
        <p:nvSpPr>
          <p:cNvPr id="27" name="Graphic 18">
            <a:extLst>
              <a:ext uri="{FF2B5EF4-FFF2-40B4-BE49-F238E27FC236}">
                <a16:creationId xmlns:a16="http://schemas.microsoft.com/office/drawing/2014/main" id="{1070FFD0-C711-0F38-EBE2-799AE5088A7F}"/>
              </a:ext>
            </a:extLst>
          </p:cNvPr>
          <p:cNvSpPr/>
          <p:nvPr/>
        </p:nvSpPr>
        <p:spPr>
          <a:xfrm>
            <a:off x="3560858" y="918206"/>
            <a:ext cx="1818641" cy="2100106"/>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a:blip r:embed="rId3"/>
            <a:stretch>
              <a:fillRect l="-17753" r="-10121" b="-46321"/>
            </a:stretch>
          </a:blipFill>
          <a:ln w="38100" cap="flat">
            <a:solidFill>
              <a:schemeClr val="tx2"/>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29" name="Graphic 18">
            <a:extLst>
              <a:ext uri="{FF2B5EF4-FFF2-40B4-BE49-F238E27FC236}">
                <a16:creationId xmlns:a16="http://schemas.microsoft.com/office/drawing/2014/main" id="{4730D649-C1B6-2D55-3B9F-EBFD45EFCA82}"/>
              </a:ext>
            </a:extLst>
          </p:cNvPr>
          <p:cNvSpPr/>
          <p:nvPr/>
        </p:nvSpPr>
        <p:spPr>
          <a:xfrm>
            <a:off x="6472017" y="918206"/>
            <a:ext cx="1818641" cy="2100106"/>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a:blip r:embed="rId4"/>
            <a:stretch>
              <a:fillRect l="-2374" t="-37942" b="-32749"/>
            </a:stretch>
          </a:blipFill>
          <a:ln w="38100" cap="flat">
            <a:solidFill>
              <a:schemeClr val="tx2"/>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31" name="Graphic 18">
            <a:extLst>
              <a:ext uri="{FF2B5EF4-FFF2-40B4-BE49-F238E27FC236}">
                <a16:creationId xmlns:a16="http://schemas.microsoft.com/office/drawing/2014/main" id="{920C1A89-AC7A-E14C-133C-AE2357C12525}"/>
              </a:ext>
            </a:extLst>
          </p:cNvPr>
          <p:cNvSpPr/>
          <p:nvPr/>
        </p:nvSpPr>
        <p:spPr>
          <a:xfrm>
            <a:off x="905960" y="918206"/>
            <a:ext cx="1818641" cy="2100106"/>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a:blip r:embed="rId5"/>
            <a:stretch>
              <a:fillRect l="1" t="-11742" r="-525" b="-34579"/>
            </a:stretch>
          </a:blipFill>
          <a:ln w="38100" cap="flat">
            <a:solidFill>
              <a:schemeClr val="tx2"/>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36" name="TextBox 35">
            <a:extLst>
              <a:ext uri="{FF2B5EF4-FFF2-40B4-BE49-F238E27FC236}">
                <a16:creationId xmlns:a16="http://schemas.microsoft.com/office/drawing/2014/main" id="{48B5F2E2-D083-DD57-D823-87C6D8891CB2}"/>
              </a:ext>
            </a:extLst>
          </p:cNvPr>
          <p:cNvSpPr txBox="1"/>
          <p:nvPr/>
        </p:nvSpPr>
        <p:spPr>
          <a:xfrm>
            <a:off x="5628428" y="2972158"/>
            <a:ext cx="3505818"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defPPr>
              <a:defRPr lang="en-US"/>
            </a:defPPr>
            <a:lvl1pPr marR="0" lvl="0" indent="0" algn="ctr" fontAlgn="auto">
              <a:spcBef>
                <a:spcPts val="0"/>
              </a:spcBef>
              <a:spcAft>
                <a:spcPts val="0"/>
              </a:spcAft>
              <a:buClrTx/>
              <a:buSzTx/>
              <a:buFontTx/>
              <a:buNone/>
              <a:tabLst/>
              <a:defRPr kumimoji="0" sz="1600" b="1" i="0" u="none" strike="noStrike" cap="none" spc="0" normalizeH="0" baseline="0">
                <a:ln>
                  <a:noFill/>
                </a:ln>
                <a:effectLst/>
                <a:uLnTx/>
                <a:uFillTx/>
                <a:latin typeface="Roboto"/>
                <a:ea typeface="Roboto"/>
                <a:cs typeface="Roboto"/>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err="1">
                <a:ln>
                  <a:noFill/>
                </a:ln>
                <a:solidFill>
                  <a:srgbClr val="000000"/>
                </a:solidFill>
                <a:effectLst/>
                <a:uLnTx/>
                <a:uFillTx/>
                <a:latin typeface="Roboto"/>
                <a:ea typeface="Roboto"/>
                <a:cs typeface="Roboto"/>
              </a:rPr>
              <a:t>Sanj</a:t>
            </a:r>
            <a:r>
              <a:rPr kumimoji="0" lang="en-GB" sz="1400" b="1" i="0" u="none" strike="noStrike" kern="1200" cap="none" spc="0" normalizeH="0" baseline="0" noProof="0">
                <a:ln>
                  <a:noFill/>
                </a:ln>
                <a:solidFill>
                  <a:srgbClr val="000000"/>
                </a:solidFill>
                <a:effectLst/>
                <a:uLnTx/>
                <a:uFillTx/>
                <a:latin typeface="Roboto"/>
                <a:ea typeface="Roboto"/>
                <a:cs typeface="Roboto"/>
              </a:rPr>
              <a:t> Kals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Roboto"/>
                <a:ea typeface="Roboto"/>
                <a:cs typeface="Roboto"/>
              </a:rPr>
              <a:t>RD – Birmingham </a:t>
            </a:r>
            <a:br>
              <a:rPr kumimoji="0" lang="en-GB" sz="1400" b="0" i="0" u="none" strike="noStrike" kern="1200" cap="none" spc="0" normalizeH="0" baseline="0" noProof="0">
                <a:ln>
                  <a:noFill/>
                </a:ln>
                <a:solidFill>
                  <a:srgbClr val="000000"/>
                </a:solidFill>
                <a:effectLst/>
                <a:uLnTx/>
                <a:uFillTx/>
                <a:latin typeface="Roboto"/>
                <a:ea typeface="Roboto"/>
                <a:cs typeface="Roboto"/>
              </a:rPr>
            </a:br>
            <a:r>
              <a:rPr kumimoji="0" lang="en-GB" sz="1400" b="0" i="0" u="none" strike="noStrike" kern="1200" cap="none" spc="0" normalizeH="0" baseline="0" noProof="0">
                <a:ln>
                  <a:noFill/>
                </a:ln>
                <a:solidFill>
                  <a:srgbClr val="000000"/>
                </a:solidFill>
                <a:effectLst/>
                <a:uLnTx/>
                <a:uFillTx/>
                <a:latin typeface="Roboto"/>
                <a:ea typeface="Roboto"/>
                <a:cs typeface="Roboto"/>
              </a:rPr>
              <a:t>&amp; Welsh borders</a:t>
            </a:r>
          </a:p>
        </p:txBody>
      </p:sp>
      <p:sp>
        <p:nvSpPr>
          <p:cNvPr id="37" name="TextBox 36">
            <a:extLst>
              <a:ext uri="{FF2B5EF4-FFF2-40B4-BE49-F238E27FC236}">
                <a16:creationId xmlns:a16="http://schemas.microsoft.com/office/drawing/2014/main" id="{E081DDA1-09FA-1363-DFAF-D96D7FED39DE}"/>
              </a:ext>
            </a:extLst>
          </p:cNvPr>
          <p:cNvSpPr txBox="1"/>
          <p:nvPr/>
        </p:nvSpPr>
        <p:spPr>
          <a:xfrm>
            <a:off x="2825528" y="3044145"/>
            <a:ext cx="3289300"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defPPr>
              <a:defRPr lang="en-US"/>
            </a:defPPr>
            <a:lvl1pPr marR="0" lvl="0" indent="0" algn="ctr" fontAlgn="auto">
              <a:spcBef>
                <a:spcPts val="0"/>
              </a:spcBef>
              <a:spcAft>
                <a:spcPts val="0"/>
              </a:spcAft>
              <a:buClrTx/>
              <a:buSzTx/>
              <a:buFontTx/>
              <a:buNone/>
              <a:tabLst/>
              <a:defRPr kumimoji="0" sz="1600" b="1" i="0" u="none" strike="noStrike" cap="none" spc="0" normalizeH="0" baseline="0">
                <a:ln>
                  <a:noFill/>
                </a:ln>
                <a:effectLst/>
                <a:uLnTx/>
                <a:uFillTx/>
                <a:latin typeface="Roboto"/>
                <a:ea typeface="Roboto"/>
                <a:cs typeface="Roboto"/>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Roboto"/>
                <a:ea typeface="Roboto"/>
                <a:cs typeface="Roboto"/>
              </a:rPr>
              <a:t>Jason Pic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Roboto"/>
                <a:ea typeface="Roboto"/>
                <a:cs typeface="Roboto"/>
              </a:rPr>
              <a:t>RD – Midlands</a:t>
            </a:r>
          </a:p>
        </p:txBody>
      </p:sp>
      <p:sp>
        <p:nvSpPr>
          <p:cNvPr id="38" name="Rectangle 37">
            <a:extLst>
              <a:ext uri="{FF2B5EF4-FFF2-40B4-BE49-F238E27FC236}">
                <a16:creationId xmlns:a16="http://schemas.microsoft.com/office/drawing/2014/main" id="{C6749F5B-CA5D-23F6-30F6-D613E048FDA8}"/>
              </a:ext>
            </a:extLst>
          </p:cNvPr>
          <p:cNvSpPr/>
          <p:nvPr/>
        </p:nvSpPr>
        <p:spPr>
          <a:xfrm>
            <a:off x="323030" y="3002195"/>
            <a:ext cx="2984500" cy="5648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Roboto"/>
                <a:ea typeface="Roboto"/>
                <a:cs typeface="+mn-cs"/>
              </a:rPr>
              <a:t>Nathan Spurge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Roboto"/>
                <a:ea typeface="Roboto"/>
                <a:cs typeface="+mn-cs"/>
              </a:rPr>
              <a:t>RD – Wal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Roboto"/>
              <a:ea typeface="Roboto"/>
              <a:cs typeface="+mn-cs"/>
            </a:endParaRPr>
          </a:p>
        </p:txBody>
      </p:sp>
      <p:sp>
        <p:nvSpPr>
          <p:cNvPr id="39" name="Graphic 18">
            <a:extLst>
              <a:ext uri="{FF2B5EF4-FFF2-40B4-BE49-F238E27FC236}">
                <a16:creationId xmlns:a16="http://schemas.microsoft.com/office/drawing/2014/main" id="{77C56DDD-475C-4280-BA4D-3D811E33DCB3}"/>
              </a:ext>
            </a:extLst>
          </p:cNvPr>
          <p:cNvSpPr/>
          <p:nvPr/>
        </p:nvSpPr>
        <p:spPr>
          <a:xfrm>
            <a:off x="3802158" y="3804706"/>
            <a:ext cx="1818641" cy="2100106"/>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rgbClr val="FFC000"/>
          </a:solidFill>
          <a:ln w="38100" cap="flat">
            <a:solidFill>
              <a:schemeClr val="tx2"/>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0" name="Graphic 18">
            <a:extLst>
              <a:ext uri="{FF2B5EF4-FFF2-40B4-BE49-F238E27FC236}">
                <a16:creationId xmlns:a16="http://schemas.microsoft.com/office/drawing/2014/main" id="{CA0D2190-7033-B71F-0950-9F43CEA6E2AB}"/>
              </a:ext>
            </a:extLst>
          </p:cNvPr>
          <p:cNvSpPr/>
          <p:nvPr/>
        </p:nvSpPr>
        <p:spPr>
          <a:xfrm>
            <a:off x="6700617" y="3804706"/>
            <a:ext cx="1818641" cy="2100106"/>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solidFill>
            <a:srgbClr val="FFC000"/>
          </a:solidFill>
          <a:ln w="38100" cap="flat">
            <a:solidFill>
              <a:schemeClr val="tx2"/>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1" name="Graphic 18">
            <a:extLst>
              <a:ext uri="{FF2B5EF4-FFF2-40B4-BE49-F238E27FC236}">
                <a16:creationId xmlns:a16="http://schemas.microsoft.com/office/drawing/2014/main" id="{91357DFF-9BE9-638D-B3D9-A126460DD6AC}"/>
              </a:ext>
            </a:extLst>
          </p:cNvPr>
          <p:cNvSpPr/>
          <p:nvPr/>
        </p:nvSpPr>
        <p:spPr>
          <a:xfrm>
            <a:off x="8945060" y="947206"/>
            <a:ext cx="1818641" cy="2100106"/>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a:blip r:embed="rId6"/>
            <a:stretch>
              <a:fillRect l="-2394" t="-3845" r="20" b="-3845"/>
            </a:stretch>
          </a:blipFill>
          <a:ln w="38100" cap="flat">
            <a:solidFill>
              <a:schemeClr val="tx2"/>
            </a:solid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Roboto"/>
              <a:ea typeface="+mn-ea"/>
              <a:cs typeface="+mn-cs"/>
            </a:endParaRPr>
          </a:p>
        </p:txBody>
      </p:sp>
      <p:sp>
        <p:nvSpPr>
          <p:cNvPr id="44" name="TextBox 43">
            <a:extLst>
              <a:ext uri="{FF2B5EF4-FFF2-40B4-BE49-F238E27FC236}">
                <a16:creationId xmlns:a16="http://schemas.microsoft.com/office/drawing/2014/main" id="{FFB4CF8F-DDCB-9A27-BDBB-2C2C0ABEC1AC}"/>
              </a:ext>
            </a:extLst>
          </p:cNvPr>
          <p:cNvSpPr txBox="1"/>
          <p:nvPr/>
        </p:nvSpPr>
        <p:spPr>
          <a:xfrm>
            <a:off x="6328825" y="5898737"/>
            <a:ext cx="2638425"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defPPr>
              <a:defRPr lang="en-US"/>
            </a:defPPr>
            <a:lvl1pPr marR="0" lvl="0" indent="0" algn="ctr" fontAlgn="auto">
              <a:spcBef>
                <a:spcPts val="0"/>
              </a:spcBef>
              <a:spcAft>
                <a:spcPts val="0"/>
              </a:spcAft>
              <a:buClrTx/>
              <a:buSzTx/>
              <a:buFontTx/>
              <a:buNone/>
              <a:tabLst/>
              <a:defRPr kumimoji="0" sz="1600" b="1" i="0" u="none" strike="noStrike" cap="none" spc="0" normalizeH="0" baseline="0">
                <a:ln>
                  <a:noFill/>
                </a:ln>
                <a:effectLst/>
                <a:uLnTx/>
                <a:uFillTx/>
                <a:latin typeface="Roboto"/>
                <a:ea typeface="Roboto"/>
                <a:cs typeface="Roboto"/>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Roboto"/>
                <a:ea typeface="Roboto"/>
                <a:cs typeface="Roboto"/>
              </a:rPr>
              <a:t>TB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Roboto"/>
                <a:ea typeface="Roboto"/>
                <a:cs typeface="Roboto"/>
              </a:rPr>
              <a:t>RD – </a:t>
            </a:r>
            <a:r>
              <a:rPr lang="en-GB" sz="1400" b="0">
                <a:solidFill>
                  <a:srgbClr val="000000"/>
                </a:solidFill>
              </a:rPr>
              <a:t>Northwest</a:t>
            </a:r>
            <a:endParaRPr lang="en-GB" sz="1400" b="0" i="0" u="none" strike="noStrike" kern="1200" cap="none" spc="0" normalizeH="0" baseline="0" noProof="0">
              <a:ln>
                <a:noFill/>
              </a:ln>
              <a:solidFill>
                <a:srgbClr val="000000"/>
              </a:solidFill>
              <a:effectLst/>
              <a:uLnTx/>
              <a:uFillTx/>
              <a:latin typeface="Roboto"/>
              <a:ea typeface="Roboto"/>
              <a:cs typeface="Roboto"/>
            </a:endParaRPr>
          </a:p>
        </p:txBody>
      </p:sp>
      <p:sp>
        <p:nvSpPr>
          <p:cNvPr id="45" name="TextBox 44">
            <a:extLst>
              <a:ext uri="{FF2B5EF4-FFF2-40B4-BE49-F238E27FC236}">
                <a16:creationId xmlns:a16="http://schemas.microsoft.com/office/drawing/2014/main" id="{7CE5DDBB-B2AB-EB04-452C-DE7DE0E5CB8A}"/>
              </a:ext>
            </a:extLst>
          </p:cNvPr>
          <p:cNvSpPr txBox="1"/>
          <p:nvPr/>
        </p:nvSpPr>
        <p:spPr>
          <a:xfrm>
            <a:off x="3104928" y="5904114"/>
            <a:ext cx="3289300"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defPPr>
              <a:defRPr lang="en-US"/>
            </a:defPPr>
            <a:lvl1pPr marR="0" lvl="0" indent="0" algn="ctr" fontAlgn="auto">
              <a:spcBef>
                <a:spcPts val="0"/>
              </a:spcBef>
              <a:spcAft>
                <a:spcPts val="0"/>
              </a:spcAft>
              <a:buClrTx/>
              <a:buSzTx/>
              <a:buFontTx/>
              <a:buNone/>
              <a:tabLst/>
              <a:defRPr kumimoji="0" sz="1600" b="1" i="0" u="none" strike="noStrike" cap="none" spc="0" normalizeH="0" baseline="0">
                <a:ln>
                  <a:noFill/>
                </a:ln>
                <a:effectLst/>
                <a:uLnTx/>
                <a:uFillTx/>
                <a:latin typeface="Roboto"/>
                <a:ea typeface="Roboto"/>
                <a:cs typeface="Roboto"/>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Roboto"/>
                <a:ea typeface="Roboto"/>
                <a:cs typeface="Roboto"/>
              </a:rPr>
              <a:t>TB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Roboto"/>
                <a:ea typeface="Roboto"/>
                <a:cs typeface="Roboto"/>
              </a:rPr>
              <a:t>RD - Manchester</a:t>
            </a:r>
          </a:p>
        </p:txBody>
      </p:sp>
      <p:sp>
        <p:nvSpPr>
          <p:cNvPr id="46" name="Rectangle 45">
            <a:extLst>
              <a:ext uri="{FF2B5EF4-FFF2-40B4-BE49-F238E27FC236}">
                <a16:creationId xmlns:a16="http://schemas.microsoft.com/office/drawing/2014/main" id="{306E2875-CACD-B0AA-E98C-46D13A5C1892}"/>
              </a:ext>
            </a:extLst>
          </p:cNvPr>
          <p:cNvSpPr/>
          <p:nvPr/>
        </p:nvSpPr>
        <p:spPr>
          <a:xfrm>
            <a:off x="5950400" y="2980393"/>
            <a:ext cx="7978103" cy="6410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Roboto"/>
                <a:ea typeface="Roboto"/>
                <a:cs typeface="+mn-cs"/>
              </a:rPr>
              <a:t>Craig Lewis</a:t>
            </a:r>
          </a:p>
          <a:p>
            <a:pPr algn="ctr">
              <a:defRPr/>
            </a:pPr>
            <a:r>
              <a:rPr kumimoji="0" lang="en-GB" sz="1400" b="0" i="0" u="none" strike="noStrike" kern="1200" cap="none" spc="0" normalizeH="0" baseline="0" noProof="0">
                <a:ln>
                  <a:noFill/>
                </a:ln>
                <a:solidFill>
                  <a:srgbClr val="000000"/>
                </a:solidFill>
                <a:effectLst/>
                <a:uLnTx/>
                <a:uFillTx/>
                <a:latin typeface="Roboto"/>
                <a:ea typeface="Roboto"/>
                <a:cs typeface="+mn-cs"/>
              </a:rPr>
              <a:t>RD – Lincolnshire &amp; South Yorkshire</a:t>
            </a:r>
            <a:r>
              <a:rPr lang="en-GB" sz="1400">
                <a:solidFill>
                  <a:srgbClr val="000000"/>
                </a:solidFill>
                <a:latin typeface="Roboto"/>
                <a:ea typeface="Roboto"/>
              </a:rPr>
              <a:t> </a:t>
            </a:r>
            <a:endParaRPr lang="en-GB" sz="1400" b="0" i="0" u="none" strike="noStrike" kern="1200" cap="none" spc="0" normalizeH="0" baseline="0" noProof="0">
              <a:ln>
                <a:noFill/>
              </a:ln>
              <a:solidFill>
                <a:srgbClr val="000000"/>
              </a:solidFill>
              <a:effectLst/>
              <a:uLnTx/>
              <a:uFillTx/>
              <a:latin typeface="Roboto"/>
              <a:ea typeface="Roboto"/>
              <a:cs typeface="Roboto"/>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Roboto"/>
              <a:ea typeface="Roboto"/>
              <a:cs typeface="+mn-cs"/>
            </a:endParaRPr>
          </a:p>
        </p:txBody>
      </p:sp>
      <p:pic>
        <p:nvPicPr>
          <p:cNvPr id="1030" name="Picture 6" descr="User Silhouette Icons - Free SVG &amp; PNG User Silhouette Images - Noun Project">
            <a:extLst>
              <a:ext uri="{FF2B5EF4-FFF2-40B4-BE49-F238E27FC236}">
                <a16:creationId xmlns:a16="http://schemas.microsoft.com/office/drawing/2014/main" id="{2440D47E-DF21-6062-FE5F-99140C4C510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95537" y="3807680"/>
            <a:ext cx="1905000" cy="190500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User Silhouette Icons - Free SVG &amp; PNG User Silhouette Images - Noun Project">
            <a:extLst>
              <a:ext uri="{FF2B5EF4-FFF2-40B4-BE49-F238E27FC236}">
                <a16:creationId xmlns:a16="http://schemas.microsoft.com/office/drawing/2014/main" id="{728C5AD0-F417-CD59-595B-9E4333780AE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91363" y="3782280"/>
            <a:ext cx="1905000" cy="1905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6017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raphic 18">
            <a:extLst>
              <a:ext uri="{FF2B5EF4-FFF2-40B4-BE49-F238E27FC236}">
                <a16:creationId xmlns:a16="http://schemas.microsoft.com/office/drawing/2014/main" id="{F9264FF4-1FC1-869C-B106-BE7595723D59}"/>
              </a:ext>
            </a:extLst>
          </p:cNvPr>
          <p:cNvSpPr/>
          <p:nvPr/>
        </p:nvSpPr>
        <p:spPr>
          <a:xfrm>
            <a:off x="6537458" y="1006847"/>
            <a:ext cx="1818641" cy="2100106"/>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a:blip r:embed="rId3">
              <a:extLst>
                <a:ext uri="{BEBA8EAE-BF5A-486C-A8C5-ECC9F3942E4B}">
                  <a14:imgProps xmlns:a14="http://schemas.microsoft.com/office/drawing/2010/main">
                    <a14:imgLayer r:embed="rId4">
                      <a14:imgEffect>
                        <a14:brightnessContrast bright="20000" contrast="20000"/>
                      </a14:imgEffect>
                    </a14:imgLayer>
                  </a14:imgProps>
                </a:ext>
              </a:extLst>
            </a:blip>
            <a:stretch>
              <a:fillRect l="-14149" r="-14149" b="-19489"/>
            </a:stretch>
          </a:blipFill>
          <a:ln w="38100" cap="flat">
            <a:solidFill>
              <a:schemeClr val="tx2"/>
            </a:solidFill>
            <a:prstDash val="solid"/>
            <a:miter/>
          </a:ln>
        </p:spPr>
        <p:txBody>
          <a:bodyPr rtlCol="0" anchor="ctr"/>
          <a:lstStyle/>
          <a:p>
            <a:pPr algn="ctr"/>
            <a:endParaRPr lang="en-GB"/>
          </a:p>
        </p:txBody>
      </p:sp>
      <p:sp>
        <p:nvSpPr>
          <p:cNvPr id="6" name="Graphic 18">
            <a:extLst>
              <a:ext uri="{FF2B5EF4-FFF2-40B4-BE49-F238E27FC236}">
                <a16:creationId xmlns:a16="http://schemas.microsoft.com/office/drawing/2014/main" id="{66C70590-1AC4-5CAA-3863-C89209F2CBF9}"/>
              </a:ext>
            </a:extLst>
          </p:cNvPr>
          <p:cNvSpPr/>
          <p:nvPr/>
        </p:nvSpPr>
        <p:spPr>
          <a:xfrm>
            <a:off x="9292630" y="1006847"/>
            <a:ext cx="1818641" cy="2100106"/>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a:blip r:embed="rId5">
              <a:extLst>
                <a:ext uri="{BEBA8EAE-BF5A-486C-A8C5-ECC9F3942E4B}">
                  <a14:imgProps xmlns:a14="http://schemas.microsoft.com/office/drawing/2010/main">
                    <a14:imgLayer r:embed="rId6">
                      <a14:imgEffect>
                        <a14:brightnessContrast bright="20000"/>
                      </a14:imgEffect>
                    </a14:imgLayer>
                  </a14:imgProps>
                </a:ext>
              </a:extLst>
            </a:blip>
            <a:stretch>
              <a:fillRect l="-1333" t="-18960" r="-947" b="-21780"/>
            </a:stretch>
          </a:blipFill>
          <a:ln w="38100" cap="flat">
            <a:solidFill>
              <a:schemeClr val="tx2"/>
            </a:solidFill>
            <a:prstDash val="solid"/>
            <a:miter/>
          </a:ln>
        </p:spPr>
        <p:txBody>
          <a:bodyPr rtlCol="0" anchor="ctr"/>
          <a:lstStyle/>
          <a:p>
            <a:pPr algn="ctr"/>
            <a:endParaRPr lang="en-GB"/>
          </a:p>
        </p:txBody>
      </p:sp>
      <p:sp>
        <p:nvSpPr>
          <p:cNvPr id="2" name="Title 1">
            <a:extLst>
              <a:ext uri="{FF2B5EF4-FFF2-40B4-BE49-F238E27FC236}">
                <a16:creationId xmlns:a16="http://schemas.microsoft.com/office/drawing/2014/main" id="{B47CE321-44A0-FF6B-E6F5-CEAE734F869C}"/>
              </a:ext>
            </a:extLst>
          </p:cNvPr>
          <p:cNvSpPr>
            <a:spLocks noGrp="1"/>
          </p:cNvSpPr>
          <p:nvPr>
            <p:ph type="title"/>
          </p:nvPr>
        </p:nvSpPr>
        <p:spPr/>
        <p:txBody>
          <a:bodyPr>
            <a:noAutofit/>
          </a:bodyPr>
          <a:lstStyle/>
          <a:p>
            <a:r>
              <a:rPr lang="en-GB" sz="3600" b="1" dirty="0">
                <a:solidFill>
                  <a:srgbClr val="002060"/>
                </a:solidFill>
                <a:latin typeface="Roboto Condensed"/>
                <a:ea typeface="Roboto Condensed"/>
                <a:cs typeface="Roboto Condensed"/>
              </a:rPr>
              <a:t>Jewson South West</a:t>
            </a:r>
          </a:p>
        </p:txBody>
      </p:sp>
      <p:sp>
        <p:nvSpPr>
          <p:cNvPr id="27" name="Graphic 18">
            <a:extLst>
              <a:ext uri="{FF2B5EF4-FFF2-40B4-BE49-F238E27FC236}">
                <a16:creationId xmlns:a16="http://schemas.microsoft.com/office/drawing/2014/main" id="{1070FFD0-C711-0F38-EBE2-799AE5088A7F}"/>
              </a:ext>
            </a:extLst>
          </p:cNvPr>
          <p:cNvSpPr/>
          <p:nvPr/>
        </p:nvSpPr>
        <p:spPr>
          <a:xfrm>
            <a:off x="3782285" y="1009988"/>
            <a:ext cx="1818641" cy="2100106"/>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a:blip r:embed="rId7"/>
            <a:stretch>
              <a:fillRect l="-9131" t="-8413" r="-7171" b="-8413"/>
            </a:stretch>
          </a:blipFill>
          <a:ln w="38100" cap="flat">
            <a:solidFill>
              <a:schemeClr val="tx2"/>
            </a:solidFill>
            <a:prstDash val="solid"/>
            <a:miter/>
          </a:ln>
        </p:spPr>
        <p:txBody>
          <a:bodyPr rtlCol="0" anchor="ctr"/>
          <a:lstStyle/>
          <a:p>
            <a:pPr algn="ctr"/>
            <a:endParaRPr lang="en-GB"/>
          </a:p>
        </p:txBody>
      </p:sp>
      <p:sp>
        <p:nvSpPr>
          <p:cNvPr id="31" name="Graphic 18">
            <a:extLst>
              <a:ext uri="{FF2B5EF4-FFF2-40B4-BE49-F238E27FC236}">
                <a16:creationId xmlns:a16="http://schemas.microsoft.com/office/drawing/2014/main" id="{920C1A89-AC7A-E14C-133C-AE2357C12525}"/>
              </a:ext>
            </a:extLst>
          </p:cNvPr>
          <p:cNvSpPr/>
          <p:nvPr/>
        </p:nvSpPr>
        <p:spPr>
          <a:xfrm>
            <a:off x="1027112" y="1009988"/>
            <a:ext cx="1818641" cy="2100106"/>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a:blip r:embed="rId8"/>
            <a:stretch>
              <a:fillRect l="-33326" t="-24911" r="-30780" b="-67054"/>
            </a:stretch>
          </a:blipFill>
          <a:ln w="38100" cap="flat">
            <a:solidFill>
              <a:schemeClr val="tx2"/>
            </a:solidFill>
            <a:prstDash val="solid"/>
            <a:miter/>
          </a:ln>
        </p:spPr>
        <p:txBody>
          <a:bodyPr rtlCol="0" anchor="ctr"/>
          <a:lstStyle/>
          <a:p>
            <a:pPr algn="ctr"/>
            <a:endParaRPr lang="en-GB"/>
          </a:p>
        </p:txBody>
      </p:sp>
      <p:sp>
        <p:nvSpPr>
          <p:cNvPr id="35" name="TextBox 34">
            <a:extLst>
              <a:ext uri="{FF2B5EF4-FFF2-40B4-BE49-F238E27FC236}">
                <a16:creationId xmlns:a16="http://schemas.microsoft.com/office/drawing/2014/main" id="{409C66B0-CFAD-6E33-2409-921D93E1B2BF}"/>
              </a:ext>
            </a:extLst>
          </p:cNvPr>
          <p:cNvSpPr txBox="1"/>
          <p:nvPr/>
        </p:nvSpPr>
        <p:spPr>
          <a:xfrm>
            <a:off x="8709700" y="3193365"/>
            <a:ext cx="2984500" cy="5648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oAutofit/>
          </a:bodyPr>
          <a:lstStyle>
            <a:defPPr>
              <a:defRPr lang="en-US"/>
            </a:defPPr>
            <a:lvl1pPr marR="0" lvl="0" indent="0" algn="ctr" fontAlgn="auto">
              <a:spcBef>
                <a:spcPts val="0"/>
              </a:spcBef>
              <a:spcAft>
                <a:spcPts val="0"/>
              </a:spcAft>
              <a:buClrTx/>
              <a:buSzTx/>
              <a:buFontTx/>
              <a:buNone/>
              <a:tabLst/>
              <a:defRPr kumimoji="0" sz="1600" b="1" i="0" u="none" strike="noStrike" cap="none" spc="0" normalizeH="0" baseline="0">
                <a:ln>
                  <a:noFill/>
                </a:ln>
                <a:effectLst/>
                <a:uLnTx/>
                <a:uFillTx/>
                <a:latin typeface="Roboto"/>
                <a:ea typeface="Roboto"/>
                <a:cs typeface="Roboto"/>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GB" sz="1600" b="1">
                <a:solidFill>
                  <a:schemeClr val="tx2"/>
                </a:solidFill>
                <a:latin typeface="Roboto"/>
                <a:ea typeface="Roboto"/>
              </a:rPr>
              <a:t>Lee Thomas</a:t>
            </a:r>
          </a:p>
          <a:p>
            <a:r>
              <a:rPr lang="en-GB" b="0">
                <a:solidFill>
                  <a:schemeClr val="tx2"/>
                </a:solidFill>
                <a:latin typeface="+mj-lt"/>
                <a:cs typeface="+mn-cs"/>
              </a:rPr>
              <a:t>RD - Hampshire, </a:t>
            </a:r>
            <a:br>
              <a:rPr lang="en-GB" b="0">
                <a:solidFill>
                  <a:schemeClr val="tx2"/>
                </a:solidFill>
                <a:latin typeface="+mj-lt"/>
                <a:cs typeface="+mn-cs"/>
              </a:rPr>
            </a:br>
            <a:r>
              <a:rPr lang="en-GB" b="0">
                <a:solidFill>
                  <a:schemeClr val="tx2"/>
                </a:solidFill>
                <a:latin typeface="+mj-lt"/>
                <a:cs typeface="+mn-cs"/>
              </a:rPr>
              <a:t>IOW &amp; Dorset</a:t>
            </a:r>
          </a:p>
        </p:txBody>
      </p:sp>
      <p:sp>
        <p:nvSpPr>
          <p:cNvPr id="36" name="TextBox 35">
            <a:extLst>
              <a:ext uri="{FF2B5EF4-FFF2-40B4-BE49-F238E27FC236}">
                <a16:creationId xmlns:a16="http://schemas.microsoft.com/office/drawing/2014/main" id="{48B5F2E2-D083-DD57-D823-87C6D8891CB2}"/>
              </a:ext>
            </a:extLst>
          </p:cNvPr>
          <p:cNvSpPr txBox="1"/>
          <p:nvPr/>
        </p:nvSpPr>
        <p:spPr>
          <a:xfrm>
            <a:off x="5954528" y="3193365"/>
            <a:ext cx="2984500" cy="5648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oAutofit/>
          </a:bodyPr>
          <a:lstStyle>
            <a:defPPr>
              <a:defRPr lang="en-US"/>
            </a:defPPr>
            <a:lvl1pPr marR="0" lvl="0" indent="0" algn="ctr" fontAlgn="auto">
              <a:spcBef>
                <a:spcPts val="0"/>
              </a:spcBef>
              <a:spcAft>
                <a:spcPts val="0"/>
              </a:spcAft>
              <a:buClrTx/>
              <a:buSzTx/>
              <a:buFontTx/>
              <a:buNone/>
              <a:tabLst/>
              <a:defRPr kumimoji="0" sz="1600" b="1" i="0" u="none" strike="noStrike" cap="none" spc="0" normalizeH="0" baseline="0">
                <a:ln>
                  <a:noFill/>
                </a:ln>
                <a:effectLst/>
                <a:uLnTx/>
                <a:uFillTx/>
                <a:latin typeface="Roboto"/>
                <a:ea typeface="Roboto"/>
                <a:cs typeface="Roboto"/>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GB" sz="1600" b="1">
                <a:solidFill>
                  <a:schemeClr val="tx2"/>
                </a:solidFill>
                <a:latin typeface="Roboto"/>
                <a:ea typeface="Roboto"/>
              </a:rPr>
              <a:t>James Smith</a:t>
            </a:r>
          </a:p>
          <a:p>
            <a:r>
              <a:rPr lang="en-GB" b="0">
                <a:solidFill>
                  <a:schemeClr val="tx2"/>
                </a:solidFill>
                <a:latin typeface="+mj-lt"/>
                <a:cs typeface="+mn-cs"/>
              </a:rPr>
              <a:t>RD - Bristol, </a:t>
            </a:r>
            <a:br>
              <a:rPr lang="en-GB" b="0">
                <a:solidFill>
                  <a:schemeClr val="tx2"/>
                </a:solidFill>
                <a:latin typeface="+mj-lt"/>
                <a:cs typeface="+mn-cs"/>
              </a:rPr>
            </a:br>
            <a:r>
              <a:rPr lang="en-GB" b="0">
                <a:solidFill>
                  <a:schemeClr val="tx2"/>
                </a:solidFill>
                <a:latin typeface="+mj-lt"/>
                <a:cs typeface="+mn-cs"/>
              </a:rPr>
              <a:t>Gloucester &amp; </a:t>
            </a:r>
            <a:br>
              <a:rPr lang="en-GB" b="0">
                <a:solidFill>
                  <a:schemeClr val="tx2"/>
                </a:solidFill>
                <a:latin typeface="+mj-lt"/>
                <a:cs typeface="+mn-cs"/>
              </a:rPr>
            </a:br>
            <a:r>
              <a:rPr lang="en-GB" b="0">
                <a:solidFill>
                  <a:schemeClr val="tx2"/>
                </a:solidFill>
                <a:latin typeface="+mj-lt"/>
                <a:cs typeface="+mn-cs"/>
              </a:rPr>
              <a:t>Wiltshire</a:t>
            </a:r>
          </a:p>
        </p:txBody>
      </p:sp>
      <p:sp>
        <p:nvSpPr>
          <p:cNvPr id="37" name="TextBox 36">
            <a:extLst>
              <a:ext uri="{FF2B5EF4-FFF2-40B4-BE49-F238E27FC236}">
                <a16:creationId xmlns:a16="http://schemas.microsoft.com/office/drawing/2014/main" id="{E081DDA1-09FA-1363-DFAF-D96D7FED39DE}"/>
              </a:ext>
            </a:extLst>
          </p:cNvPr>
          <p:cNvSpPr txBox="1"/>
          <p:nvPr/>
        </p:nvSpPr>
        <p:spPr>
          <a:xfrm>
            <a:off x="3199355" y="3193365"/>
            <a:ext cx="2984500" cy="5648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oAutofit/>
          </a:bodyPr>
          <a:lstStyle>
            <a:defPPr>
              <a:defRPr lang="en-US"/>
            </a:defPPr>
            <a:lvl1pPr marR="0" lvl="0" indent="0" algn="ctr" fontAlgn="auto">
              <a:spcBef>
                <a:spcPts val="0"/>
              </a:spcBef>
              <a:spcAft>
                <a:spcPts val="0"/>
              </a:spcAft>
              <a:buClrTx/>
              <a:buSzTx/>
              <a:buFontTx/>
              <a:buNone/>
              <a:tabLst/>
              <a:defRPr kumimoji="0" sz="1600" b="1" i="0" u="none" strike="noStrike" cap="none" spc="0" normalizeH="0" baseline="0">
                <a:ln>
                  <a:noFill/>
                </a:ln>
                <a:effectLst/>
                <a:uLnTx/>
                <a:uFillTx/>
                <a:latin typeface="Roboto"/>
                <a:ea typeface="Roboto"/>
                <a:cs typeface="Roboto"/>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GB">
                <a:solidFill>
                  <a:schemeClr val="tx2"/>
                </a:solidFill>
              </a:rPr>
              <a:t>Gary King</a:t>
            </a:r>
            <a:endParaRPr lang="en-GB" sz="1600" b="1">
              <a:solidFill>
                <a:schemeClr val="tx2"/>
              </a:solidFill>
              <a:latin typeface="Roboto"/>
              <a:ea typeface="Roboto"/>
            </a:endParaRPr>
          </a:p>
          <a:p>
            <a:r>
              <a:rPr lang="en-GB" b="0">
                <a:solidFill>
                  <a:schemeClr val="tx2"/>
                </a:solidFill>
                <a:latin typeface="+mj-lt"/>
                <a:cs typeface="+mn-cs"/>
              </a:rPr>
              <a:t>RD - Devon </a:t>
            </a:r>
            <a:br>
              <a:rPr lang="en-GB" b="0">
                <a:solidFill>
                  <a:schemeClr val="tx2"/>
                </a:solidFill>
                <a:latin typeface="+mj-lt"/>
                <a:cs typeface="+mn-cs"/>
              </a:rPr>
            </a:br>
            <a:r>
              <a:rPr lang="en-GB" b="0">
                <a:solidFill>
                  <a:schemeClr val="tx2"/>
                </a:solidFill>
                <a:latin typeface="+mj-lt"/>
                <a:cs typeface="+mn-cs"/>
              </a:rPr>
              <a:t>&amp; Somerset</a:t>
            </a:r>
          </a:p>
        </p:txBody>
      </p:sp>
      <p:sp>
        <p:nvSpPr>
          <p:cNvPr id="38" name="Rectangle 37">
            <a:extLst>
              <a:ext uri="{FF2B5EF4-FFF2-40B4-BE49-F238E27FC236}">
                <a16:creationId xmlns:a16="http://schemas.microsoft.com/office/drawing/2014/main" id="{C6749F5B-CA5D-23F6-30F6-D613E048FDA8}"/>
              </a:ext>
            </a:extLst>
          </p:cNvPr>
          <p:cNvSpPr/>
          <p:nvPr/>
        </p:nvSpPr>
        <p:spPr>
          <a:xfrm>
            <a:off x="444182" y="3193365"/>
            <a:ext cx="2984500" cy="5648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oAutofit/>
          </a:bodyPr>
          <a:lstStyle/>
          <a:p>
            <a:pPr algn="ctr"/>
            <a:r>
              <a:rPr lang="en-GB" sz="1600" b="1">
                <a:solidFill>
                  <a:schemeClr val="tx2"/>
                </a:solidFill>
                <a:latin typeface="Roboto"/>
                <a:ea typeface="Roboto"/>
              </a:rPr>
              <a:t>Gareth May</a:t>
            </a:r>
          </a:p>
          <a:p>
            <a:pPr algn="ctr"/>
            <a:r>
              <a:rPr lang="en-GB" sz="1600">
                <a:solidFill>
                  <a:schemeClr val="tx2"/>
                </a:solidFill>
                <a:latin typeface="+mj-lt"/>
                <a:ea typeface="Roboto"/>
              </a:rPr>
              <a:t>RD - Cornwall </a:t>
            </a:r>
            <a:br>
              <a:rPr lang="en-GB" sz="1600">
                <a:solidFill>
                  <a:schemeClr val="tx2"/>
                </a:solidFill>
                <a:latin typeface="+mj-lt"/>
                <a:ea typeface="Roboto"/>
              </a:rPr>
            </a:br>
            <a:r>
              <a:rPr lang="en-GB" sz="1600">
                <a:solidFill>
                  <a:schemeClr val="tx2"/>
                </a:solidFill>
                <a:latin typeface="+mj-lt"/>
                <a:ea typeface="Roboto"/>
              </a:rPr>
              <a:t>&amp; South Devon</a:t>
            </a:r>
          </a:p>
          <a:p>
            <a:pPr algn="ctr"/>
            <a:endParaRPr lang="en-GB" sz="1600" b="1">
              <a:solidFill>
                <a:schemeClr val="tx2"/>
              </a:solidFill>
              <a:latin typeface="Roboto"/>
              <a:ea typeface="Roboto"/>
            </a:endParaRPr>
          </a:p>
        </p:txBody>
      </p:sp>
      <p:sp>
        <p:nvSpPr>
          <p:cNvPr id="41" name="Graphic 18">
            <a:extLst>
              <a:ext uri="{FF2B5EF4-FFF2-40B4-BE49-F238E27FC236}">
                <a16:creationId xmlns:a16="http://schemas.microsoft.com/office/drawing/2014/main" id="{91357DFF-9BE9-638D-B3D9-A126460DD6AC}"/>
              </a:ext>
            </a:extLst>
          </p:cNvPr>
          <p:cNvSpPr/>
          <p:nvPr/>
        </p:nvSpPr>
        <p:spPr>
          <a:xfrm>
            <a:off x="2391173" y="3751668"/>
            <a:ext cx="1818641" cy="2100106"/>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a:blip r:embed="rId9"/>
            <a:stretch>
              <a:fillRect l="-1333" t="-2528" r="-947" b="-21780"/>
            </a:stretch>
          </a:blipFill>
          <a:ln w="38100" cap="flat">
            <a:solidFill>
              <a:schemeClr val="tx2"/>
            </a:solidFill>
            <a:prstDash val="solid"/>
            <a:miter/>
          </a:ln>
        </p:spPr>
        <p:txBody>
          <a:bodyPr rtlCol="0" anchor="ctr"/>
          <a:lstStyle/>
          <a:p>
            <a:pPr algn="ctr"/>
            <a:endParaRPr lang="en-GB"/>
          </a:p>
        </p:txBody>
      </p:sp>
      <p:sp>
        <p:nvSpPr>
          <p:cNvPr id="42" name="Graphic 18">
            <a:extLst>
              <a:ext uri="{FF2B5EF4-FFF2-40B4-BE49-F238E27FC236}">
                <a16:creationId xmlns:a16="http://schemas.microsoft.com/office/drawing/2014/main" id="{F1E177B8-C3C7-76E8-7D97-9072B1E3D228}"/>
              </a:ext>
            </a:extLst>
          </p:cNvPr>
          <p:cNvSpPr/>
          <p:nvPr/>
        </p:nvSpPr>
        <p:spPr>
          <a:xfrm>
            <a:off x="7894204" y="3735549"/>
            <a:ext cx="1818641" cy="2100106"/>
          </a:xfrm>
          <a:custGeom>
            <a:avLst/>
            <a:gdLst>
              <a:gd name="connsiteX0" fmla="*/ 2273301 w 2273301"/>
              <a:gd name="connsiteY0" fmla="*/ 1968783 h 2625133"/>
              <a:gd name="connsiteX1" fmla="*/ 2273301 w 2273301"/>
              <a:gd name="connsiteY1" fmla="*/ 656350 h 2625133"/>
              <a:gd name="connsiteX2" fmla="*/ 1136784 w 2273301"/>
              <a:gd name="connsiteY2" fmla="*/ 0 h 2625133"/>
              <a:gd name="connsiteX3" fmla="*/ 0 w 2273301"/>
              <a:gd name="connsiteY3" fmla="*/ 656350 h 2625133"/>
              <a:gd name="connsiteX4" fmla="*/ 0 w 2273301"/>
              <a:gd name="connsiteY4" fmla="*/ 1968783 h 2625133"/>
              <a:gd name="connsiteX5" fmla="*/ 1136784 w 2273301"/>
              <a:gd name="connsiteY5" fmla="*/ 2625134 h 2625133"/>
              <a:gd name="connsiteX6" fmla="*/ 2273301 w 2273301"/>
              <a:gd name="connsiteY6" fmla="*/ 1968783 h 26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301" h="2625133">
                <a:moveTo>
                  <a:pt x="2273301" y="1968783"/>
                </a:moveTo>
                <a:lnTo>
                  <a:pt x="2273301" y="656350"/>
                </a:lnTo>
                <a:lnTo>
                  <a:pt x="1136784" y="0"/>
                </a:lnTo>
                <a:lnTo>
                  <a:pt x="0" y="656350"/>
                </a:lnTo>
                <a:lnTo>
                  <a:pt x="0" y="1968783"/>
                </a:lnTo>
                <a:lnTo>
                  <a:pt x="1136784" y="2625134"/>
                </a:lnTo>
                <a:lnTo>
                  <a:pt x="2273301" y="1968783"/>
                </a:lnTo>
                <a:close/>
              </a:path>
            </a:pathLst>
          </a:custGeom>
          <a:blipFill>
            <a:blip r:embed="rId10">
              <a:extLst>
                <a:ext uri="{BEBA8EAE-BF5A-486C-A8C5-ECC9F3942E4B}">
                  <a14:imgProps xmlns:a14="http://schemas.microsoft.com/office/drawing/2010/main">
                    <a14:imgLayer r:embed="rId11">
                      <a14:imgEffect>
                        <a14:brightnessContrast bright="20000" contrast="40000"/>
                      </a14:imgEffect>
                    </a14:imgLayer>
                  </a14:imgProps>
                </a:ext>
              </a:extLst>
            </a:blip>
            <a:stretch>
              <a:fillRect l="-1333" t="-2528" r="-947" b="-21780"/>
            </a:stretch>
          </a:blipFill>
          <a:ln w="38100" cap="flat">
            <a:solidFill>
              <a:schemeClr val="tx2"/>
            </a:solidFill>
            <a:prstDash val="solid"/>
            <a:miter/>
          </a:ln>
        </p:spPr>
        <p:txBody>
          <a:bodyPr rtlCol="0" anchor="ctr"/>
          <a:lstStyle/>
          <a:p>
            <a:pPr algn="ctr"/>
            <a:endParaRPr lang="en-GB"/>
          </a:p>
        </p:txBody>
      </p:sp>
      <p:sp>
        <p:nvSpPr>
          <p:cNvPr id="43" name="TextBox 42">
            <a:extLst>
              <a:ext uri="{FF2B5EF4-FFF2-40B4-BE49-F238E27FC236}">
                <a16:creationId xmlns:a16="http://schemas.microsoft.com/office/drawing/2014/main" id="{C9C5004F-5F7E-507D-C363-B138680BD985}"/>
              </a:ext>
            </a:extLst>
          </p:cNvPr>
          <p:cNvSpPr txBox="1"/>
          <p:nvPr/>
        </p:nvSpPr>
        <p:spPr>
          <a:xfrm>
            <a:off x="7180190" y="5754141"/>
            <a:ext cx="3246668"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defPPr>
              <a:defRPr lang="en-US"/>
            </a:defPPr>
            <a:lvl1pPr marR="0" lvl="0" indent="0" algn="ctr" fontAlgn="auto">
              <a:spcBef>
                <a:spcPts val="0"/>
              </a:spcBef>
              <a:spcAft>
                <a:spcPts val="0"/>
              </a:spcAft>
              <a:buClrTx/>
              <a:buSzTx/>
              <a:buFontTx/>
              <a:buNone/>
              <a:tabLst/>
              <a:defRPr kumimoji="0" sz="1600" b="1" i="0" u="none" strike="noStrike" cap="none" spc="0" normalizeH="0" baseline="0">
                <a:ln>
                  <a:noFill/>
                </a:ln>
                <a:effectLst/>
                <a:uLnTx/>
                <a:uFillTx/>
                <a:latin typeface="Roboto"/>
                <a:ea typeface="Roboto"/>
                <a:cs typeface="Roboto"/>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GB" sz="1600" b="1">
                <a:solidFill>
                  <a:schemeClr val="tx2"/>
                </a:solidFill>
                <a:latin typeface="Roboto"/>
                <a:ea typeface="Roboto"/>
              </a:rPr>
              <a:t>Steve Moss</a:t>
            </a:r>
          </a:p>
          <a:p>
            <a:r>
              <a:rPr lang="en-GB" b="0">
                <a:solidFill>
                  <a:schemeClr val="tx2"/>
                </a:solidFill>
                <a:latin typeface="+mj-lt"/>
                <a:cs typeface="+mn-cs"/>
              </a:rPr>
              <a:t>Regional Sales Manager</a:t>
            </a:r>
          </a:p>
          <a:p>
            <a:pPr algn="ctr"/>
            <a:endParaRPr lang="en-GB" sz="1600">
              <a:solidFill>
                <a:schemeClr val="tx2"/>
              </a:solidFill>
              <a:latin typeface="Roboto"/>
              <a:ea typeface="Roboto"/>
            </a:endParaRPr>
          </a:p>
        </p:txBody>
      </p:sp>
      <p:sp>
        <p:nvSpPr>
          <p:cNvPr id="46" name="Rectangle 45">
            <a:extLst>
              <a:ext uri="{FF2B5EF4-FFF2-40B4-BE49-F238E27FC236}">
                <a16:creationId xmlns:a16="http://schemas.microsoft.com/office/drawing/2014/main" id="{306E2875-CACD-B0AA-E98C-46D13A5C1892}"/>
              </a:ext>
            </a:extLst>
          </p:cNvPr>
          <p:cNvSpPr/>
          <p:nvPr/>
        </p:nvSpPr>
        <p:spPr>
          <a:xfrm>
            <a:off x="1773971" y="5835657"/>
            <a:ext cx="2984500" cy="5648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r>
              <a:rPr lang="en-GB" sz="1600" b="1">
                <a:solidFill>
                  <a:schemeClr val="tx2"/>
                </a:solidFill>
                <a:latin typeface="Roboto"/>
                <a:ea typeface="Roboto"/>
              </a:rPr>
              <a:t>Darren Kirwan</a:t>
            </a:r>
          </a:p>
          <a:p>
            <a:pPr algn="ctr"/>
            <a:r>
              <a:rPr lang="en-GB" sz="1600">
                <a:solidFill>
                  <a:schemeClr val="tx2"/>
                </a:solidFill>
                <a:latin typeface="+mj-lt"/>
                <a:ea typeface="Roboto"/>
              </a:rPr>
              <a:t>Regional Sales Manager</a:t>
            </a:r>
          </a:p>
          <a:p>
            <a:pPr algn="ctr"/>
            <a:endParaRPr lang="en-GB" sz="1600" b="1">
              <a:solidFill>
                <a:schemeClr val="tx2"/>
              </a:solidFill>
              <a:latin typeface="Roboto"/>
              <a:ea typeface="Roboto"/>
            </a:endParaRPr>
          </a:p>
        </p:txBody>
      </p:sp>
    </p:spTree>
    <p:extLst>
      <p:ext uri="{BB962C8B-B14F-4D97-AF65-F5344CB8AC3E}">
        <p14:creationId xmlns:p14="http://schemas.microsoft.com/office/powerpoint/2010/main" val="149704779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8D81852D-96BC-4AE7-61E9-51D981E258B2}"/>
              </a:ext>
            </a:extLst>
          </p:cNvPr>
          <p:cNvGrpSpPr>
            <a:grpSpLocks noChangeAspect="1"/>
          </p:cNvGrpSpPr>
          <p:nvPr/>
        </p:nvGrpSpPr>
        <p:grpSpPr>
          <a:xfrm>
            <a:off x="6324430" y="1552966"/>
            <a:ext cx="3579068" cy="3420000"/>
            <a:chOff x="6483669" y="1654617"/>
            <a:chExt cx="4106504" cy="3924000"/>
          </a:xfrm>
        </p:grpSpPr>
        <p:grpSp>
          <p:nvGrpSpPr>
            <p:cNvPr id="28" name="Group 27">
              <a:extLst>
                <a:ext uri="{FF2B5EF4-FFF2-40B4-BE49-F238E27FC236}">
                  <a16:creationId xmlns:a16="http://schemas.microsoft.com/office/drawing/2014/main" id="{C4BF4EE1-2F75-2410-E180-759FEF348075}"/>
                </a:ext>
              </a:extLst>
            </p:cNvPr>
            <p:cNvGrpSpPr>
              <a:grpSpLocks noChangeAspect="1"/>
            </p:cNvGrpSpPr>
            <p:nvPr/>
          </p:nvGrpSpPr>
          <p:grpSpPr>
            <a:xfrm>
              <a:off x="7834757" y="2768196"/>
              <a:ext cx="1429689" cy="2232000"/>
              <a:chOff x="5298778" y="174984"/>
              <a:chExt cx="2916691" cy="4553451"/>
            </a:xfrm>
          </p:grpSpPr>
          <p:pic>
            <p:nvPicPr>
              <p:cNvPr id="24" name="Picture 23" descr="A person wearing a yellow hard hat and reflective vest&#10;&#10;Description automatically generated">
                <a:extLst>
                  <a:ext uri="{FF2B5EF4-FFF2-40B4-BE49-F238E27FC236}">
                    <a16:creationId xmlns:a16="http://schemas.microsoft.com/office/drawing/2014/main" id="{17596D98-8CAE-085F-E628-1843A2F78B1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98778" y="174984"/>
                <a:ext cx="2916691" cy="4553451"/>
              </a:xfrm>
              <a:prstGeom prst="rect">
                <a:avLst/>
              </a:prstGeom>
            </p:spPr>
          </p:pic>
          <p:pic>
            <p:nvPicPr>
              <p:cNvPr id="26" name="Picture 25" descr="A blue text on a black background&#10;&#10;Description automatically generated">
                <a:extLst>
                  <a:ext uri="{FF2B5EF4-FFF2-40B4-BE49-F238E27FC236}">
                    <a16:creationId xmlns:a16="http://schemas.microsoft.com/office/drawing/2014/main" id="{9889F9E3-498D-5312-5341-E087F11CB4A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47862" y="2232008"/>
                <a:ext cx="417404" cy="108000"/>
              </a:xfrm>
              <a:prstGeom prst="rect">
                <a:avLst/>
              </a:prstGeom>
            </p:spPr>
          </p:pic>
          <p:pic>
            <p:nvPicPr>
              <p:cNvPr id="27" name="Picture 26" descr="A blue text on a black background&#10;&#10;Description automatically generated">
                <a:extLst>
                  <a:ext uri="{FF2B5EF4-FFF2-40B4-BE49-F238E27FC236}">
                    <a16:creationId xmlns:a16="http://schemas.microsoft.com/office/drawing/2014/main" id="{F6DE85BC-6C56-B838-00E5-F0E669E5953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60000">
                <a:off x="6585114" y="714709"/>
                <a:ext cx="556541" cy="144000"/>
              </a:xfrm>
              <a:prstGeom prst="rect">
                <a:avLst/>
              </a:prstGeom>
            </p:spPr>
          </p:pic>
        </p:grpSp>
        <p:sp>
          <p:nvSpPr>
            <p:cNvPr id="31" name="Freeform: Shape 30">
              <a:extLst>
                <a:ext uri="{FF2B5EF4-FFF2-40B4-BE49-F238E27FC236}">
                  <a16:creationId xmlns:a16="http://schemas.microsoft.com/office/drawing/2014/main" id="{0EDB2D1E-5D5C-0D6F-F83B-C3CEFD578849}"/>
                </a:ext>
              </a:extLst>
            </p:cNvPr>
            <p:cNvSpPr/>
            <p:nvPr/>
          </p:nvSpPr>
          <p:spPr>
            <a:xfrm rot="18855304">
              <a:off x="7975936" y="1848879"/>
              <a:ext cx="1250591" cy="1391325"/>
            </a:xfrm>
            <a:custGeom>
              <a:avLst/>
              <a:gdLst>
                <a:gd name="connsiteX0" fmla="*/ 1596239 w 1681691"/>
                <a:gd name="connsiteY0" fmla="*/ 1345842 h 1870936"/>
                <a:gd name="connsiteX1" fmla="*/ 1628291 w 1681691"/>
                <a:gd name="connsiteY1" fmla="*/ 1441451 h 1870936"/>
                <a:gd name="connsiteX2" fmla="*/ 1672136 w 1681691"/>
                <a:gd name="connsiteY2" fmla="*/ 1631729 h 1870936"/>
                <a:gd name="connsiteX3" fmla="*/ 1681691 w 1681691"/>
                <a:gd name="connsiteY3" fmla="*/ 1704636 h 1870936"/>
                <a:gd name="connsiteX4" fmla="*/ 1621573 w 1681691"/>
                <a:gd name="connsiteY4" fmla="*/ 1765226 h 1870936"/>
                <a:gd name="connsiteX5" fmla="*/ 1465405 w 1681691"/>
                <a:gd name="connsiteY5" fmla="*/ 1850055 h 1870936"/>
                <a:gd name="connsiteX6" fmla="*/ 1203590 w 1681691"/>
                <a:gd name="connsiteY6" fmla="*/ 1853289 h 1870936"/>
                <a:gd name="connsiteX7" fmla="*/ 1167395 w 1681691"/>
                <a:gd name="connsiteY7" fmla="*/ 1839132 h 1870936"/>
                <a:gd name="connsiteX8" fmla="*/ 1152545 w 1681691"/>
                <a:gd name="connsiteY8" fmla="*/ 1725824 h 1870936"/>
                <a:gd name="connsiteX9" fmla="*/ 1120138 w 1681691"/>
                <a:gd name="connsiteY9" fmla="*/ 1585182 h 1870936"/>
                <a:gd name="connsiteX10" fmla="*/ 1092609 w 1681691"/>
                <a:gd name="connsiteY10" fmla="*/ 1503069 h 1870936"/>
                <a:gd name="connsiteX11" fmla="*/ 1129988 w 1681691"/>
                <a:gd name="connsiteY11" fmla="*/ 579961 h 1870936"/>
                <a:gd name="connsiteX12" fmla="*/ 1565866 w 1681691"/>
                <a:gd name="connsiteY12" fmla="*/ 1255247 h 1870936"/>
                <a:gd name="connsiteX13" fmla="*/ 1596238 w 1681691"/>
                <a:gd name="connsiteY13" fmla="*/ 1345842 h 1870936"/>
                <a:gd name="connsiteX14" fmla="*/ 1092608 w 1681691"/>
                <a:gd name="connsiteY14" fmla="*/ 1503069 h 1870936"/>
                <a:gd name="connsiteX15" fmla="*/ 1073996 w 1681691"/>
                <a:gd name="connsiteY15" fmla="*/ 1447552 h 1870936"/>
                <a:gd name="connsiteX16" fmla="*/ 751821 w 1681691"/>
                <a:gd name="connsiteY16" fmla="*/ 948420 h 1870936"/>
                <a:gd name="connsiteX17" fmla="*/ 124851 w 1681691"/>
                <a:gd name="connsiteY17" fmla="*/ 563673 h 1870936"/>
                <a:gd name="connsiteX18" fmla="*/ 0 w 1681691"/>
                <a:gd name="connsiteY18" fmla="*/ 531464 h 1870936"/>
                <a:gd name="connsiteX19" fmla="*/ 33210 w 1681691"/>
                <a:gd name="connsiteY19" fmla="*/ 487126 h 1870936"/>
                <a:gd name="connsiteX20" fmla="*/ 99937 w 1681691"/>
                <a:gd name="connsiteY20" fmla="*/ 233936 h 1870936"/>
                <a:gd name="connsiteX21" fmla="*/ 59843 w 1681691"/>
                <a:gd name="connsiteY21" fmla="*/ 60799 h 1870936"/>
                <a:gd name="connsiteX22" fmla="*/ 25090 w 1681691"/>
                <a:gd name="connsiteY22" fmla="*/ 0 h 1870936"/>
                <a:gd name="connsiteX23" fmla="*/ 92671 w 1681691"/>
                <a:gd name="connsiteY23" fmla="*/ 10651 h 1870936"/>
                <a:gd name="connsiteX24" fmla="*/ 1129988 w 1681691"/>
                <a:gd name="connsiteY24" fmla="*/ 579961 h 1870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681691" h="1870936">
                  <a:moveTo>
                    <a:pt x="1596239" y="1345842"/>
                  </a:moveTo>
                  <a:lnTo>
                    <a:pt x="1628291" y="1441451"/>
                  </a:lnTo>
                  <a:cubicBezTo>
                    <a:pt x="1646002" y="1504277"/>
                    <a:pt x="1660616" y="1567783"/>
                    <a:pt x="1672136" y="1631729"/>
                  </a:cubicBezTo>
                  <a:lnTo>
                    <a:pt x="1681691" y="1704636"/>
                  </a:lnTo>
                  <a:lnTo>
                    <a:pt x="1621573" y="1765226"/>
                  </a:lnTo>
                  <a:cubicBezTo>
                    <a:pt x="1576855" y="1802446"/>
                    <a:pt x="1524280" y="1831675"/>
                    <a:pt x="1465405" y="1850055"/>
                  </a:cubicBezTo>
                  <a:cubicBezTo>
                    <a:pt x="1377092" y="1877626"/>
                    <a:pt x="1286550" y="1877056"/>
                    <a:pt x="1203590" y="1853289"/>
                  </a:cubicBezTo>
                  <a:lnTo>
                    <a:pt x="1167395" y="1839132"/>
                  </a:lnTo>
                  <a:lnTo>
                    <a:pt x="1152545" y="1725824"/>
                  </a:lnTo>
                  <a:cubicBezTo>
                    <a:pt x="1144030" y="1678560"/>
                    <a:pt x="1133228" y="1631620"/>
                    <a:pt x="1120138" y="1585182"/>
                  </a:cubicBezTo>
                  <a:lnTo>
                    <a:pt x="1092609" y="1503069"/>
                  </a:lnTo>
                  <a:close/>
                  <a:moveTo>
                    <a:pt x="1129988" y="579961"/>
                  </a:moveTo>
                  <a:cubicBezTo>
                    <a:pt x="1325011" y="780122"/>
                    <a:pt x="1470237" y="1010333"/>
                    <a:pt x="1565866" y="1255247"/>
                  </a:cubicBezTo>
                  <a:lnTo>
                    <a:pt x="1596238" y="1345842"/>
                  </a:lnTo>
                  <a:lnTo>
                    <a:pt x="1092608" y="1503069"/>
                  </a:lnTo>
                  <a:lnTo>
                    <a:pt x="1073996" y="1447552"/>
                  </a:lnTo>
                  <a:cubicBezTo>
                    <a:pt x="1003313" y="1266526"/>
                    <a:pt x="895971" y="1096367"/>
                    <a:pt x="751821" y="948420"/>
                  </a:cubicBezTo>
                  <a:cubicBezTo>
                    <a:pt x="571635" y="763486"/>
                    <a:pt x="355260" y="635141"/>
                    <a:pt x="124851" y="563673"/>
                  </a:cubicBezTo>
                  <a:lnTo>
                    <a:pt x="0" y="531464"/>
                  </a:lnTo>
                  <a:lnTo>
                    <a:pt x="33210" y="487126"/>
                  </a:lnTo>
                  <a:cubicBezTo>
                    <a:pt x="78247" y="413513"/>
                    <a:pt x="102949" y="326403"/>
                    <a:pt x="99937" y="233936"/>
                  </a:cubicBezTo>
                  <a:cubicBezTo>
                    <a:pt x="97929" y="172291"/>
                    <a:pt x="83785" y="113824"/>
                    <a:pt x="59843" y="60799"/>
                  </a:cubicBezTo>
                  <a:lnTo>
                    <a:pt x="25090" y="0"/>
                  </a:lnTo>
                  <a:lnTo>
                    <a:pt x="92671" y="10651"/>
                  </a:lnTo>
                  <a:cubicBezTo>
                    <a:pt x="474417" y="89725"/>
                    <a:pt x="837454" y="279719"/>
                    <a:pt x="1129988" y="579961"/>
                  </a:cubicBezTo>
                  <a:close/>
                </a:path>
              </a:pathLst>
            </a:custGeom>
            <a:solidFill>
              <a:srgbClr val="00326E"/>
            </a:solidFill>
            <a:ln w="6350" cap="flat" cmpd="sng" algn="ctr">
              <a:noFill/>
              <a:prstDash val="solid"/>
              <a:miter lim="800000"/>
            </a:ln>
            <a:effectLst>
              <a:outerShdw blurRad="203200" dist="127000" dir="2400000" algn="tl" rotWithShape="0">
                <a:prstClr val="black">
                  <a:alpha val="40000"/>
                </a:prstClr>
              </a:outerShdw>
            </a:effectLst>
          </p:spPr>
          <p:txBody>
            <a:bodyPr rtlCol="0" anchor="ctr"/>
            <a:lstStyle/>
            <a:p>
              <a:pPr marL="0" marR="0" lvl="0" indent="0" algn="ctr"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Roboto"/>
                <a:ea typeface="+mn-ea"/>
                <a:cs typeface="72 Condensed" panose="020B0506030000000003" pitchFamily="34" charset="0"/>
              </a:endParaRPr>
            </a:p>
          </p:txBody>
        </p:sp>
        <p:sp>
          <p:nvSpPr>
            <p:cNvPr id="32" name="Freeform: Shape 31">
              <a:extLst>
                <a:ext uri="{FF2B5EF4-FFF2-40B4-BE49-F238E27FC236}">
                  <a16:creationId xmlns:a16="http://schemas.microsoft.com/office/drawing/2014/main" id="{39026474-AC21-ABCF-257A-D8E69E076DF5}"/>
                </a:ext>
              </a:extLst>
            </p:cNvPr>
            <p:cNvSpPr/>
            <p:nvPr/>
          </p:nvSpPr>
          <p:spPr>
            <a:xfrm rot="18855304">
              <a:off x="9155100" y="2612002"/>
              <a:ext cx="1021054" cy="1571737"/>
            </a:xfrm>
            <a:custGeom>
              <a:avLst/>
              <a:gdLst>
                <a:gd name="connsiteX0" fmla="*/ 289766 w 1373028"/>
                <a:gd name="connsiteY0" fmla="*/ 1450245 h 2113539"/>
                <a:gd name="connsiteX1" fmla="*/ 545783 w 1373028"/>
                <a:gd name="connsiteY1" fmla="*/ 1917479 h 2113539"/>
                <a:gd name="connsiteX2" fmla="*/ 440612 w 1373028"/>
                <a:gd name="connsiteY2" fmla="*/ 1992712 h 2113539"/>
                <a:gd name="connsiteX3" fmla="*/ 266875 w 1373028"/>
                <a:gd name="connsiteY3" fmla="*/ 2092354 h 2113539"/>
                <a:gd name="connsiteX4" fmla="*/ 219629 w 1373028"/>
                <a:gd name="connsiteY4" fmla="*/ 2113539 h 2113539"/>
                <a:gd name="connsiteX5" fmla="*/ 170298 w 1373028"/>
                <a:gd name="connsiteY5" fmla="*/ 2081020 h 2113539"/>
                <a:gd name="connsiteX6" fmla="*/ 56317 w 1373028"/>
                <a:gd name="connsiteY6" fmla="*/ 1944667 h 2113539"/>
                <a:gd name="connsiteX7" fmla="*/ 1476 w 1373028"/>
                <a:gd name="connsiteY7" fmla="*/ 1688638 h 2113539"/>
                <a:gd name="connsiteX8" fmla="*/ 12054 w 1373028"/>
                <a:gd name="connsiteY8" fmla="*/ 1628518 h 2113539"/>
                <a:gd name="connsiteX9" fmla="*/ 27437 w 1373028"/>
                <a:gd name="connsiteY9" fmla="*/ 1621620 h 2113539"/>
                <a:gd name="connsiteX10" fmla="*/ 278066 w 1373028"/>
                <a:gd name="connsiteY10" fmla="*/ 1460547 h 2113539"/>
                <a:gd name="connsiteX11" fmla="*/ 1350388 w 1373028"/>
                <a:gd name="connsiteY11" fmla="*/ 0 h 2113539"/>
                <a:gd name="connsiteX12" fmla="*/ 1366116 w 1373028"/>
                <a:gd name="connsiteY12" fmla="*/ 120008 h 2113539"/>
                <a:gd name="connsiteX13" fmla="*/ 761474 w 1373028"/>
                <a:gd name="connsiteY13" fmla="*/ 1737500 h 2113539"/>
                <a:gd name="connsiteX14" fmla="*/ 605958 w 1373028"/>
                <a:gd name="connsiteY14" fmla="*/ 1874433 h 2113539"/>
                <a:gd name="connsiteX15" fmla="*/ 545784 w 1373028"/>
                <a:gd name="connsiteY15" fmla="*/ 1917478 h 2113539"/>
                <a:gd name="connsiteX16" fmla="*/ 289767 w 1373028"/>
                <a:gd name="connsiteY16" fmla="*/ 1450244 h 2113539"/>
                <a:gd name="connsiteX17" fmla="*/ 393014 w 1373028"/>
                <a:gd name="connsiteY17" fmla="*/ 1359333 h 2113539"/>
                <a:gd name="connsiteX18" fmla="*/ 839929 w 1373028"/>
                <a:gd name="connsiteY18" fmla="*/ 163780 h 2113539"/>
                <a:gd name="connsiteX19" fmla="*/ 836092 w 1373028"/>
                <a:gd name="connsiteY19" fmla="*/ 134496 h 2113539"/>
                <a:gd name="connsiteX20" fmla="*/ 872287 w 1373028"/>
                <a:gd name="connsiteY20" fmla="*/ 148653 h 2113539"/>
                <a:gd name="connsiteX21" fmla="*/ 1134102 w 1373028"/>
                <a:gd name="connsiteY21" fmla="*/ 145419 h 2113539"/>
                <a:gd name="connsiteX22" fmla="*/ 1290270 w 1373028"/>
                <a:gd name="connsiteY22" fmla="*/ 60590 h 2113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73028" h="2113539">
                  <a:moveTo>
                    <a:pt x="289766" y="1450245"/>
                  </a:moveTo>
                  <a:lnTo>
                    <a:pt x="545783" y="1917479"/>
                  </a:lnTo>
                  <a:lnTo>
                    <a:pt x="440612" y="1992712"/>
                  </a:lnTo>
                  <a:cubicBezTo>
                    <a:pt x="384019" y="2029031"/>
                    <a:pt x="326026" y="2062244"/>
                    <a:pt x="266875" y="2092354"/>
                  </a:cubicBezTo>
                  <a:lnTo>
                    <a:pt x="219629" y="2113539"/>
                  </a:lnTo>
                  <a:lnTo>
                    <a:pt x="170298" y="2081020"/>
                  </a:lnTo>
                  <a:cubicBezTo>
                    <a:pt x="124985" y="2044529"/>
                    <a:pt x="85955" y="1998757"/>
                    <a:pt x="56317" y="1944667"/>
                  </a:cubicBezTo>
                  <a:cubicBezTo>
                    <a:pt x="11860" y="1863532"/>
                    <a:pt x="-5451" y="1774658"/>
                    <a:pt x="1476" y="1688638"/>
                  </a:cubicBezTo>
                  <a:lnTo>
                    <a:pt x="12054" y="1628518"/>
                  </a:lnTo>
                  <a:lnTo>
                    <a:pt x="27437" y="1621620"/>
                  </a:lnTo>
                  <a:cubicBezTo>
                    <a:pt x="114879" y="1577109"/>
                    <a:pt x="198894" y="1523424"/>
                    <a:pt x="278066" y="1460547"/>
                  </a:cubicBezTo>
                  <a:close/>
                  <a:moveTo>
                    <a:pt x="1350388" y="0"/>
                  </a:moveTo>
                  <a:lnTo>
                    <a:pt x="1366116" y="120008"/>
                  </a:lnTo>
                  <a:cubicBezTo>
                    <a:pt x="1414141" y="701268"/>
                    <a:pt x="1211836" y="1298699"/>
                    <a:pt x="761474" y="1737500"/>
                  </a:cubicBezTo>
                  <a:cubicBezTo>
                    <a:pt x="711433" y="1786256"/>
                    <a:pt x="659515" y="1831899"/>
                    <a:pt x="605958" y="1874433"/>
                  </a:cubicBezTo>
                  <a:lnTo>
                    <a:pt x="545784" y="1917478"/>
                  </a:lnTo>
                  <a:lnTo>
                    <a:pt x="289767" y="1450244"/>
                  </a:lnTo>
                  <a:lnTo>
                    <a:pt x="393014" y="1359333"/>
                  </a:lnTo>
                  <a:cubicBezTo>
                    <a:pt x="725895" y="1034998"/>
                    <a:pt x="875427" y="593413"/>
                    <a:pt x="839929" y="163780"/>
                  </a:cubicBezTo>
                  <a:lnTo>
                    <a:pt x="836092" y="134496"/>
                  </a:lnTo>
                  <a:lnTo>
                    <a:pt x="872287" y="148653"/>
                  </a:lnTo>
                  <a:cubicBezTo>
                    <a:pt x="955247" y="172420"/>
                    <a:pt x="1045789" y="172990"/>
                    <a:pt x="1134102" y="145419"/>
                  </a:cubicBezTo>
                  <a:cubicBezTo>
                    <a:pt x="1192977" y="127039"/>
                    <a:pt x="1245552" y="97810"/>
                    <a:pt x="1290270" y="60590"/>
                  </a:cubicBezTo>
                  <a:close/>
                </a:path>
              </a:pathLst>
            </a:custGeom>
            <a:solidFill>
              <a:srgbClr val="B9BDD7"/>
            </a:solidFill>
            <a:ln w="6350" cap="flat" cmpd="sng" algn="ctr">
              <a:noFill/>
              <a:prstDash val="solid"/>
              <a:miter lim="800000"/>
            </a:ln>
            <a:effectLst/>
          </p:spPr>
          <p:txBody>
            <a:bodyPr rtlCol="0" anchor="ctr"/>
            <a:lstStyle/>
            <a:p>
              <a:pPr marL="0" marR="0" lvl="0" indent="0" algn="ctr"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Roboto"/>
                <a:ea typeface="+mn-ea"/>
                <a:cs typeface="72 Condensed" panose="020B0506030000000003" pitchFamily="34" charset="0"/>
              </a:endParaRPr>
            </a:p>
          </p:txBody>
        </p:sp>
        <p:sp>
          <p:nvSpPr>
            <p:cNvPr id="33" name="Freeform: Shape 32">
              <a:extLst>
                <a:ext uri="{FF2B5EF4-FFF2-40B4-BE49-F238E27FC236}">
                  <a16:creationId xmlns:a16="http://schemas.microsoft.com/office/drawing/2014/main" id="{3E18D966-7945-8A9B-1725-5EC4B57189CF}"/>
                </a:ext>
              </a:extLst>
            </p:cNvPr>
            <p:cNvSpPr/>
            <p:nvPr/>
          </p:nvSpPr>
          <p:spPr>
            <a:xfrm rot="18855304">
              <a:off x="6647892" y="2881880"/>
              <a:ext cx="1643520" cy="952927"/>
            </a:xfrm>
            <a:custGeom>
              <a:avLst/>
              <a:gdLst>
                <a:gd name="connsiteX0" fmla="*/ 1758693 w 2210068"/>
                <a:gd name="connsiteY0" fmla="*/ 2007 h 1281416"/>
                <a:gd name="connsiteX1" fmla="*/ 1775865 w 2210068"/>
                <a:gd name="connsiteY1" fmla="*/ 529117 h 1281416"/>
                <a:gd name="connsiteX2" fmla="*/ 1666152 w 2210068"/>
                <a:gd name="connsiteY2" fmla="*/ 532926 h 1281416"/>
                <a:gd name="connsiteX3" fmla="*/ 746157 w 2210068"/>
                <a:gd name="connsiteY3" fmla="*/ 952335 h 1281416"/>
                <a:gd name="connsiteX4" fmla="*/ 551418 w 2210068"/>
                <a:gd name="connsiteY4" fmla="*/ 1184511 h 1281416"/>
                <a:gd name="connsiteX5" fmla="*/ 492440 w 2210068"/>
                <a:gd name="connsiteY5" fmla="*/ 1281416 h 1281416"/>
                <a:gd name="connsiteX6" fmla="*/ 452042 w 2210068"/>
                <a:gd name="connsiteY6" fmla="*/ 1224528 h 1281416"/>
                <a:gd name="connsiteX7" fmla="*/ 231339 w 2210068"/>
                <a:gd name="connsiteY7" fmla="*/ 1083645 h 1281416"/>
                <a:gd name="connsiteX8" fmla="*/ 54230 w 2210068"/>
                <a:gd name="connsiteY8" fmla="*/ 1068933 h 1281416"/>
                <a:gd name="connsiteX9" fmla="*/ 0 w 2210068"/>
                <a:gd name="connsiteY9" fmla="*/ 1080425 h 1281416"/>
                <a:gd name="connsiteX10" fmla="*/ 10106 w 2210068"/>
                <a:gd name="connsiteY10" fmla="*/ 1059372 h 1281416"/>
                <a:gd name="connsiteX11" fmla="*/ 377698 w 2210068"/>
                <a:gd name="connsiteY11" fmla="*/ 574168 h 1281416"/>
                <a:gd name="connsiteX12" fmla="*/ 1622380 w 2210068"/>
                <a:gd name="connsiteY12" fmla="*/ 6740 h 1281416"/>
                <a:gd name="connsiteX13" fmla="*/ 2134976 w 2210068"/>
                <a:gd name="connsiteY13" fmla="*/ 31424 h 1281416"/>
                <a:gd name="connsiteX14" fmla="*/ 2169729 w 2210068"/>
                <a:gd name="connsiteY14" fmla="*/ 92223 h 1281416"/>
                <a:gd name="connsiteX15" fmla="*/ 2209822 w 2210068"/>
                <a:gd name="connsiteY15" fmla="*/ 265360 h 1281416"/>
                <a:gd name="connsiteX16" fmla="*/ 2143096 w 2210068"/>
                <a:gd name="connsiteY16" fmla="*/ 518550 h 1281416"/>
                <a:gd name="connsiteX17" fmla="*/ 2109886 w 2210068"/>
                <a:gd name="connsiteY17" fmla="*/ 562888 h 1281416"/>
                <a:gd name="connsiteX18" fmla="*/ 2094985 w 2210068"/>
                <a:gd name="connsiteY18" fmla="*/ 559044 h 1281416"/>
                <a:gd name="connsiteX19" fmla="*/ 1809628 w 2210068"/>
                <a:gd name="connsiteY19" fmla="*/ 527945 h 1281416"/>
                <a:gd name="connsiteX20" fmla="*/ 1775866 w 2210068"/>
                <a:gd name="connsiteY20" fmla="*/ 529117 h 1281416"/>
                <a:gd name="connsiteX21" fmla="*/ 1758694 w 2210068"/>
                <a:gd name="connsiteY21" fmla="*/ 2007 h 1281416"/>
                <a:gd name="connsiteX22" fmla="*/ 1816494 w 2210068"/>
                <a:gd name="connsiteY22" fmla="*/ 0 h 1281416"/>
                <a:gd name="connsiteX23" fmla="*/ 2010365 w 2210068"/>
                <a:gd name="connsiteY23" fmla="*/ 11785 h 128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210068" h="1281416">
                  <a:moveTo>
                    <a:pt x="1758693" y="2007"/>
                  </a:moveTo>
                  <a:lnTo>
                    <a:pt x="1775865" y="529117"/>
                  </a:lnTo>
                  <a:lnTo>
                    <a:pt x="1666152" y="532926"/>
                  </a:lnTo>
                  <a:cubicBezTo>
                    <a:pt x="1331993" y="560535"/>
                    <a:pt x="1005064" y="700074"/>
                    <a:pt x="746157" y="952335"/>
                  </a:cubicBezTo>
                  <a:cubicBezTo>
                    <a:pt x="672184" y="1024409"/>
                    <a:pt x="607265" y="1102274"/>
                    <a:pt x="551418" y="1184511"/>
                  </a:cubicBezTo>
                  <a:lnTo>
                    <a:pt x="492440" y="1281416"/>
                  </a:lnTo>
                  <a:lnTo>
                    <a:pt x="452042" y="1224528"/>
                  </a:lnTo>
                  <a:cubicBezTo>
                    <a:pt x="395706" y="1159156"/>
                    <a:pt x="320306" y="1109024"/>
                    <a:pt x="231339" y="1083645"/>
                  </a:cubicBezTo>
                  <a:cubicBezTo>
                    <a:pt x="172028" y="1066726"/>
                    <a:pt x="112034" y="1062334"/>
                    <a:pt x="54230" y="1068933"/>
                  </a:cubicBezTo>
                  <a:lnTo>
                    <a:pt x="0" y="1080425"/>
                  </a:lnTo>
                  <a:lnTo>
                    <a:pt x="10106" y="1059372"/>
                  </a:lnTo>
                  <a:cubicBezTo>
                    <a:pt x="105019" y="884328"/>
                    <a:pt x="227577" y="720435"/>
                    <a:pt x="377698" y="574168"/>
                  </a:cubicBezTo>
                  <a:cubicBezTo>
                    <a:pt x="727980" y="232878"/>
                    <a:pt x="1170289" y="44092"/>
                    <a:pt x="1622380" y="6740"/>
                  </a:cubicBezTo>
                  <a:close/>
                  <a:moveTo>
                    <a:pt x="2134976" y="31424"/>
                  </a:moveTo>
                  <a:lnTo>
                    <a:pt x="2169729" y="92223"/>
                  </a:lnTo>
                  <a:cubicBezTo>
                    <a:pt x="2193671" y="145248"/>
                    <a:pt x="2207815" y="203715"/>
                    <a:pt x="2209822" y="265360"/>
                  </a:cubicBezTo>
                  <a:cubicBezTo>
                    <a:pt x="2212835" y="357827"/>
                    <a:pt x="2188133" y="444937"/>
                    <a:pt x="2143096" y="518550"/>
                  </a:cubicBezTo>
                  <a:lnTo>
                    <a:pt x="2109886" y="562888"/>
                  </a:lnTo>
                  <a:lnTo>
                    <a:pt x="2094985" y="559044"/>
                  </a:lnTo>
                  <a:cubicBezTo>
                    <a:pt x="2000930" y="539562"/>
                    <a:pt x="1905339" y="529190"/>
                    <a:pt x="1809628" y="527945"/>
                  </a:cubicBezTo>
                  <a:lnTo>
                    <a:pt x="1775866" y="529117"/>
                  </a:lnTo>
                  <a:lnTo>
                    <a:pt x="1758694" y="2007"/>
                  </a:lnTo>
                  <a:lnTo>
                    <a:pt x="1816494" y="0"/>
                  </a:lnTo>
                  <a:cubicBezTo>
                    <a:pt x="1881238" y="843"/>
                    <a:pt x="1945942" y="4772"/>
                    <a:pt x="2010365" y="11785"/>
                  </a:cubicBezTo>
                  <a:close/>
                </a:path>
              </a:pathLst>
            </a:custGeom>
            <a:blipFill>
              <a:blip r:embed="rId6"/>
              <a:stretch>
                <a:fillRect/>
              </a:stretch>
            </a:blipFill>
            <a:ln w="6350" cap="flat" cmpd="sng" algn="ctr">
              <a:noFill/>
              <a:prstDash val="solid"/>
              <a:miter lim="800000"/>
            </a:ln>
            <a:effectLst>
              <a:outerShdw blurRad="203200" dist="127000" dir="3600000" algn="tl" rotWithShape="0">
                <a:prstClr val="black">
                  <a:alpha val="40000"/>
                </a:prstClr>
              </a:outerShdw>
            </a:effectLst>
          </p:spPr>
          <p:txBody>
            <a:bodyPr rtlCol="0" anchor="ctr"/>
            <a:lstStyle/>
            <a:p>
              <a:pPr marL="0" marR="0" lvl="0" indent="0" algn="ctr"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Roboto"/>
                <a:ea typeface="+mn-ea"/>
                <a:cs typeface="72 Condensed" panose="020B0506030000000003" pitchFamily="34" charset="0"/>
              </a:endParaRPr>
            </a:p>
          </p:txBody>
        </p:sp>
        <p:sp>
          <p:nvSpPr>
            <p:cNvPr id="34" name="Freeform: Shape 33">
              <a:extLst>
                <a:ext uri="{FF2B5EF4-FFF2-40B4-BE49-F238E27FC236}">
                  <a16:creationId xmlns:a16="http://schemas.microsoft.com/office/drawing/2014/main" id="{66707D35-29EA-3CC8-70FD-520EA048BE1F}"/>
                </a:ext>
              </a:extLst>
            </p:cNvPr>
            <p:cNvSpPr/>
            <p:nvPr/>
          </p:nvSpPr>
          <p:spPr>
            <a:xfrm rot="18855304">
              <a:off x="8340797" y="4260607"/>
              <a:ext cx="1735307" cy="775944"/>
            </a:xfrm>
            <a:custGeom>
              <a:avLst/>
              <a:gdLst>
                <a:gd name="connsiteX0" fmla="*/ 2125920 w 2333495"/>
                <a:gd name="connsiteY0" fmla="*/ 360101 h 1043423"/>
                <a:gd name="connsiteX1" fmla="*/ 2115342 w 2333495"/>
                <a:gd name="connsiteY1" fmla="*/ 420221 h 1043423"/>
                <a:gd name="connsiteX2" fmla="*/ 2170183 w 2333495"/>
                <a:gd name="connsiteY2" fmla="*/ 676250 h 1043423"/>
                <a:gd name="connsiteX3" fmla="*/ 2284164 w 2333495"/>
                <a:gd name="connsiteY3" fmla="*/ 812603 h 1043423"/>
                <a:gd name="connsiteX4" fmla="*/ 2333495 w 2333495"/>
                <a:gd name="connsiteY4" fmla="*/ 845122 h 1043423"/>
                <a:gd name="connsiteX5" fmla="*/ 2200052 w 2333495"/>
                <a:gd name="connsiteY5" fmla="*/ 904960 h 1043423"/>
                <a:gd name="connsiteX6" fmla="*/ 327280 w 2333495"/>
                <a:gd name="connsiteY6" fmla="*/ 695335 h 1043423"/>
                <a:gd name="connsiteX7" fmla="*/ 292722 w 2333495"/>
                <a:gd name="connsiteY7" fmla="*/ 669230 h 1043423"/>
                <a:gd name="connsiteX8" fmla="*/ 292722 w 2333495"/>
                <a:gd name="connsiteY8" fmla="*/ 669230 h 1043423"/>
                <a:gd name="connsiteX9" fmla="*/ 165067 w 2333495"/>
                <a:gd name="connsiteY9" fmla="*/ 572799 h 1043423"/>
                <a:gd name="connsiteX10" fmla="*/ 13164 w 2333495"/>
                <a:gd name="connsiteY10" fmla="*/ 431868 h 1043423"/>
                <a:gd name="connsiteX11" fmla="*/ 0 w 2333495"/>
                <a:gd name="connsiteY11" fmla="*/ 416918 h 1043423"/>
                <a:gd name="connsiteX12" fmla="*/ 4184 w 2333495"/>
                <a:gd name="connsiteY12" fmla="*/ 362192 h 1043423"/>
                <a:gd name="connsiteX13" fmla="*/ 68116 w 2333495"/>
                <a:gd name="connsiteY13" fmla="*/ 196371 h 1043423"/>
                <a:gd name="connsiteX14" fmla="*/ 265386 w 2333495"/>
                <a:gd name="connsiteY14" fmla="*/ 24202 h 1043423"/>
                <a:gd name="connsiteX15" fmla="*/ 335499 w 2333495"/>
                <a:gd name="connsiteY15" fmla="*/ 0 h 1043423"/>
                <a:gd name="connsiteX16" fmla="*/ 391331 w 2333495"/>
                <a:gd name="connsiteY16" fmla="*/ 63409 h 1043423"/>
                <a:gd name="connsiteX17" fmla="*/ 503609 w 2333495"/>
                <a:gd name="connsiteY17" fmla="*/ 167576 h 1043423"/>
                <a:gd name="connsiteX18" fmla="*/ 575196 w 2333495"/>
                <a:gd name="connsiteY18" fmla="*/ 221655 h 1043423"/>
                <a:gd name="connsiteX19" fmla="*/ 575196 w 2333495"/>
                <a:gd name="connsiteY19" fmla="*/ 221654 h 1043423"/>
                <a:gd name="connsiteX20" fmla="*/ 623507 w 2333495"/>
                <a:gd name="connsiteY20" fmla="*/ 258148 h 1043423"/>
                <a:gd name="connsiteX21" fmla="*/ 2007748 w 2333495"/>
                <a:gd name="connsiteY21" fmla="*/ 413091 h 1043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33495" h="1043423">
                  <a:moveTo>
                    <a:pt x="2125920" y="360101"/>
                  </a:moveTo>
                  <a:lnTo>
                    <a:pt x="2115342" y="420221"/>
                  </a:lnTo>
                  <a:cubicBezTo>
                    <a:pt x="2108415" y="506241"/>
                    <a:pt x="2125726" y="595115"/>
                    <a:pt x="2170183" y="676250"/>
                  </a:cubicBezTo>
                  <a:cubicBezTo>
                    <a:pt x="2199821" y="730340"/>
                    <a:pt x="2238851" y="776112"/>
                    <a:pt x="2284164" y="812603"/>
                  </a:cubicBezTo>
                  <a:lnTo>
                    <a:pt x="2333495" y="845122"/>
                  </a:lnTo>
                  <a:lnTo>
                    <a:pt x="2200052" y="904960"/>
                  </a:lnTo>
                  <a:cubicBezTo>
                    <a:pt x="1587766" y="1144031"/>
                    <a:pt x="883582" y="1073116"/>
                    <a:pt x="327280" y="695335"/>
                  </a:cubicBezTo>
                  <a:lnTo>
                    <a:pt x="292722" y="669230"/>
                  </a:lnTo>
                  <a:lnTo>
                    <a:pt x="292722" y="669230"/>
                  </a:lnTo>
                  <a:lnTo>
                    <a:pt x="165067" y="572799"/>
                  </a:lnTo>
                  <a:cubicBezTo>
                    <a:pt x="112634" y="528886"/>
                    <a:pt x="61920" y="481908"/>
                    <a:pt x="13164" y="431868"/>
                  </a:cubicBezTo>
                  <a:lnTo>
                    <a:pt x="0" y="416918"/>
                  </a:lnTo>
                  <a:lnTo>
                    <a:pt x="4184" y="362192"/>
                  </a:lnTo>
                  <a:cubicBezTo>
                    <a:pt x="14109" y="304865"/>
                    <a:pt x="35198" y="248529"/>
                    <a:pt x="68116" y="196371"/>
                  </a:cubicBezTo>
                  <a:cubicBezTo>
                    <a:pt x="117493" y="118133"/>
                    <a:pt x="186808" y="59878"/>
                    <a:pt x="265386" y="24202"/>
                  </a:cubicBezTo>
                  <a:lnTo>
                    <a:pt x="335499" y="0"/>
                  </a:lnTo>
                  <a:lnTo>
                    <a:pt x="391331" y="63409"/>
                  </a:lnTo>
                  <a:cubicBezTo>
                    <a:pt x="427369" y="100396"/>
                    <a:pt x="464854" y="135119"/>
                    <a:pt x="503609" y="167576"/>
                  </a:cubicBezTo>
                  <a:lnTo>
                    <a:pt x="575196" y="221655"/>
                  </a:lnTo>
                  <a:lnTo>
                    <a:pt x="575196" y="221654"/>
                  </a:lnTo>
                  <a:lnTo>
                    <a:pt x="623507" y="258148"/>
                  </a:lnTo>
                  <a:cubicBezTo>
                    <a:pt x="1034692" y="537381"/>
                    <a:pt x="1555183" y="589797"/>
                    <a:pt x="2007748" y="413091"/>
                  </a:cubicBezTo>
                  <a:close/>
                </a:path>
              </a:pathLst>
            </a:custGeom>
            <a:solidFill>
              <a:srgbClr val="F5821E"/>
            </a:solidFill>
            <a:ln w="6350" cap="flat" cmpd="sng" algn="ctr">
              <a:noFill/>
              <a:prstDash val="solid"/>
              <a:miter lim="800000"/>
            </a:ln>
            <a:effectLst/>
          </p:spPr>
          <p:txBody>
            <a:bodyPr rtlCol="0" anchor="ctr"/>
            <a:lstStyle/>
            <a:p>
              <a:pPr marL="0" marR="0" lvl="0" indent="0" algn="ctr"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Roboto"/>
                <a:ea typeface="+mn-ea"/>
                <a:cs typeface="72 Condensed" panose="020B0506030000000003" pitchFamily="34" charset="0"/>
              </a:endParaRPr>
            </a:p>
          </p:txBody>
        </p:sp>
        <p:sp>
          <p:nvSpPr>
            <p:cNvPr id="35" name="Freeform: Shape 34">
              <a:extLst>
                <a:ext uri="{FF2B5EF4-FFF2-40B4-BE49-F238E27FC236}">
                  <a16:creationId xmlns:a16="http://schemas.microsoft.com/office/drawing/2014/main" id="{3933A9FA-B5E2-2488-8491-F051D6885D9B}"/>
                </a:ext>
              </a:extLst>
            </p:cNvPr>
            <p:cNvSpPr/>
            <p:nvPr/>
          </p:nvSpPr>
          <p:spPr>
            <a:xfrm rot="18855304">
              <a:off x="7527890" y="3788774"/>
              <a:ext cx="666814" cy="1751589"/>
            </a:xfrm>
            <a:custGeom>
              <a:avLst/>
              <a:gdLst>
                <a:gd name="connsiteX0" fmla="*/ 594930 w 896676"/>
                <a:gd name="connsiteY0" fmla="*/ 514610 h 2355389"/>
                <a:gd name="connsiteX1" fmla="*/ 559215 w 896676"/>
                <a:gd name="connsiteY1" fmla="*/ 653052 h 2355389"/>
                <a:gd name="connsiteX2" fmla="*/ 851296 w 896676"/>
                <a:gd name="connsiteY2" fmla="*/ 1886932 h 2355389"/>
                <a:gd name="connsiteX3" fmla="*/ 896676 w 896676"/>
                <a:gd name="connsiteY3" fmla="*/ 1938471 h 2355389"/>
                <a:gd name="connsiteX4" fmla="*/ 826563 w 896676"/>
                <a:gd name="connsiteY4" fmla="*/ 1962673 h 2355389"/>
                <a:gd name="connsiteX5" fmla="*/ 629293 w 896676"/>
                <a:gd name="connsiteY5" fmla="*/ 2134842 h 2355389"/>
                <a:gd name="connsiteX6" fmla="*/ 565361 w 896676"/>
                <a:gd name="connsiteY6" fmla="*/ 2300663 h 2355389"/>
                <a:gd name="connsiteX7" fmla="*/ 561177 w 896676"/>
                <a:gd name="connsiteY7" fmla="*/ 2355389 h 2355389"/>
                <a:gd name="connsiteX8" fmla="*/ 437408 w 896676"/>
                <a:gd name="connsiteY8" fmla="*/ 2214824 h 2355389"/>
                <a:gd name="connsiteX9" fmla="*/ 42246 w 896676"/>
                <a:gd name="connsiteY9" fmla="*/ 545480 h 2355389"/>
                <a:gd name="connsiteX10" fmla="*/ 87548 w 896676"/>
                <a:gd name="connsiteY10" fmla="*/ 369873 h 2355389"/>
                <a:gd name="connsiteX11" fmla="*/ 87549 w 896676"/>
                <a:gd name="connsiteY11" fmla="*/ 369874 h 2355389"/>
                <a:gd name="connsiteX12" fmla="*/ 87549 w 896676"/>
                <a:gd name="connsiteY12" fmla="*/ 369875 h 2355389"/>
                <a:gd name="connsiteX13" fmla="*/ 685899 w 896676"/>
                <a:gd name="connsiteY13" fmla="*/ 158526 h 2355389"/>
                <a:gd name="connsiteX14" fmla="*/ 726297 w 896676"/>
                <a:gd name="connsiteY14" fmla="*/ 215414 h 2355389"/>
                <a:gd name="connsiteX15" fmla="*/ 708312 w 896676"/>
                <a:gd name="connsiteY15" fmla="*/ 244966 h 2355389"/>
                <a:gd name="connsiteX16" fmla="*/ 595269 w 896676"/>
                <a:gd name="connsiteY16" fmla="*/ 513302 h 2355389"/>
                <a:gd name="connsiteX17" fmla="*/ 594931 w 896676"/>
                <a:gd name="connsiteY17" fmla="*/ 514611 h 2355389"/>
                <a:gd name="connsiteX18" fmla="*/ 594930 w 896676"/>
                <a:gd name="connsiteY18" fmla="*/ 514610 h 2355389"/>
                <a:gd name="connsiteX19" fmla="*/ 594930 w 896676"/>
                <a:gd name="connsiteY19" fmla="*/ 514609 h 2355389"/>
                <a:gd name="connsiteX20" fmla="*/ 87549 w 896676"/>
                <a:gd name="connsiteY20" fmla="*/ 369874 h 2355389"/>
                <a:gd name="connsiteX21" fmla="*/ 91023 w 896676"/>
                <a:gd name="connsiteY21" fmla="*/ 356407 h 2355389"/>
                <a:gd name="connsiteX22" fmla="*/ 158269 w 896676"/>
                <a:gd name="connsiteY22" fmla="*/ 171891 h 2355389"/>
                <a:gd name="connsiteX23" fmla="*/ 233857 w 896676"/>
                <a:gd name="connsiteY23" fmla="*/ 14423 h 2355389"/>
                <a:gd name="connsiteX24" fmla="*/ 288087 w 896676"/>
                <a:gd name="connsiteY24" fmla="*/ 2931 h 2355389"/>
                <a:gd name="connsiteX25" fmla="*/ 465196 w 896676"/>
                <a:gd name="connsiteY25" fmla="*/ 17643 h 2355389"/>
                <a:gd name="connsiteX26" fmla="*/ 685899 w 896676"/>
                <a:gd name="connsiteY26" fmla="*/ 158526 h 235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96676" h="2355389">
                  <a:moveTo>
                    <a:pt x="594930" y="514610"/>
                  </a:moveTo>
                  <a:lnTo>
                    <a:pt x="559215" y="653052"/>
                  </a:lnTo>
                  <a:cubicBezTo>
                    <a:pt x="471546" y="1076298"/>
                    <a:pt x="568347" y="1530659"/>
                    <a:pt x="851296" y="1886932"/>
                  </a:cubicBezTo>
                  <a:lnTo>
                    <a:pt x="896676" y="1938471"/>
                  </a:lnTo>
                  <a:lnTo>
                    <a:pt x="826563" y="1962673"/>
                  </a:lnTo>
                  <a:cubicBezTo>
                    <a:pt x="747985" y="1998349"/>
                    <a:pt x="678670" y="2056604"/>
                    <a:pt x="629293" y="2134842"/>
                  </a:cubicBezTo>
                  <a:cubicBezTo>
                    <a:pt x="596375" y="2187000"/>
                    <a:pt x="575286" y="2243336"/>
                    <a:pt x="565361" y="2300663"/>
                  </a:cubicBezTo>
                  <a:lnTo>
                    <a:pt x="561177" y="2355389"/>
                  </a:lnTo>
                  <a:lnTo>
                    <a:pt x="437408" y="2214824"/>
                  </a:lnTo>
                  <a:cubicBezTo>
                    <a:pt x="54600" y="1732813"/>
                    <a:pt x="-76363" y="1118098"/>
                    <a:pt x="42246" y="545480"/>
                  </a:cubicBezTo>
                  <a:lnTo>
                    <a:pt x="87548" y="369873"/>
                  </a:lnTo>
                  <a:lnTo>
                    <a:pt x="87549" y="369874"/>
                  </a:lnTo>
                  <a:lnTo>
                    <a:pt x="87549" y="369875"/>
                  </a:lnTo>
                  <a:close/>
                  <a:moveTo>
                    <a:pt x="685899" y="158526"/>
                  </a:moveTo>
                  <a:lnTo>
                    <a:pt x="726297" y="215414"/>
                  </a:lnTo>
                  <a:lnTo>
                    <a:pt x="708312" y="244966"/>
                  </a:lnTo>
                  <a:cubicBezTo>
                    <a:pt x="661543" y="331221"/>
                    <a:pt x="623856" y="421139"/>
                    <a:pt x="595269" y="513302"/>
                  </a:cubicBezTo>
                  <a:lnTo>
                    <a:pt x="594931" y="514611"/>
                  </a:lnTo>
                  <a:lnTo>
                    <a:pt x="594930" y="514610"/>
                  </a:lnTo>
                  <a:lnTo>
                    <a:pt x="594930" y="514609"/>
                  </a:lnTo>
                  <a:lnTo>
                    <a:pt x="87549" y="369874"/>
                  </a:lnTo>
                  <a:lnTo>
                    <a:pt x="91023" y="356407"/>
                  </a:lnTo>
                  <a:cubicBezTo>
                    <a:pt x="110362" y="294063"/>
                    <a:pt x="132778" y="232477"/>
                    <a:pt x="158269" y="171891"/>
                  </a:cubicBezTo>
                  <a:lnTo>
                    <a:pt x="233857" y="14423"/>
                  </a:lnTo>
                  <a:lnTo>
                    <a:pt x="288087" y="2931"/>
                  </a:lnTo>
                  <a:cubicBezTo>
                    <a:pt x="345891" y="-3669"/>
                    <a:pt x="405885" y="724"/>
                    <a:pt x="465196" y="17643"/>
                  </a:cubicBezTo>
                  <a:cubicBezTo>
                    <a:pt x="554163" y="43022"/>
                    <a:pt x="629563" y="93154"/>
                    <a:pt x="685899" y="158526"/>
                  </a:cubicBezTo>
                  <a:close/>
                </a:path>
              </a:pathLst>
            </a:custGeom>
            <a:solidFill>
              <a:schemeClr val="bg1"/>
            </a:solidFill>
            <a:ln w="6350" cap="flat" cmpd="sng" algn="ctr">
              <a:noFill/>
              <a:prstDash val="solid"/>
              <a:miter lim="800000"/>
            </a:ln>
            <a:effectLst/>
          </p:spPr>
          <p:txBody>
            <a:bodyPr rtlCol="0" anchor="ctr"/>
            <a:lstStyle/>
            <a:p>
              <a:pPr marL="0" marR="0" lvl="0" indent="0" algn="ctr"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Roboto"/>
                <a:ea typeface="+mn-ea"/>
                <a:cs typeface="72 Condensed" panose="020B0506030000000003" pitchFamily="34" charset="0"/>
              </a:endParaRPr>
            </a:p>
          </p:txBody>
        </p:sp>
        <p:sp>
          <p:nvSpPr>
            <p:cNvPr id="36" name="Oval 35">
              <a:extLst>
                <a:ext uri="{FF2B5EF4-FFF2-40B4-BE49-F238E27FC236}">
                  <a16:creationId xmlns:a16="http://schemas.microsoft.com/office/drawing/2014/main" id="{9727F916-BE91-0367-35A0-880E30510164}"/>
                </a:ext>
              </a:extLst>
            </p:cNvPr>
            <p:cNvSpPr/>
            <p:nvPr/>
          </p:nvSpPr>
          <p:spPr>
            <a:xfrm>
              <a:off x="6703505" y="1879749"/>
              <a:ext cx="3698871" cy="3698868"/>
            </a:xfrm>
            <a:prstGeom prst="ellipse">
              <a:avLst/>
            </a:prstGeom>
            <a:noFill/>
            <a:ln w="12700" cap="flat" cmpd="sng" algn="ctr">
              <a:solidFill>
                <a:sysClr val="windowText" lastClr="000000">
                  <a:lumMod val="65000"/>
                  <a:lumOff val="35000"/>
                </a:sysClr>
              </a:solidFill>
              <a:prstDash val="solid"/>
              <a:miter lim="800000"/>
            </a:ln>
            <a:effectLst/>
          </p:spPr>
          <p:txBody>
            <a:bodyPr rtlCol="0" anchor="ctr"/>
            <a:lstStyle/>
            <a:p>
              <a:pPr marL="0" marR="0" lvl="0" indent="0" algn="ctr"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Roboto"/>
                <a:ea typeface="+mn-ea"/>
                <a:cs typeface="72 Condensed" panose="020B0506030000000003" pitchFamily="34" charset="0"/>
              </a:endParaRPr>
            </a:p>
          </p:txBody>
        </p:sp>
        <p:grpSp>
          <p:nvGrpSpPr>
            <p:cNvPr id="37" name="Group 36">
              <a:extLst>
                <a:ext uri="{FF2B5EF4-FFF2-40B4-BE49-F238E27FC236}">
                  <a16:creationId xmlns:a16="http://schemas.microsoft.com/office/drawing/2014/main" id="{579B6C14-1C10-2787-7FCD-71ACBDD5B0A2}"/>
                </a:ext>
              </a:extLst>
            </p:cNvPr>
            <p:cNvGrpSpPr/>
            <p:nvPr/>
          </p:nvGrpSpPr>
          <p:grpSpPr>
            <a:xfrm>
              <a:off x="8301819" y="1654617"/>
              <a:ext cx="502242" cy="502242"/>
              <a:chOff x="5765955" y="1795644"/>
              <a:chExt cx="532946" cy="532946"/>
            </a:xfrm>
          </p:grpSpPr>
          <p:sp>
            <p:nvSpPr>
              <p:cNvPr id="58" name="Oval 57">
                <a:extLst>
                  <a:ext uri="{FF2B5EF4-FFF2-40B4-BE49-F238E27FC236}">
                    <a16:creationId xmlns:a16="http://schemas.microsoft.com/office/drawing/2014/main" id="{C654198D-91B5-E0CB-83AD-F6B539B19D46}"/>
                  </a:ext>
                </a:extLst>
              </p:cNvPr>
              <p:cNvSpPr/>
              <p:nvPr/>
            </p:nvSpPr>
            <p:spPr>
              <a:xfrm>
                <a:off x="5765955" y="1795644"/>
                <a:ext cx="532946" cy="532946"/>
              </a:xfrm>
              <a:prstGeom prst="ellipse">
                <a:avLst/>
              </a:prstGeom>
              <a:solidFill>
                <a:sysClr val="windowText" lastClr="000000">
                  <a:lumMod val="65000"/>
                  <a:lumOff val="35000"/>
                </a:sysClr>
              </a:solidFill>
              <a:ln w="12700" cap="flat" cmpd="sng" algn="ctr">
                <a:noFill/>
                <a:prstDash val="solid"/>
                <a:miter lim="800000"/>
              </a:ln>
              <a:effectLst/>
            </p:spPr>
            <p:txBody>
              <a:bodyPr rtlCol="0" anchor="ctr"/>
              <a:lstStyle/>
              <a:p>
                <a:pPr marL="0" marR="0" lvl="0" indent="0" algn="ctr"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Roboto"/>
                  <a:ea typeface="+mn-ea"/>
                  <a:cs typeface="72 Condensed" panose="020B0506030000000003" pitchFamily="34" charset="0"/>
                </a:endParaRPr>
              </a:p>
            </p:txBody>
          </p:sp>
          <p:sp>
            <p:nvSpPr>
              <p:cNvPr id="59" name="Oval 58">
                <a:extLst>
                  <a:ext uri="{FF2B5EF4-FFF2-40B4-BE49-F238E27FC236}">
                    <a16:creationId xmlns:a16="http://schemas.microsoft.com/office/drawing/2014/main" id="{EF860FCA-A699-84CE-53F7-147349CC6A78}"/>
                  </a:ext>
                </a:extLst>
              </p:cNvPr>
              <p:cNvSpPr/>
              <p:nvPr/>
            </p:nvSpPr>
            <p:spPr>
              <a:xfrm>
                <a:off x="5815780" y="1845469"/>
                <a:ext cx="433296" cy="433296"/>
              </a:xfrm>
              <a:prstGeom prst="ellipse">
                <a:avLst/>
              </a:prstGeom>
              <a:solidFill>
                <a:srgbClr val="00326E"/>
              </a:solidFill>
              <a:ln w="12700" cap="flat" cmpd="sng" algn="ctr">
                <a:noFill/>
                <a:prstDash val="solid"/>
                <a:miter lim="800000"/>
              </a:ln>
              <a:effectLst/>
            </p:spPr>
            <p:txBody>
              <a:bodyPr lIns="0" tIns="0" rIns="0" bIns="0" rtlCol="0" anchor="ctr" anchorCtr="1"/>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prstClr val="white"/>
                    </a:solidFill>
                    <a:effectLst/>
                    <a:uLnTx/>
                    <a:uFillTx/>
                    <a:latin typeface="Roboto"/>
                    <a:ea typeface="+mn-ea"/>
                    <a:cs typeface="72 Condensed" panose="020B0506030000000003" pitchFamily="34" charset="0"/>
                  </a:rPr>
                  <a:t>1</a:t>
                </a:r>
              </a:p>
            </p:txBody>
          </p:sp>
        </p:grpSp>
        <p:grpSp>
          <p:nvGrpSpPr>
            <p:cNvPr id="38" name="Group 37">
              <a:extLst>
                <a:ext uri="{FF2B5EF4-FFF2-40B4-BE49-F238E27FC236}">
                  <a16:creationId xmlns:a16="http://schemas.microsoft.com/office/drawing/2014/main" id="{E7B2A1A1-910E-46A2-B7E6-C6D451972C8B}"/>
                </a:ext>
              </a:extLst>
            </p:cNvPr>
            <p:cNvGrpSpPr/>
            <p:nvPr/>
          </p:nvGrpSpPr>
          <p:grpSpPr>
            <a:xfrm>
              <a:off x="10087931" y="3078359"/>
              <a:ext cx="502242" cy="502242"/>
              <a:chOff x="7661258" y="3378995"/>
              <a:chExt cx="532946" cy="532946"/>
            </a:xfrm>
          </p:grpSpPr>
          <p:sp>
            <p:nvSpPr>
              <p:cNvPr id="56" name="Oval 55">
                <a:extLst>
                  <a:ext uri="{FF2B5EF4-FFF2-40B4-BE49-F238E27FC236}">
                    <a16:creationId xmlns:a16="http://schemas.microsoft.com/office/drawing/2014/main" id="{64DD1C98-A5EF-B2AD-DE5A-F62BC9BB94C9}"/>
                  </a:ext>
                </a:extLst>
              </p:cNvPr>
              <p:cNvSpPr/>
              <p:nvPr/>
            </p:nvSpPr>
            <p:spPr>
              <a:xfrm>
                <a:off x="7661258" y="3378995"/>
                <a:ext cx="532946" cy="532946"/>
              </a:xfrm>
              <a:prstGeom prst="ellipse">
                <a:avLst/>
              </a:prstGeom>
              <a:solidFill>
                <a:sysClr val="windowText" lastClr="000000">
                  <a:lumMod val="65000"/>
                  <a:lumOff val="35000"/>
                </a:sysClr>
              </a:solidFill>
              <a:ln w="12700" cap="flat" cmpd="sng" algn="ctr">
                <a:noFill/>
                <a:prstDash val="solid"/>
                <a:miter lim="800000"/>
              </a:ln>
              <a:effectLst/>
            </p:spPr>
            <p:txBody>
              <a:bodyPr rtlCol="0" anchor="ctr"/>
              <a:lstStyle/>
              <a:p>
                <a:pPr marL="0" marR="0" lvl="0" indent="0" algn="ctr"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Roboto"/>
                  <a:ea typeface="+mn-ea"/>
                  <a:cs typeface="72 Condensed" panose="020B0506030000000003" pitchFamily="34" charset="0"/>
                </a:endParaRPr>
              </a:p>
            </p:txBody>
          </p:sp>
          <p:sp>
            <p:nvSpPr>
              <p:cNvPr id="57" name="Oval 56">
                <a:extLst>
                  <a:ext uri="{FF2B5EF4-FFF2-40B4-BE49-F238E27FC236}">
                    <a16:creationId xmlns:a16="http://schemas.microsoft.com/office/drawing/2014/main" id="{EB31EF2B-D307-E337-F194-882C9DC242E9}"/>
                  </a:ext>
                </a:extLst>
              </p:cNvPr>
              <p:cNvSpPr/>
              <p:nvPr/>
            </p:nvSpPr>
            <p:spPr>
              <a:xfrm>
                <a:off x="7711083" y="3428820"/>
                <a:ext cx="433296" cy="433296"/>
              </a:xfrm>
              <a:prstGeom prst="ellipse">
                <a:avLst/>
              </a:prstGeom>
              <a:solidFill>
                <a:srgbClr val="B9BDD7"/>
              </a:solidFill>
              <a:ln w="12700" cap="flat" cmpd="sng" algn="ctr">
                <a:noFill/>
                <a:prstDash val="solid"/>
                <a:miter lim="800000"/>
              </a:ln>
              <a:effectLst/>
            </p:spPr>
            <p:txBody>
              <a:bodyPr lIns="0" tIns="0" rIns="0" bIns="0" rtlCol="0" anchor="ctr" anchorCtr="1"/>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prstClr val="white"/>
                    </a:solidFill>
                    <a:effectLst/>
                    <a:uLnTx/>
                    <a:uFillTx/>
                    <a:latin typeface="Roboto"/>
                    <a:ea typeface="+mn-ea"/>
                    <a:cs typeface="72 Condensed" panose="020B0506030000000003" pitchFamily="34" charset="0"/>
                  </a:rPr>
                  <a:t>2</a:t>
                </a:r>
              </a:p>
            </p:txBody>
          </p:sp>
        </p:grpSp>
        <p:grpSp>
          <p:nvGrpSpPr>
            <p:cNvPr id="39" name="Group 38">
              <a:extLst>
                <a:ext uri="{FF2B5EF4-FFF2-40B4-BE49-F238E27FC236}">
                  <a16:creationId xmlns:a16="http://schemas.microsoft.com/office/drawing/2014/main" id="{CC43F55D-D9C3-E593-778F-DBF1E17BCEE3}"/>
                </a:ext>
              </a:extLst>
            </p:cNvPr>
            <p:cNvGrpSpPr/>
            <p:nvPr/>
          </p:nvGrpSpPr>
          <p:grpSpPr>
            <a:xfrm>
              <a:off x="9419331" y="4986690"/>
              <a:ext cx="502242" cy="502242"/>
              <a:chOff x="7661258" y="3378995"/>
              <a:chExt cx="532946" cy="532946"/>
            </a:xfrm>
          </p:grpSpPr>
          <p:sp>
            <p:nvSpPr>
              <p:cNvPr id="54" name="Oval 53">
                <a:extLst>
                  <a:ext uri="{FF2B5EF4-FFF2-40B4-BE49-F238E27FC236}">
                    <a16:creationId xmlns:a16="http://schemas.microsoft.com/office/drawing/2014/main" id="{5D22C6F2-4EB3-7A0A-A210-A6B908DF08FD}"/>
                  </a:ext>
                </a:extLst>
              </p:cNvPr>
              <p:cNvSpPr/>
              <p:nvPr/>
            </p:nvSpPr>
            <p:spPr>
              <a:xfrm>
                <a:off x="7661258" y="3378995"/>
                <a:ext cx="532946" cy="532946"/>
              </a:xfrm>
              <a:prstGeom prst="ellipse">
                <a:avLst/>
              </a:prstGeom>
              <a:solidFill>
                <a:sysClr val="windowText" lastClr="000000">
                  <a:lumMod val="65000"/>
                  <a:lumOff val="35000"/>
                </a:sysClr>
              </a:solidFill>
              <a:ln w="12700" cap="flat" cmpd="sng" algn="ctr">
                <a:noFill/>
                <a:prstDash val="solid"/>
                <a:miter lim="800000"/>
              </a:ln>
              <a:effectLst/>
            </p:spPr>
            <p:txBody>
              <a:bodyPr rtlCol="0" anchor="ctr"/>
              <a:lstStyle/>
              <a:p>
                <a:pPr marL="0" marR="0" lvl="0" indent="0" algn="ctr"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Roboto"/>
                  <a:ea typeface="+mn-ea"/>
                  <a:cs typeface="72 Condensed" panose="020B0506030000000003" pitchFamily="34" charset="0"/>
                </a:endParaRPr>
              </a:p>
            </p:txBody>
          </p:sp>
          <p:sp>
            <p:nvSpPr>
              <p:cNvPr id="55" name="Oval 54">
                <a:extLst>
                  <a:ext uri="{FF2B5EF4-FFF2-40B4-BE49-F238E27FC236}">
                    <a16:creationId xmlns:a16="http://schemas.microsoft.com/office/drawing/2014/main" id="{98F8951D-88B4-017A-4852-66E52F43543F}"/>
                  </a:ext>
                </a:extLst>
              </p:cNvPr>
              <p:cNvSpPr/>
              <p:nvPr/>
            </p:nvSpPr>
            <p:spPr>
              <a:xfrm>
                <a:off x="7711083" y="3428820"/>
                <a:ext cx="433296" cy="433296"/>
              </a:xfrm>
              <a:prstGeom prst="ellipse">
                <a:avLst/>
              </a:prstGeom>
              <a:solidFill>
                <a:srgbClr val="F5821E"/>
              </a:solidFill>
              <a:ln w="12700" cap="flat" cmpd="sng" algn="ctr">
                <a:noFill/>
                <a:prstDash val="solid"/>
                <a:miter lim="800000"/>
              </a:ln>
              <a:effectLst/>
            </p:spPr>
            <p:txBody>
              <a:bodyPr lIns="0" tIns="0" rIns="0" bIns="0" rtlCol="0" anchor="ctr" anchorCtr="1"/>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prstClr val="white"/>
                    </a:solidFill>
                    <a:effectLst/>
                    <a:uLnTx/>
                    <a:uFillTx/>
                    <a:latin typeface="Roboto"/>
                    <a:ea typeface="+mn-ea"/>
                    <a:cs typeface="72 Condensed" panose="020B0506030000000003" pitchFamily="34" charset="0"/>
                  </a:rPr>
                  <a:t>3</a:t>
                </a:r>
              </a:p>
            </p:txBody>
          </p:sp>
        </p:grpSp>
        <p:grpSp>
          <p:nvGrpSpPr>
            <p:cNvPr id="40" name="Group 39">
              <a:extLst>
                <a:ext uri="{FF2B5EF4-FFF2-40B4-BE49-F238E27FC236}">
                  <a16:creationId xmlns:a16="http://schemas.microsoft.com/office/drawing/2014/main" id="{3420690F-9EDD-F6CB-2565-911636C67FB0}"/>
                </a:ext>
              </a:extLst>
            </p:cNvPr>
            <p:cNvGrpSpPr/>
            <p:nvPr/>
          </p:nvGrpSpPr>
          <p:grpSpPr>
            <a:xfrm>
              <a:off x="7058686" y="4986690"/>
              <a:ext cx="502242" cy="502242"/>
              <a:chOff x="7661258" y="3378995"/>
              <a:chExt cx="532946" cy="532946"/>
            </a:xfrm>
          </p:grpSpPr>
          <p:sp>
            <p:nvSpPr>
              <p:cNvPr id="52" name="Oval 51">
                <a:extLst>
                  <a:ext uri="{FF2B5EF4-FFF2-40B4-BE49-F238E27FC236}">
                    <a16:creationId xmlns:a16="http://schemas.microsoft.com/office/drawing/2014/main" id="{4088671D-C1D0-214D-FB87-0427C8A644FE}"/>
                  </a:ext>
                </a:extLst>
              </p:cNvPr>
              <p:cNvSpPr/>
              <p:nvPr/>
            </p:nvSpPr>
            <p:spPr>
              <a:xfrm>
                <a:off x="7661258" y="3378995"/>
                <a:ext cx="532946" cy="532946"/>
              </a:xfrm>
              <a:prstGeom prst="ellipse">
                <a:avLst/>
              </a:prstGeom>
              <a:solidFill>
                <a:sysClr val="windowText" lastClr="000000">
                  <a:lumMod val="65000"/>
                  <a:lumOff val="35000"/>
                </a:sysClr>
              </a:solidFill>
              <a:ln w="12700" cap="flat" cmpd="sng" algn="ctr">
                <a:noFill/>
                <a:prstDash val="solid"/>
                <a:miter lim="800000"/>
              </a:ln>
              <a:effectLst/>
            </p:spPr>
            <p:txBody>
              <a:bodyPr rtlCol="0" anchor="ctr"/>
              <a:lstStyle/>
              <a:p>
                <a:pPr marL="0" marR="0" lvl="0" indent="0" algn="ctr"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Roboto"/>
                  <a:ea typeface="+mn-ea"/>
                  <a:cs typeface="72 Condensed" panose="020B0506030000000003" pitchFamily="34" charset="0"/>
                </a:endParaRPr>
              </a:p>
            </p:txBody>
          </p:sp>
          <p:sp>
            <p:nvSpPr>
              <p:cNvPr id="53" name="Oval 52">
                <a:extLst>
                  <a:ext uri="{FF2B5EF4-FFF2-40B4-BE49-F238E27FC236}">
                    <a16:creationId xmlns:a16="http://schemas.microsoft.com/office/drawing/2014/main" id="{BACE9E1C-579D-C8AF-1CEA-C31F6768C618}"/>
                  </a:ext>
                </a:extLst>
              </p:cNvPr>
              <p:cNvSpPr/>
              <p:nvPr/>
            </p:nvSpPr>
            <p:spPr>
              <a:xfrm>
                <a:off x="7711083" y="3428820"/>
                <a:ext cx="433296" cy="433296"/>
              </a:xfrm>
              <a:prstGeom prst="ellipse">
                <a:avLst/>
              </a:prstGeom>
              <a:solidFill>
                <a:schemeClr val="bg1"/>
              </a:solidFill>
              <a:ln w="12700" cap="flat" cmpd="sng" algn="ctr">
                <a:noFill/>
                <a:prstDash val="solid"/>
                <a:miter lim="800000"/>
              </a:ln>
              <a:effectLst/>
            </p:spPr>
            <p:txBody>
              <a:bodyPr lIns="0" tIns="0" rIns="0" bIns="0" rtlCol="0" anchor="ctr" anchorCtr="1"/>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2060"/>
                    </a:solidFill>
                    <a:effectLst/>
                    <a:uLnTx/>
                    <a:uFillTx/>
                    <a:latin typeface="Roboto"/>
                    <a:ea typeface="+mn-ea"/>
                    <a:cs typeface="72 Condensed" panose="020B0506030000000003" pitchFamily="34" charset="0"/>
                  </a:rPr>
                  <a:t>4</a:t>
                </a:r>
              </a:p>
            </p:txBody>
          </p:sp>
        </p:grpSp>
        <p:grpSp>
          <p:nvGrpSpPr>
            <p:cNvPr id="41" name="Group 40">
              <a:extLst>
                <a:ext uri="{FF2B5EF4-FFF2-40B4-BE49-F238E27FC236}">
                  <a16:creationId xmlns:a16="http://schemas.microsoft.com/office/drawing/2014/main" id="{7F66F334-A9E5-251D-6567-70BB58D5E243}"/>
                </a:ext>
              </a:extLst>
            </p:cNvPr>
            <p:cNvGrpSpPr/>
            <p:nvPr/>
          </p:nvGrpSpPr>
          <p:grpSpPr>
            <a:xfrm>
              <a:off x="6483669" y="3078359"/>
              <a:ext cx="502242" cy="502242"/>
              <a:chOff x="7661258" y="3378995"/>
              <a:chExt cx="532946" cy="532946"/>
            </a:xfrm>
          </p:grpSpPr>
          <p:sp>
            <p:nvSpPr>
              <p:cNvPr id="50" name="Oval 49">
                <a:extLst>
                  <a:ext uri="{FF2B5EF4-FFF2-40B4-BE49-F238E27FC236}">
                    <a16:creationId xmlns:a16="http://schemas.microsoft.com/office/drawing/2014/main" id="{10D1AC0E-AC7B-2139-2EE0-35E6DF3D2DD3}"/>
                  </a:ext>
                </a:extLst>
              </p:cNvPr>
              <p:cNvSpPr/>
              <p:nvPr/>
            </p:nvSpPr>
            <p:spPr>
              <a:xfrm>
                <a:off x="7661258" y="3378995"/>
                <a:ext cx="532946" cy="532946"/>
              </a:xfrm>
              <a:prstGeom prst="ellipse">
                <a:avLst/>
              </a:prstGeom>
              <a:solidFill>
                <a:sysClr val="windowText" lastClr="000000">
                  <a:lumMod val="65000"/>
                  <a:lumOff val="35000"/>
                </a:sysClr>
              </a:solidFill>
              <a:ln w="12700" cap="flat" cmpd="sng" algn="ctr">
                <a:noFill/>
                <a:prstDash val="solid"/>
                <a:miter lim="800000"/>
              </a:ln>
              <a:effectLst/>
            </p:spPr>
            <p:txBody>
              <a:bodyPr rtlCol="0" anchor="ctr"/>
              <a:lstStyle/>
              <a:p>
                <a:pPr marL="0" marR="0" lvl="0" indent="0" algn="ctr"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Roboto"/>
                  <a:ea typeface="+mn-ea"/>
                  <a:cs typeface="72 Condensed" panose="020B0506030000000003" pitchFamily="34" charset="0"/>
                </a:endParaRPr>
              </a:p>
            </p:txBody>
          </p:sp>
          <p:sp>
            <p:nvSpPr>
              <p:cNvPr id="51" name="Oval 50">
                <a:extLst>
                  <a:ext uri="{FF2B5EF4-FFF2-40B4-BE49-F238E27FC236}">
                    <a16:creationId xmlns:a16="http://schemas.microsoft.com/office/drawing/2014/main" id="{0E243BCA-8496-A4A1-AE42-E81A5B20F0E2}"/>
                  </a:ext>
                </a:extLst>
              </p:cNvPr>
              <p:cNvSpPr/>
              <p:nvPr/>
            </p:nvSpPr>
            <p:spPr>
              <a:xfrm>
                <a:off x="7711083" y="3428820"/>
                <a:ext cx="433296" cy="433296"/>
              </a:xfrm>
              <a:prstGeom prst="ellipse">
                <a:avLst/>
              </a:prstGeom>
              <a:blipFill>
                <a:blip r:embed="rId6"/>
                <a:stretch>
                  <a:fillRect/>
                </a:stretch>
              </a:blipFill>
              <a:ln w="12700" cap="flat" cmpd="sng" algn="ctr">
                <a:noFill/>
                <a:prstDash val="solid"/>
                <a:miter lim="800000"/>
              </a:ln>
              <a:effectLst/>
            </p:spPr>
            <p:txBody>
              <a:bodyPr lIns="0" tIns="0" rIns="0" bIns="0" rtlCol="0" anchor="ctr" anchorCtr="1"/>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prstClr val="white"/>
                    </a:solidFill>
                    <a:effectLst/>
                    <a:uLnTx/>
                    <a:uFillTx/>
                    <a:latin typeface="Roboto"/>
                    <a:ea typeface="+mn-ea"/>
                    <a:cs typeface="72 Condensed" panose="020B0506030000000003" pitchFamily="34" charset="0"/>
                  </a:rPr>
                  <a:t>5</a:t>
                </a:r>
              </a:p>
            </p:txBody>
          </p:sp>
        </p:grpSp>
      </p:grpSp>
      <p:sp>
        <p:nvSpPr>
          <p:cNvPr id="63" name="Text Placeholder 2">
            <a:extLst>
              <a:ext uri="{FF2B5EF4-FFF2-40B4-BE49-F238E27FC236}">
                <a16:creationId xmlns:a16="http://schemas.microsoft.com/office/drawing/2014/main" id="{18348C0F-90EE-B604-557A-E8D27FF7045F}"/>
              </a:ext>
            </a:extLst>
          </p:cNvPr>
          <p:cNvSpPr txBox="1">
            <a:spLocks/>
          </p:cNvSpPr>
          <p:nvPr/>
        </p:nvSpPr>
        <p:spPr>
          <a:xfrm>
            <a:off x="372373" y="1585061"/>
            <a:ext cx="4030011" cy="876411"/>
          </a:xfrm>
          <a:prstGeom prst="rect">
            <a:avLst/>
          </a:prstGeom>
        </p:spPr>
        <p:txBody>
          <a:bodyPr vert="horz" lIns="0" tIns="0" rIns="0" bIns="0" rtlCol="0" anchor="t">
            <a:noAutofit/>
          </a:bodyPr>
          <a:lstStyle>
            <a:lvl1pPr marL="0" indent="0" algn="l" defTabSz="914400" rtl="0" eaLnBrk="1" latinLnBrk="0" hangingPunct="1">
              <a:lnSpc>
                <a:spcPct val="110000"/>
              </a:lnSpc>
              <a:spcBef>
                <a:spcPts val="1000"/>
              </a:spcBef>
              <a:buClr>
                <a:schemeClr val="accent1"/>
              </a:buClr>
              <a:buFontTx/>
              <a:buNone/>
              <a:defRPr sz="1800" b="1" kern="1200">
                <a:solidFill>
                  <a:schemeClr val="tx2"/>
                </a:solidFill>
                <a:latin typeface="+mn-lt"/>
                <a:ea typeface="+mn-ea"/>
                <a:cs typeface="+mn-cs"/>
              </a:defRPr>
            </a:lvl1pPr>
            <a:lvl2pPr marL="468000" indent="-228600" algn="l" defTabSz="914400" rtl="0" eaLnBrk="1" latinLnBrk="0" hangingPunct="1">
              <a:lnSpc>
                <a:spcPct val="110000"/>
              </a:lnSpc>
              <a:spcBef>
                <a:spcPts val="600"/>
              </a:spcBef>
              <a:buClr>
                <a:schemeClr val="accent1"/>
              </a:buClr>
              <a:buFont typeface="Wingdings" panose="05000000000000000000" pitchFamily="2" charset="2"/>
              <a:buChar char="§"/>
              <a:defRPr sz="1600" kern="1200">
                <a:solidFill>
                  <a:schemeClr val="tx1"/>
                </a:solidFill>
                <a:latin typeface="+mn-lt"/>
                <a:ea typeface="+mn-ea"/>
                <a:cs typeface="+mn-cs"/>
              </a:defRPr>
            </a:lvl2pPr>
            <a:lvl3pPr marL="702000" indent="-228600" algn="l" defTabSz="914400" rtl="0" eaLnBrk="1" latinLnBrk="0" hangingPunct="1">
              <a:lnSpc>
                <a:spcPct val="110000"/>
              </a:lnSpc>
              <a:spcBef>
                <a:spcPts val="600"/>
              </a:spcBef>
              <a:buClr>
                <a:schemeClr val="accent1"/>
              </a:buClr>
              <a:buFont typeface="Wingdings" panose="05000000000000000000" pitchFamily="2" charset="2"/>
              <a:buChar char="§"/>
              <a:defRPr sz="1600" kern="1200">
                <a:solidFill>
                  <a:schemeClr val="tx1"/>
                </a:solidFill>
                <a:latin typeface="+mn-lt"/>
                <a:ea typeface="+mn-ea"/>
                <a:cs typeface="+mn-cs"/>
              </a:defRPr>
            </a:lvl3pPr>
            <a:lvl4pPr marL="936000" indent="-228600" algn="l" defTabSz="914400" rtl="0" eaLnBrk="1" latinLnBrk="0" hangingPunct="1">
              <a:lnSpc>
                <a:spcPct val="11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1152000" indent="-228600" algn="l" defTabSz="914400" rtl="0" eaLnBrk="1" latinLnBrk="0" hangingPunct="1">
              <a:lnSpc>
                <a:spcPct val="11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9pPr>
          </a:lstStyle>
          <a:p>
            <a:r>
              <a:rPr lang="en-GB" sz="2400">
                <a:solidFill>
                  <a:srgbClr val="F5821E"/>
                </a:solidFill>
                <a:latin typeface="Roboto"/>
                <a:ea typeface="Roboto"/>
                <a:cs typeface="Roboto"/>
              </a:rPr>
              <a:t>PRACTICAL</a:t>
            </a:r>
            <a:r>
              <a:rPr lang="en-GB" sz="2000">
                <a:solidFill>
                  <a:srgbClr val="F5821E"/>
                </a:solidFill>
                <a:latin typeface="Roboto"/>
                <a:ea typeface="Roboto"/>
                <a:cs typeface="Roboto"/>
              </a:rPr>
              <a:t> MANAGEMENT SUPERVISION &amp; INFLUENCE</a:t>
            </a:r>
          </a:p>
        </p:txBody>
      </p:sp>
      <p:grpSp>
        <p:nvGrpSpPr>
          <p:cNvPr id="66" name="Group 65">
            <a:extLst>
              <a:ext uri="{FF2B5EF4-FFF2-40B4-BE49-F238E27FC236}">
                <a16:creationId xmlns:a16="http://schemas.microsoft.com/office/drawing/2014/main" id="{1652F784-A1DB-F734-04C1-5FBA43EA3FD3}"/>
              </a:ext>
            </a:extLst>
          </p:cNvPr>
          <p:cNvGrpSpPr/>
          <p:nvPr/>
        </p:nvGrpSpPr>
        <p:grpSpPr>
          <a:xfrm>
            <a:off x="4545949" y="2126515"/>
            <a:ext cx="1835089" cy="1076975"/>
            <a:chOff x="4716172" y="2060889"/>
            <a:chExt cx="1835089" cy="1076975"/>
          </a:xfrm>
        </p:grpSpPr>
        <p:grpSp>
          <p:nvGrpSpPr>
            <p:cNvPr id="60" name="Group 59">
              <a:extLst>
                <a:ext uri="{FF2B5EF4-FFF2-40B4-BE49-F238E27FC236}">
                  <a16:creationId xmlns:a16="http://schemas.microsoft.com/office/drawing/2014/main" id="{432B54B8-F4AF-7890-41FA-5D687B78735E}"/>
                </a:ext>
              </a:extLst>
            </p:cNvPr>
            <p:cNvGrpSpPr/>
            <p:nvPr/>
          </p:nvGrpSpPr>
          <p:grpSpPr>
            <a:xfrm>
              <a:off x="5045327" y="2060889"/>
              <a:ext cx="1505934" cy="720000"/>
              <a:chOff x="2654609" y="1819311"/>
              <a:chExt cx="1505934" cy="720000"/>
            </a:xfrm>
          </p:grpSpPr>
          <p:pic>
            <p:nvPicPr>
              <p:cNvPr id="30" name="Picture 29">
                <a:extLst>
                  <a:ext uri="{FF2B5EF4-FFF2-40B4-BE49-F238E27FC236}">
                    <a16:creationId xmlns:a16="http://schemas.microsoft.com/office/drawing/2014/main" id="{BC6A3B20-668D-8084-7C18-9AAA5E6C043E}"/>
                  </a:ext>
                </a:extLst>
              </p:cNvPr>
              <p:cNvPicPr>
                <a:picLocks noChangeAspect="1"/>
              </p:cNvPicPr>
              <p:nvPr/>
            </p:nvPicPr>
            <p:blipFill rotWithShape="1">
              <a:blip r:embed="rId7"/>
              <a:srcRect r="40112" b="18565"/>
              <a:stretch/>
            </p:blipFill>
            <p:spPr>
              <a:xfrm>
                <a:off x="2654609" y="1819311"/>
                <a:ext cx="1505934" cy="720000"/>
              </a:xfrm>
              <a:prstGeom prst="rect">
                <a:avLst/>
              </a:prstGeom>
            </p:spPr>
          </p:pic>
          <p:sp>
            <p:nvSpPr>
              <p:cNvPr id="42" name="Pladsholder til tekst 10">
                <a:extLst>
                  <a:ext uri="{FF2B5EF4-FFF2-40B4-BE49-F238E27FC236}">
                    <a16:creationId xmlns:a16="http://schemas.microsoft.com/office/drawing/2014/main" id="{64AECC46-8BDC-1653-A6A1-0F3EAAD170CF}"/>
                  </a:ext>
                </a:extLst>
              </p:cNvPr>
              <p:cNvSpPr txBox="1">
                <a:spLocks/>
              </p:cNvSpPr>
              <p:nvPr/>
            </p:nvSpPr>
            <p:spPr>
              <a:xfrm rot="16200000">
                <a:off x="2342627" y="2166109"/>
                <a:ext cx="688371" cy="55513"/>
              </a:xfrm>
              <a:prstGeom prst="rect">
                <a:avLst/>
              </a:prstGeom>
            </p:spPr>
            <p:txBody>
              <a:bodyPr vert="horz" wrap="none" lIns="0" tIns="0" rIns="0" bIns="0" rtlCol="0" anchor="b">
                <a:noAutofit/>
              </a:bodyPr>
              <a:lstStyle>
                <a:lvl1pPr marL="0" indent="0" algn="l" defTabSz="914400" rtl="0" eaLnBrk="1" latinLnBrk="0" hangingPunct="1">
                  <a:lnSpc>
                    <a:spcPct val="110000"/>
                  </a:lnSpc>
                  <a:spcBef>
                    <a:spcPts val="1000"/>
                  </a:spcBef>
                  <a:buClr>
                    <a:schemeClr val="accent1"/>
                  </a:buClr>
                  <a:buFontTx/>
                  <a:buNone/>
                  <a:defRPr sz="1400" b="1" kern="1200">
                    <a:solidFill>
                      <a:schemeClr val="tx2"/>
                    </a:solidFill>
                    <a:latin typeface="Roboto" panose="02000000000000000000" pitchFamily="2" charset="0"/>
                    <a:ea typeface="Roboto" panose="02000000000000000000" pitchFamily="2" charset="0"/>
                    <a:cs typeface="Roboto Black" panose="02000000000000000000" pitchFamily="2" charset="0"/>
                  </a:defRPr>
                </a:lvl1pPr>
                <a:lvl2pPr marL="457200" indent="0" algn="l" defTabSz="914400" rtl="0" eaLnBrk="1" latinLnBrk="0" hangingPunct="1">
                  <a:lnSpc>
                    <a:spcPct val="110000"/>
                  </a:lnSpc>
                  <a:spcBef>
                    <a:spcPts val="600"/>
                  </a:spcBef>
                  <a:buClr>
                    <a:schemeClr val="accent1"/>
                  </a:buClr>
                  <a:buFontTx/>
                  <a:buNone/>
                  <a:defRPr sz="1600" kern="1200">
                    <a:solidFill>
                      <a:schemeClr val="tx2"/>
                    </a:solidFill>
                    <a:latin typeface="+mn-lt"/>
                    <a:ea typeface="+mn-ea"/>
                    <a:cs typeface="+mn-cs"/>
                  </a:defRPr>
                </a:lvl2pPr>
                <a:lvl3pPr marL="914400" indent="0" algn="l" defTabSz="914400" rtl="0" eaLnBrk="1" latinLnBrk="0" hangingPunct="1">
                  <a:lnSpc>
                    <a:spcPct val="110000"/>
                  </a:lnSpc>
                  <a:spcBef>
                    <a:spcPts val="600"/>
                  </a:spcBef>
                  <a:buClr>
                    <a:schemeClr val="accent1"/>
                  </a:buClr>
                  <a:buFontTx/>
                  <a:buNone/>
                  <a:defRPr sz="1600" kern="1200">
                    <a:solidFill>
                      <a:schemeClr val="tx2"/>
                    </a:solidFill>
                    <a:latin typeface="+mn-lt"/>
                    <a:ea typeface="+mn-ea"/>
                    <a:cs typeface="+mn-cs"/>
                  </a:defRPr>
                </a:lvl3pPr>
                <a:lvl4pPr marL="1371600" indent="0" algn="l" defTabSz="914400" rtl="0" eaLnBrk="1" latinLnBrk="0" hangingPunct="1">
                  <a:lnSpc>
                    <a:spcPct val="110000"/>
                  </a:lnSpc>
                  <a:spcBef>
                    <a:spcPts val="600"/>
                  </a:spcBef>
                  <a:buClr>
                    <a:schemeClr val="accent1"/>
                  </a:buClr>
                  <a:buFontTx/>
                  <a:buNone/>
                  <a:defRPr sz="1400" kern="1200">
                    <a:solidFill>
                      <a:schemeClr val="tx2"/>
                    </a:solidFill>
                    <a:latin typeface="+mn-lt"/>
                    <a:ea typeface="+mn-ea"/>
                    <a:cs typeface="+mn-cs"/>
                  </a:defRPr>
                </a:lvl4pPr>
                <a:lvl5pPr marL="1828800" indent="0" algn="l" defTabSz="914400" rtl="0" eaLnBrk="1" latinLnBrk="0" hangingPunct="1">
                  <a:lnSpc>
                    <a:spcPct val="110000"/>
                  </a:lnSpc>
                  <a:spcBef>
                    <a:spcPts val="600"/>
                  </a:spcBef>
                  <a:buClr>
                    <a:schemeClr val="accent1"/>
                  </a:buClr>
                  <a:buFontTx/>
                  <a:buNone/>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00326E"/>
                  </a:buClr>
                  <a:defRPr/>
                </a:pPr>
                <a:r>
                  <a:rPr lang="en-GB" sz="3200">
                    <a:solidFill>
                      <a:srgbClr val="00326E"/>
                    </a:solidFill>
                    <a:latin typeface="Roboto"/>
                    <a:ea typeface="Roboto"/>
                    <a:cs typeface="Roboto"/>
                  </a:rPr>
                  <a:t>EHS</a:t>
                </a:r>
              </a:p>
            </p:txBody>
          </p:sp>
        </p:grpSp>
        <p:sp>
          <p:nvSpPr>
            <p:cNvPr id="64" name="Text Placeholder 2">
              <a:extLst>
                <a:ext uri="{FF2B5EF4-FFF2-40B4-BE49-F238E27FC236}">
                  <a16:creationId xmlns:a16="http://schemas.microsoft.com/office/drawing/2014/main" id="{D9D34CF5-9978-C9A6-E7A0-2F4782592DDC}"/>
                </a:ext>
              </a:extLst>
            </p:cNvPr>
            <p:cNvSpPr txBox="1">
              <a:spLocks/>
            </p:cNvSpPr>
            <p:nvPr/>
          </p:nvSpPr>
          <p:spPr>
            <a:xfrm>
              <a:off x="4716172" y="2769452"/>
              <a:ext cx="1743711" cy="368412"/>
            </a:xfrm>
            <a:prstGeom prst="rect">
              <a:avLst/>
            </a:prstGeom>
          </p:spPr>
          <p:txBody>
            <a:bodyPr vert="horz" lIns="0" tIns="0" rIns="0" bIns="0" rtlCol="0">
              <a:noAutofit/>
            </a:bodyPr>
            <a:lstStyle>
              <a:lvl1pPr marL="0" indent="0" algn="l" defTabSz="914400" rtl="0" eaLnBrk="1" latinLnBrk="0" hangingPunct="1">
                <a:lnSpc>
                  <a:spcPct val="110000"/>
                </a:lnSpc>
                <a:spcBef>
                  <a:spcPts val="1000"/>
                </a:spcBef>
                <a:buClr>
                  <a:schemeClr val="accent1"/>
                </a:buClr>
                <a:buFontTx/>
                <a:buNone/>
                <a:defRPr sz="1800" b="1" kern="1200">
                  <a:solidFill>
                    <a:schemeClr val="tx2"/>
                  </a:solidFill>
                  <a:latin typeface="+mn-lt"/>
                  <a:ea typeface="+mn-ea"/>
                  <a:cs typeface="+mn-cs"/>
                </a:defRPr>
              </a:lvl1pPr>
              <a:lvl2pPr marL="468000" indent="-228600" algn="l" defTabSz="914400" rtl="0" eaLnBrk="1" latinLnBrk="0" hangingPunct="1">
                <a:lnSpc>
                  <a:spcPct val="110000"/>
                </a:lnSpc>
                <a:spcBef>
                  <a:spcPts val="600"/>
                </a:spcBef>
                <a:buClr>
                  <a:schemeClr val="accent1"/>
                </a:buClr>
                <a:buFont typeface="Wingdings" panose="05000000000000000000" pitchFamily="2" charset="2"/>
                <a:buChar char="§"/>
                <a:defRPr sz="1600" kern="1200">
                  <a:solidFill>
                    <a:schemeClr val="tx1"/>
                  </a:solidFill>
                  <a:latin typeface="+mn-lt"/>
                  <a:ea typeface="+mn-ea"/>
                  <a:cs typeface="+mn-cs"/>
                </a:defRPr>
              </a:lvl2pPr>
              <a:lvl3pPr marL="702000" indent="-228600" algn="l" defTabSz="914400" rtl="0" eaLnBrk="1" latinLnBrk="0" hangingPunct="1">
                <a:lnSpc>
                  <a:spcPct val="110000"/>
                </a:lnSpc>
                <a:spcBef>
                  <a:spcPts val="600"/>
                </a:spcBef>
                <a:buClr>
                  <a:schemeClr val="accent1"/>
                </a:buClr>
                <a:buFont typeface="Wingdings" panose="05000000000000000000" pitchFamily="2" charset="2"/>
                <a:buChar char="§"/>
                <a:defRPr sz="1600" kern="1200">
                  <a:solidFill>
                    <a:schemeClr val="tx1"/>
                  </a:solidFill>
                  <a:latin typeface="+mn-lt"/>
                  <a:ea typeface="+mn-ea"/>
                  <a:cs typeface="+mn-cs"/>
                </a:defRPr>
              </a:lvl3pPr>
              <a:lvl4pPr marL="936000" indent="-228600" algn="l" defTabSz="914400" rtl="0" eaLnBrk="1" latinLnBrk="0" hangingPunct="1">
                <a:lnSpc>
                  <a:spcPct val="11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1152000" indent="-228600" algn="l" defTabSz="914400" rtl="0" eaLnBrk="1" latinLnBrk="0" hangingPunct="1">
                <a:lnSpc>
                  <a:spcPct val="11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9pPr>
            </a:lstStyle>
            <a:p>
              <a:pPr algn="ctr"/>
              <a:r>
                <a:rPr lang="en-GB" sz="1400">
                  <a:latin typeface="Roboto"/>
                  <a:ea typeface="Roboto"/>
                  <a:cs typeface="Roboto"/>
                </a:rPr>
                <a:t>Learning &amp; Development</a:t>
              </a:r>
            </a:p>
          </p:txBody>
        </p:sp>
      </p:grpSp>
      <p:grpSp>
        <p:nvGrpSpPr>
          <p:cNvPr id="75" name="Group 74">
            <a:extLst>
              <a:ext uri="{FF2B5EF4-FFF2-40B4-BE49-F238E27FC236}">
                <a16:creationId xmlns:a16="http://schemas.microsoft.com/office/drawing/2014/main" id="{F4B063A1-5065-720E-58E0-5886B56DF738}"/>
              </a:ext>
            </a:extLst>
          </p:cNvPr>
          <p:cNvGrpSpPr/>
          <p:nvPr/>
        </p:nvGrpSpPr>
        <p:grpSpPr>
          <a:xfrm>
            <a:off x="9673217" y="1908129"/>
            <a:ext cx="2089926" cy="1611511"/>
            <a:chOff x="9673217" y="1908129"/>
            <a:chExt cx="2089926" cy="1611511"/>
          </a:xfrm>
        </p:grpSpPr>
        <p:pic>
          <p:nvPicPr>
            <p:cNvPr id="20" name="Picture 19" descr="A blue truck with a crane on the back&#10;&#10;Description automatically generated">
              <a:extLst>
                <a:ext uri="{FF2B5EF4-FFF2-40B4-BE49-F238E27FC236}">
                  <a16:creationId xmlns:a16="http://schemas.microsoft.com/office/drawing/2014/main" id="{C3DB6E3D-D85C-2D4A-E3F2-1B0D186AA4E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673217" y="1908129"/>
              <a:ext cx="2089926" cy="1306204"/>
            </a:xfrm>
            <a:prstGeom prst="rect">
              <a:avLst/>
            </a:prstGeom>
          </p:spPr>
        </p:pic>
        <p:sp>
          <p:nvSpPr>
            <p:cNvPr id="65" name="Text Placeholder 2">
              <a:extLst>
                <a:ext uri="{FF2B5EF4-FFF2-40B4-BE49-F238E27FC236}">
                  <a16:creationId xmlns:a16="http://schemas.microsoft.com/office/drawing/2014/main" id="{B2AF22A7-D04B-0F76-9942-6A5E202832F2}"/>
                </a:ext>
              </a:extLst>
            </p:cNvPr>
            <p:cNvSpPr txBox="1">
              <a:spLocks/>
            </p:cNvSpPr>
            <p:nvPr/>
          </p:nvSpPr>
          <p:spPr>
            <a:xfrm>
              <a:off x="9845529" y="3018101"/>
              <a:ext cx="651387" cy="368412"/>
            </a:xfrm>
            <a:prstGeom prst="rect">
              <a:avLst/>
            </a:prstGeom>
          </p:spPr>
          <p:txBody>
            <a:bodyPr vert="horz" lIns="0" tIns="0" rIns="0" bIns="0" rtlCol="0">
              <a:noAutofit/>
            </a:bodyPr>
            <a:lstStyle>
              <a:lvl1pPr marL="0" indent="0" algn="l" defTabSz="914400" rtl="0" eaLnBrk="1" latinLnBrk="0" hangingPunct="1">
                <a:lnSpc>
                  <a:spcPct val="110000"/>
                </a:lnSpc>
                <a:spcBef>
                  <a:spcPts val="1000"/>
                </a:spcBef>
                <a:buClr>
                  <a:schemeClr val="accent1"/>
                </a:buClr>
                <a:buFontTx/>
                <a:buNone/>
                <a:defRPr sz="1800" b="1" kern="1200">
                  <a:solidFill>
                    <a:schemeClr val="tx2"/>
                  </a:solidFill>
                  <a:latin typeface="+mn-lt"/>
                  <a:ea typeface="+mn-ea"/>
                  <a:cs typeface="+mn-cs"/>
                </a:defRPr>
              </a:lvl1pPr>
              <a:lvl2pPr marL="468000" indent="-228600" algn="l" defTabSz="914400" rtl="0" eaLnBrk="1" latinLnBrk="0" hangingPunct="1">
                <a:lnSpc>
                  <a:spcPct val="110000"/>
                </a:lnSpc>
                <a:spcBef>
                  <a:spcPts val="600"/>
                </a:spcBef>
                <a:buClr>
                  <a:schemeClr val="accent1"/>
                </a:buClr>
                <a:buFont typeface="Wingdings" panose="05000000000000000000" pitchFamily="2" charset="2"/>
                <a:buChar char="§"/>
                <a:defRPr sz="1600" kern="1200">
                  <a:solidFill>
                    <a:schemeClr val="tx1"/>
                  </a:solidFill>
                  <a:latin typeface="+mn-lt"/>
                  <a:ea typeface="+mn-ea"/>
                  <a:cs typeface="+mn-cs"/>
                </a:defRPr>
              </a:lvl2pPr>
              <a:lvl3pPr marL="702000" indent="-228600" algn="l" defTabSz="914400" rtl="0" eaLnBrk="1" latinLnBrk="0" hangingPunct="1">
                <a:lnSpc>
                  <a:spcPct val="110000"/>
                </a:lnSpc>
                <a:spcBef>
                  <a:spcPts val="600"/>
                </a:spcBef>
                <a:buClr>
                  <a:schemeClr val="accent1"/>
                </a:buClr>
                <a:buFont typeface="Wingdings" panose="05000000000000000000" pitchFamily="2" charset="2"/>
                <a:buChar char="§"/>
                <a:defRPr sz="1600" kern="1200">
                  <a:solidFill>
                    <a:schemeClr val="tx1"/>
                  </a:solidFill>
                  <a:latin typeface="+mn-lt"/>
                  <a:ea typeface="+mn-ea"/>
                  <a:cs typeface="+mn-cs"/>
                </a:defRPr>
              </a:lvl3pPr>
              <a:lvl4pPr marL="936000" indent="-228600" algn="l" defTabSz="914400" rtl="0" eaLnBrk="1" latinLnBrk="0" hangingPunct="1">
                <a:lnSpc>
                  <a:spcPct val="11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1152000" indent="-228600" algn="l" defTabSz="914400" rtl="0" eaLnBrk="1" latinLnBrk="0" hangingPunct="1">
                <a:lnSpc>
                  <a:spcPct val="11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9pPr>
            </a:lstStyle>
            <a:p>
              <a:pPr algn="ctr"/>
              <a:r>
                <a:rPr lang="en-GB" sz="1400">
                  <a:latin typeface="Roboto"/>
                  <a:ea typeface="Roboto"/>
                  <a:cs typeface="Roboto"/>
                </a:rPr>
                <a:t>Driver</a:t>
              </a:r>
            </a:p>
          </p:txBody>
        </p:sp>
        <p:sp>
          <p:nvSpPr>
            <p:cNvPr id="67" name="Text Placeholder 2">
              <a:extLst>
                <a:ext uri="{FF2B5EF4-FFF2-40B4-BE49-F238E27FC236}">
                  <a16:creationId xmlns:a16="http://schemas.microsoft.com/office/drawing/2014/main" id="{13629CA4-3E64-5950-3993-FDCDACC319D1}"/>
                </a:ext>
              </a:extLst>
            </p:cNvPr>
            <p:cNvSpPr txBox="1">
              <a:spLocks/>
            </p:cNvSpPr>
            <p:nvPr/>
          </p:nvSpPr>
          <p:spPr>
            <a:xfrm>
              <a:off x="10256858" y="3151228"/>
              <a:ext cx="719183" cy="368412"/>
            </a:xfrm>
            <a:prstGeom prst="rect">
              <a:avLst/>
            </a:prstGeom>
          </p:spPr>
          <p:txBody>
            <a:bodyPr vert="horz" lIns="0" tIns="0" rIns="0" bIns="0" rtlCol="0">
              <a:noAutofit/>
            </a:bodyPr>
            <a:lstStyle>
              <a:lvl1pPr marL="0" indent="0" algn="l" defTabSz="914400" rtl="0" eaLnBrk="1" latinLnBrk="0" hangingPunct="1">
                <a:lnSpc>
                  <a:spcPct val="110000"/>
                </a:lnSpc>
                <a:spcBef>
                  <a:spcPts val="1000"/>
                </a:spcBef>
                <a:buClr>
                  <a:schemeClr val="accent1"/>
                </a:buClr>
                <a:buFontTx/>
                <a:buNone/>
                <a:defRPr sz="1800" b="1" kern="1200">
                  <a:solidFill>
                    <a:schemeClr val="tx2"/>
                  </a:solidFill>
                  <a:latin typeface="+mn-lt"/>
                  <a:ea typeface="+mn-ea"/>
                  <a:cs typeface="+mn-cs"/>
                </a:defRPr>
              </a:lvl1pPr>
              <a:lvl2pPr marL="468000" indent="-228600" algn="l" defTabSz="914400" rtl="0" eaLnBrk="1" latinLnBrk="0" hangingPunct="1">
                <a:lnSpc>
                  <a:spcPct val="110000"/>
                </a:lnSpc>
                <a:spcBef>
                  <a:spcPts val="600"/>
                </a:spcBef>
                <a:buClr>
                  <a:schemeClr val="accent1"/>
                </a:buClr>
                <a:buFont typeface="Wingdings" panose="05000000000000000000" pitchFamily="2" charset="2"/>
                <a:buChar char="§"/>
                <a:defRPr sz="1600" kern="1200">
                  <a:solidFill>
                    <a:schemeClr val="tx1"/>
                  </a:solidFill>
                  <a:latin typeface="+mn-lt"/>
                  <a:ea typeface="+mn-ea"/>
                  <a:cs typeface="+mn-cs"/>
                </a:defRPr>
              </a:lvl2pPr>
              <a:lvl3pPr marL="702000" indent="-228600" algn="l" defTabSz="914400" rtl="0" eaLnBrk="1" latinLnBrk="0" hangingPunct="1">
                <a:lnSpc>
                  <a:spcPct val="110000"/>
                </a:lnSpc>
                <a:spcBef>
                  <a:spcPts val="600"/>
                </a:spcBef>
                <a:buClr>
                  <a:schemeClr val="accent1"/>
                </a:buClr>
                <a:buFont typeface="Wingdings" panose="05000000000000000000" pitchFamily="2" charset="2"/>
                <a:buChar char="§"/>
                <a:defRPr sz="1600" kern="1200">
                  <a:solidFill>
                    <a:schemeClr val="tx1"/>
                  </a:solidFill>
                  <a:latin typeface="+mn-lt"/>
                  <a:ea typeface="+mn-ea"/>
                  <a:cs typeface="+mn-cs"/>
                </a:defRPr>
              </a:lvl3pPr>
              <a:lvl4pPr marL="936000" indent="-228600" algn="l" defTabSz="914400" rtl="0" eaLnBrk="1" latinLnBrk="0" hangingPunct="1">
                <a:lnSpc>
                  <a:spcPct val="11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1152000" indent="-228600" algn="l" defTabSz="914400" rtl="0" eaLnBrk="1" latinLnBrk="0" hangingPunct="1">
                <a:lnSpc>
                  <a:spcPct val="11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9pPr>
            </a:lstStyle>
            <a:p>
              <a:pPr algn="ctr"/>
              <a:r>
                <a:rPr lang="en-GB" sz="1400">
                  <a:latin typeface="Roboto"/>
                  <a:ea typeface="Roboto"/>
                  <a:cs typeface="Roboto"/>
                </a:rPr>
                <a:t>Activity</a:t>
              </a:r>
            </a:p>
          </p:txBody>
        </p:sp>
      </p:grpSp>
      <p:grpSp>
        <p:nvGrpSpPr>
          <p:cNvPr id="74" name="Group 73">
            <a:extLst>
              <a:ext uri="{FF2B5EF4-FFF2-40B4-BE49-F238E27FC236}">
                <a16:creationId xmlns:a16="http://schemas.microsoft.com/office/drawing/2014/main" id="{4B067DB1-90B1-6D31-EE01-46630397D02C}"/>
              </a:ext>
            </a:extLst>
          </p:cNvPr>
          <p:cNvGrpSpPr/>
          <p:nvPr/>
        </p:nvGrpSpPr>
        <p:grpSpPr>
          <a:xfrm>
            <a:off x="7129919" y="330562"/>
            <a:ext cx="1773922" cy="1260000"/>
            <a:chOff x="7129919" y="330562"/>
            <a:chExt cx="1773922" cy="1260000"/>
          </a:xfrm>
        </p:grpSpPr>
        <p:pic>
          <p:nvPicPr>
            <p:cNvPr id="19" name="Picture 18">
              <a:extLst>
                <a:ext uri="{FF2B5EF4-FFF2-40B4-BE49-F238E27FC236}">
                  <a16:creationId xmlns:a16="http://schemas.microsoft.com/office/drawing/2014/main" id="{6C2C63BB-4C41-6A99-B0B5-56F7AE9995FC}"/>
                </a:ext>
              </a:extLst>
            </p:cNvPr>
            <p:cNvPicPr>
              <a:picLocks noChangeAspect="1"/>
            </p:cNvPicPr>
            <p:nvPr/>
          </p:nvPicPr>
          <p:blipFill>
            <a:blip r:embed="rId9"/>
            <a:stretch>
              <a:fillRect/>
            </a:stretch>
          </p:blipFill>
          <p:spPr>
            <a:xfrm>
              <a:off x="7255848" y="330562"/>
              <a:ext cx="1647993" cy="1260000"/>
            </a:xfrm>
            <a:prstGeom prst="rect">
              <a:avLst/>
            </a:prstGeom>
          </p:spPr>
        </p:pic>
        <p:sp>
          <p:nvSpPr>
            <p:cNvPr id="68" name="Text Placeholder 2">
              <a:extLst>
                <a:ext uri="{FF2B5EF4-FFF2-40B4-BE49-F238E27FC236}">
                  <a16:creationId xmlns:a16="http://schemas.microsoft.com/office/drawing/2014/main" id="{4A1DA4B4-916A-3D44-1231-2EFC7BB181A2}"/>
                </a:ext>
              </a:extLst>
            </p:cNvPr>
            <p:cNvSpPr txBox="1">
              <a:spLocks/>
            </p:cNvSpPr>
            <p:nvPr/>
          </p:nvSpPr>
          <p:spPr>
            <a:xfrm>
              <a:off x="7129919" y="1143789"/>
              <a:ext cx="651387" cy="368412"/>
            </a:xfrm>
            <a:prstGeom prst="rect">
              <a:avLst/>
            </a:prstGeom>
          </p:spPr>
          <p:txBody>
            <a:bodyPr vert="horz" lIns="0" tIns="0" rIns="0" bIns="0" rtlCol="0">
              <a:noAutofit/>
            </a:bodyPr>
            <a:lstStyle>
              <a:lvl1pPr marL="0" indent="0" algn="l" defTabSz="914400" rtl="0" eaLnBrk="1" latinLnBrk="0" hangingPunct="1">
                <a:lnSpc>
                  <a:spcPct val="110000"/>
                </a:lnSpc>
                <a:spcBef>
                  <a:spcPts val="1000"/>
                </a:spcBef>
                <a:buClr>
                  <a:schemeClr val="accent1"/>
                </a:buClr>
                <a:buFontTx/>
                <a:buNone/>
                <a:defRPr sz="1800" b="1" kern="1200">
                  <a:solidFill>
                    <a:schemeClr val="tx2"/>
                  </a:solidFill>
                  <a:latin typeface="+mn-lt"/>
                  <a:ea typeface="+mn-ea"/>
                  <a:cs typeface="+mn-cs"/>
                </a:defRPr>
              </a:lvl1pPr>
              <a:lvl2pPr marL="468000" indent="-228600" algn="l" defTabSz="914400" rtl="0" eaLnBrk="1" latinLnBrk="0" hangingPunct="1">
                <a:lnSpc>
                  <a:spcPct val="110000"/>
                </a:lnSpc>
                <a:spcBef>
                  <a:spcPts val="600"/>
                </a:spcBef>
                <a:buClr>
                  <a:schemeClr val="accent1"/>
                </a:buClr>
                <a:buFont typeface="Wingdings" panose="05000000000000000000" pitchFamily="2" charset="2"/>
                <a:buChar char="§"/>
                <a:defRPr sz="1600" kern="1200">
                  <a:solidFill>
                    <a:schemeClr val="tx1"/>
                  </a:solidFill>
                  <a:latin typeface="+mn-lt"/>
                  <a:ea typeface="+mn-ea"/>
                  <a:cs typeface="+mn-cs"/>
                </a:defRPr>
              </a:lvl2pPr>
              <a:lvl3pPr marL="702000" indent="-228600" algn="l" defTabSz="914400" rtl="0" eaLnBrk="1" latinLnBrk="0" hangingPunct="1">
                <a:lnSpc>
                  <a:spcPct val="110000"/>
                </a:lnSpc>
                <a:spcBef>
                  <a:spcPts val="600"/>
                </a:spcBef>
                <a:buClr>
                  <a:schemeClr val="accent1"/>
                </a:buClr>
                <a:buFont typeface="Wingdings" panose="05000000000000000000" pitchFamily="2" charset="2"/>
                <a:buChar char="§"/>
                <a:defRPr sz="1600" kern="1200">
                  <a:solidFill>
                    <a:schemeClr val="tx1"/>
                  </a:solidFill>
                  <a:latin typeface="+mn-lt"/>
                  <a:ea typeface="+mn-ea"/>
                  <a:cs typeface="+mn-cs"/>
                </a:defRPr>
              </a:lvl3pPr>
              <a:lvl4pPr marL="936000" indent="-228600" algn="l" defTabSz="914400" rtl="0" eaLnBrk="1" latinLnBrk="0" hangingPunct="1">
                <a:lnSpc>
                  <a:spcPct val="11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1152000" indent="-228600" algn="l" defTabSz="914400" rtl="0" eaLnBrk="1" latinLnBrk="0" hangingPunct="1">
                <a:lnSpc>
                  <a:spcPct val="11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9pPr>
            </a:lstStyle>
            <a:p>
              <a:pPr algn="ctr"/>
              <a:r>
                <a:rPr lang="en-GB" sz="1400">
                  <a:latin typeface="Roboto"/>
                  <a:ea typeface="Roboto"/>
                  <a:cs typeface="Roboto"/>
                </a:rPr>
                <a:t>Safety</a:t>
              </a:r>
            </a:p>
          </p:txBody>
        </p:sp>
        <p:sp>
          <p:nvSpPr>
            <p:cNvPr id="69" name="Text Placeholder 2">
              <a:extLst>
                <a:ext uri="{FF2B5EF4-FFF2-40B4-BE49-F238E27FC236}">
                  <a16:creationId xmlns:a16="http://schemas.microsoft.com/office/drawing/2014/main" id="{E5BED4F0-6F2F-2660-699F-E74F8789A756}"/>
                </a:ext>
              </a:extLst>
            </p:cNvPr>
            <p:cNvSpPr txBox="1">
              <a:spLocks/>
            </p:cNvSpPr>
            <p:nvPr/>
          </p:nvSpPr>
          <p:spPr>
            <a:xfrm>
              <a:off x="7204115" y="977976"/>
              <a:ext cx="651387" cy="368412"/>
            </a:xfrm>
            <a:prstGeom prst="rect">
              <a:avLst/>
            </a:prstGeom>
          </p:spPr>
          <p:txBody>
            <a:bodyPr vert="horz" lIns="0" tIns="0" rIns="0" bIns="0" rtlCol="0">
              <a:noAutofit/>
            </a:bodyPr>
            <a:lstStyle>
              <a:lvl1pPr marL="0" indent="0" algn="l" defTabSz="914400" rtl="0" eaLnBrk="1" latinLnBrk="0" hangingPunct="1">
                <a:lnSpc>
                  <a:spcPct val="110000"/>
                </a:lnSpc>
                <a:spcBef>
                  <a:spcPts val="1000"/>
                </a:spcBef>
                <a:buClr>
                  <a:schemeClr val="accent1"/>
                </a:buClr>
                <a:buFontTx/>
                <a:buNone/>
                <a:defRPr sz="1800" b="1" kern="1200">
                  <a:solidFill>
                    <a:schemeClr val="tx2"/>
                  </a:solidFill>
                  <a:latin typeface="+mn-lt"/>
                  <a:ea typeface="+mn-ea"/>
                  <a:cs typeface="+mn-cs"/>
                </a:defRPr>
              </a:lvl1pPr>
              <a:lvl2pPr marL="468000" indent="-228600" algn="l" defTabSz="914400" rtl="0" eaLnBrk="1" latinLnBrk="0" hangingPunct="1">
                <a:lnSpc>
                  <a:spcPct val="110000"/>
                </a:lnSpc>
                <a:spcBef>
                  <a:spcPts val="600"/>
                </a:spcBef>
                <a:buClr>
                  <a:schemeClr val="accent1"/>
                </a:buClr>
                <a:buFont typeface="Wingdings" panose="05000000000000000000" pitchFamily="2" charset="2"/>
                <a:buChar char="§"/>
                <a:defRPr sz="1600" kern="1200">
                  <a:solidFill>
                    <a:schemeClr val="tx1"/>
                  </a:solidFill>
                  <a:latin typeface="+mn-lt"/>
                  <a:ea typeface="+mn-ea"/>
                  <a:cs typeface="+mn-cs"/>
                </a:defRPr>
              </a:lvl2pPr>
              <a:lvl3pPr marL="702000" indent="-228600" algn="l" defTabSz="914400" rtl="0" eaLnBrk="1" latinLnBrk="0" hangingPunct="1">
                <a:lnSpc>
                  <a:spcPct val="110000"/>
                </a:lnSpc>
                <a:spcBef>
                  <a:spcPts val="600"/>
                </a:spcBef>
                <a:buClr>
                  <a:schemeClr val="accent1"/>
                </a:buClr>
                <a:buFont typeface="Wingdings" panose="05000000000000000000" pitchFamily="2" charset="2"/>
                <a:buChar char="§"/>
                <a:defRPr sz="1600" kern="1200">
                  <a:solidFill>
                    <a:schemeClr val="tx1"/>
                  </a:solidFill>
                  <a:latin typeface="+mn-lt"/>
                  <a:ea typeface="+mn-ea"/>
                  <a:cs typeface="+mn-cs"/>
                </a:defRPr>
              </a:lvl3pPr>
              <a:lvl4pPr marL="936000" indent="-228600" algn="l" defTabSz="914400" rtl="0" eaLnBrk="1" latinLnBrk="0" hangingPunct="1">
                <a:lnSpc>
                  <a:spcPct val="11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1152000" indent="-228600" algn="l" defTabSz="914400" rtl="0" eaLnBrk="1" latinLnBrk="0" hangingPunct="1">
                <a:lnSpc>
                  <a:spcPct val="11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9pPr>
            </a:lstStyle>
            <a:p>
              <a:pPr algn="ctr"/>
              <a:r>
                <a:rPr lang="en-GB" sz="1400">
                  <a:latin typeface="Roboto"/>
                  <a:ea typeface="Roboto"/>
                  <a:cs typeface="Roboto"/>
                </a:rPr>
                <a:t>FLT</a:t>
              </a:r>
            </a:p>
          </p:txBody>
        </p:sp>
      </p:grpSp>
      <p:grpSp>
        <p:nvGrpSpPr>
          <p:cNvPr id="76" name="Group 75">
            <a:extLst>
              <a:ext uri="{FF2B5EF4-FFF2-40B4-BE49-F238E27FC236}">
                <a16:creationId xmlns:a16="http://schemas.microsoft.com/office/drawing/2014/main" id="{7E2F40FB-8520-51EC-E24D-5F4E8312F51A}"/>
              </a:ext>
            </a:extLst>
          </p:cNvPr>
          <p:cNvGrpSpPr/>
          <p:nvPr/>
        </p:nvGrpSpPr>
        <p:grpSpPr>
          <a:xfrm>
            <a:off x="8020578" y="4498107"/>
            <a:ext cx="2559801" cy="1584000"/>
            <a:chOff x="8020578" y="4498107"/>
            <a:chExt cx="2559801" cy="1584000"/>
          </a:xfrm>
        </p:grpSpPr>
        <p:grpSp>
          <p:nvGrpSpPr>
            <p:cNvPr id="21" name="Group 20">
              <a:extLst>
                <a:ext uri="{FF2B5EF4-FFF2-40B4-BE49-F238E27FC236}">
                  <a16:creationId xmlns:a16="http://schemas.microsoft.com/office/drawing/2014/main" id="{38C668E0-5954-6F41-22A9-50135E4263F5}"/>
                </a:ext>
              </a:extLst>
            </p:cNvPr>
            <p:cNvGrpSpPr>
              <a:grpSpLocks noChangeAspect="1"/>
            </p:cNvGrpSpPr>
            <p:nvPr/>
          </p:nvGrpSpPr>
          <p:grpSpPr>
            <a:xfrm>
              <a:off x="8981111" y="4498107"/>
              <a:ext cx="1599268" cy="1584000"/>
              <a:chOff x="3135086" y="1653705"/>
              <a:chExt cx="2438400" cy="2415121"/>
            </a:xfrm>
          </p:grpSpPr>
          <p:pic>
            <p:nvPicPr>
              <p:cNvPr id="22" name="Picture 21">
                <a:extLst>
                  <a:ext uri="{FF2B5EF4-FFF2-40B4-BE49-F238E27FC236}">
                    <a16:creationId xmlns:a16="http://schemas.microsoft.com/office/drawing/2014/main" id="{0554B3A2-0C2E-0396-B3DB-50FBCA53A93D}"/>
                  </a:ext>
                </a:extLst>
              </p:cNvPr>
              <p:cNvPicPr>
                <a:picLocks noChangeAspect="1"/>
              </p:cNvPicPr>
              <p:nvPr/>
            </p:nvPicPr>
            <p:blipFill rotWithShape="1">
              <a:blip r:embed="rId10"/>
              <a:srcRect b="25238"/>
              <a:stretch/>
            </p:blipFill>
            <p:spPr>
              <a:xfrm>
                <a:off x="3135086" y="1932505"/>
                <a:ext cx="2438400" cy="2136321"/>
              </a:xfrm>
              <a:prstGeom prst="rect">
                <a:avLst/>
              </a:prstGeom>
            </p:spPr>
          </p:pic>
          <p:pic>
            <p:nvPicPr>
              <p:cNvPr id="23" name="Picture 22">
                <a:extLst>
                  <a:ext uri="{FF2B5EF4-FFF2-40B4-BE49-F238E27FC236}">
                    <a16:creationId xmlns:a16="http://schemas.microsoft.com/office/drawing/2014/main" id="{A8FBECA2-CD91-213F-709B-1910219DE6A1}"/>
                  </a:ext>
                </a:extLst>
              </p:cNvPr>
              <p:cNvPicPr>
                <a:picLocks noChangeAspect="1"/>
              </p:cNvPicPr>
              <p:nvPr/>
            </p:nvPicPr>
            <p:blipFill>
              <a:blip r:embed="rId11"/>
              <a:stretch>
                <a:fillRect/>
              </a:stretch>
            </p:blipFill>
            <p:spPr>
              <a:xfrm>
                <a:off x="4215808" y="1653705"/>
                <a:ext cx="1343603" cy="806162"/>
              </a:xfrm>
              <a:prstGeom prst="rect">
                <a:avLst/>
              </a:prstGeom>
            </p:spPr>
          </p:pic>
        </p:grpSp>
        <p:sp>
          <p:nvSpPr>
            <p:cNvPr id="70" name="Text Placeholder 2">
              <a:extLst>
                <a:ext uri="{FF2B5EF4-FFF2-40B4-BE49-F238E27FC236}">
                  <a16:creationId xmlns:a16="http://schemas.microsoft.com/office/drawing/2014/main" id="{E334487F-B859-A4CC-1423-B94F1E5ACDEF}"/>
                </a:ext>
              </a:extLst>
            </p:cNvPr>
            <p:cNvSpPr txBox="1">
              <a:spLocks/>
            </p:cNvSpPr>
            <p:nvPr/>
          </p:nvSpPr>
          <p:spPr>
            <a:xfrm>
              <a:off x="8126580" y="4979676"/>
              <a:ext cx="1006730" cy="368412"/>
            </a:xfrm>
            <a:prstGeom prst="rect">
              <a:avLst/>
            </a:prstGeom>
          </p:spPr>
          <p:txBody>
            <a:bodyPr vert="horz" lIns="0" tIns="0" rIns="0" bIns="0" rtlCol="0" anchor="t">
              <a:noAutofit/>
            </a:bodyPr>
            <a:lstStyle>
              <a:lvl1pPr marL="0" indent="0" algn="l" defTabSz="914400" rtl="0" eaLnBrk="1" latinLnBrk="0" hangingPunct="1">
                <a:lnSpc>
                  <a:spcPct val="110000"/>
                </a:lnSpc>
                <a:spcBef>
                  <a:spcPts val="1000"/>
                </a:spcBef>
                <a:buClr>
                  <a:schemeClr val="accent1"/>
                </a:buClr>
                <a:buFontTx/>
                <a:buNone/>
                <a:defRPr sz="1800" b="1" kern="1200">
                  <a:solidFill>
                    <a:schemeClr val="tx2"/>
                  </a:solidFill>
                  <a:latin typeface="+mn-lt"/>
                  <a:ea typeface="+mn-ea"/>
                  <a:cs typeface="+mn-cs"/>
                </a:defRPr>
              </a:lvl1pPr>
              <a:lvl2pPr marL="468000" indent="-228600" algn="l" defTabSz="914400" rtl="0" eaLnBrk="1" latinLnBrk="0" hangingPunct="1">
                <a:lnSpc>
                  <a:spcPct val="110000"/>
                </a:lnSpc>
                <a:spcBef>
                  <a:spcPts val="600"/>
                </a:spcBef>
                <a:buClr>
                  <a:schemeClr val="accent1"/>
                </a:buClr>
                <a:buFont typeface="Wingdings" panose="05000000000000000000" pitchFamily="2" charset="2"/>
                <a:buChar char="§"/>
                <a:defRPr sz="1600" kern="1200">
                  <a:solidFill>
                    <a:schemeClr val="tx1"/>
                  </a:solidFill>
                  <a:latin typeface="+mn-lt"/>
                  <a:ea typeface="+mn-ea"/>
                  <a:cs typeface="+mn-cs"/>
                </a:defRPr>
              </a:lvl2pPr>
              <a:lvl3pPr marL="702000" indent="-228600" algn="l" defTabSz="914400" rtl="0" eaLnBrk="1" latinLnBrk="0" hangingPunct="1">
                <a:lnSpc>
                  <a:spcPct val="110000"/>
                </a:lnSpc>
                <a:spcBef>
                  <a:spcPts val="600"/>
                </a:spcBef>
                <a:buClr>
                  <a:schemeClr val="accent1"/>
                </a:buClr>
                <a:buFont typeface="Wingdings" panose="05000000000000000000" pitchFamily="2" charset="2"/>
                <a:buChar char="§"/>
                <a:defRPr sz="1600" kern="1200">
                  <a:solidFill>
                    <a:schemeClr val="tx1"/>
                  </a:solidFill>
                  <a:latin typeface="+mn-lt"/>
                  <a:ea typeface="+mn-ea"/>
                  <a:cs typeface="+mn-cs"/>
                </a:defRPr>
              </a:lvl3pPr>
              <a:lvl4pPr marL="936000" indent="-228600" algn="l" defTabSz="914400" rtl="0" eaLnBrk="1" latinLnBrk="0" hangingPunct="1">
                <a:lnSpc>
                  <a:spcPct val="11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1152000" indent="-228600" algn="l" defTabSz="914400" rtl="0" eaLnBrk="1" latinLnBrk="0" hangingPunct="1">
                <a:lnSpc>
                  <a:spcPct val="11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9pPr>
            </a:lstStyle>
            <a:p>
              <a:pPr algn="ctr"/>
              <a:r>
                <a:rPr lang="en-GB" sz="1400">
                  <a:latin typeface="Roboto"/>
                  <a:ea typeface="Roboto"/>
                  <a:cs typeface="Roboto"/>
                </a:rPr>
                <a:t>Asbestos</a:t>
              </a:r>
            </a:p>
          </p:txBody>
        </p:sp>
        <p:sp>
          <p:nvSpPr>
            <p:cNvPr id="71" name="Text Placeholder 2">
              <a:extLst>
                <a:ext uri="{FF2B5EF4-FFF2-40B4-BE49-F238E27FC236}">
                  <a16:creationId xmlns:a16="http://schemas.microsoft.com/office/drawing/2014/main" id="{B74A2DCC-E041-74A0-8EC2-8422EAC876A6}"/>
                </a:ext>
              </a:extLst>
            </p:cNvPr>
            <p:cNvSpPr txBox="1">
              <a:spLocks/>
            </p:cNvSpPr>
            <p:nvPr/>
          </p:nvSpPr>
          <p:spPr>
            <a:xfrm>
              <a:off x="8020578" y="5142048"/>
              <a:ext cx="1108205" cy="382789"/>
            </a:xfrm>
            <a:prstGeom prst="rect">
              <a:avLst/>
            </a:prstGeom>
          </p:spPr>
          <p:txBody>
            <a:bodyPr vert="horz" lIns="0" tIns="0" rIns="0" bIns="0" rtlCol="0" anchor="t">
              <a:noAutofit/>
            </a:bodyPr>
            <a:lstStyle>
              <a:lvl1pPr marL="0" indent="0" algn="l" defTabSz="914400" rtl="0" eaLnBrk="1" latinLnBrk="0" hangingPunct="1">
                <a:lnSpc>
                  <a:spcPct val="110000"/>
                </a:lnSpc>
                <a:spcBef>
                  <a:spcPts val="1000"/>
                </a:spcBef>
                <a:buClr>
                  <a:schemeClr val="accent1"/>
                </a:buClr>
                <a:buFontTx/>
                <a:buNone/>
                <a:defRPr sz="1800" b="1" kern="1200">
                  <a:solidFill>
                    <a:schemeClr val="tx2"/>
                  </a:solidFill>
                  <a:latin typeface="+mn-lt"/>
                  <a:ea typeface="+mn-ea"/>
                  <a:cs typeface="+mn-cs"/>
                </a:defRPr>
              </a:lvl1pPr>
              <a:lvl2pPr marL="468000" indent="-228600" algn="l" defTabSz="914400" rtl="0" eaLnBrk="1" latinLnBrk="0" hangingPunct="1">
                <a:lnSpc>
                  <a:spcPct val="110000"/>
                </a:lnSpc>
                <a:spcBef>
                  <a:spcPts val="600"/>
                </a:spcBef>
                <a:buClr>
                  <a:schemeClr val="accent1"/>
                </a:buClr>
                <a:buFont typeface="Wingdings" panose="05000000000000000000" pitchFamily="2" charset="2"/>
                <a:buChar char="§"/>
                <a:defRPr sz="1600" kern="1200">
                  <a:solidFill>
                    <a:schemeClr val="tx1"/>
                  </a:solidFill>
                  <a:latin typeface="+mn-lt"/>
                  <a:ea typeface="+mn-ea"/>
                  <a:cs typeface="+mn-cs"/>
                </a:defRPr>
              </a:lvl2pPr>
              <a:lvl3pPr marL="702000" indent="-228600" algn="l" defTabSz="914400" rtl="0" eaLnBrk="1" latinLnBrk="0" hangingPunct="1">
                <a:lnSpc>
                  <a:spcPct val="110000"/>
                </a:lnSpc>
                <a:spcBef>
                  <a:spcPts val="600"/>
                </a:spcBef>
                <a:buClr>
                  <a:schemeClr val="accent1"/>
                </a:buClr>
                <a:buFont typeface="Wingdings" panose="05000000000000000000" pitchFamily="2" charset="2"/>
                <a:buChar char="§"/>
                <a:defRPr sz="1600" kern="1200">
                  <a:solidFill>
                    <a:schemeClr val="tx1"/>
                  </a:solidFill>
                  <a:latin typeface="+mn-lt"/>
                  <a:ea typeface="+mn-ea"/>
                  <a:cs typeface="+mn-cs"/>
                </a:defRPr>
              </a:lvl3pPr>
              <a:lvl4pPr marL="936000" indent="-228600" algn="l" defTabSz="914400" rtl="0" eaLnBrk="1" latinLnBrk="0" hangingPunct="1">
                <a:lnSpc>
                  <a:spcPct val="11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1152000" indent="-228600" algn="l" defTabSz="914400" rtl="0" eaLnBrk="1" latinLnBrk="0" hangingPunct="1">
                <a:lnSpc>
                  <a:spcPct val="11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9pPr>
            </a:lstStyle>
            <a:p>
              <a:pPr algn="ctr"/>
              <a:r>
                <a:rPr lang="en-GB" sz="1400">
                  <a:latin typeface="Roboto"/>
                  <a:ea typeface="Roboto"/>
                  <a:cs typeface="Roboto"/>
                </a:rPr>
                <a:t>Management</a:t>
              </a:r>
            </a:p>
          </p:txBody>
        </p:sp>
      </p:grpSp>
      <p:grpSp>
        <p:nvGrpSpPr>
          <p:cNvPr id="77" name="Group 76">
            <a:extLst>
              <a:ext uri="{FF2B5EF4-FFF2-40B4-BE49-F238E27FC236}">
                <a16:creationId xmlns:a16="http://schemas.microsoft.com/office/drawing/2014/main" id="{BF17B9E2-2D96-8B6A-0B94-9973E4D001EA}"/>
              </a:ext>
            </a:extLst>
          </p:cNvPr>
          <p:cNvGrpSpPr/>
          <p:nvPr/>
        </p:nvGrpSpPr>
        <p:grpSpPr>
          <a:xfrm>
            <a:off x="5319040" y="4508877"/>
            <a:ext cx="2375518" cy="1561384"/>
            <a:chOff x="5319040" y="4508877"/>
            <a:chExt cx="2375518" cy="1561384"/>
          </a:xfrm>
        </p:grpSpPr>
        <p:pic>
          <p:nvPicPr>
            <p:cNvPr id="49" name="Picture 48" descr="A group of construction materials&#10;&#10;Description automatically generated">
              <a:extLst>
                <a:ext uri="{FF2B5EF4-FFF2-40B4-BE49-F238E27FC236}">
                  <a16:creationId xmlns:a16="http://schemas.microsoft.com/office/drawing/2014/main" id="{928AD9F3-9BE8-2360-0F32-62FDAF386A49}"/>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flipH="1">
              <a:off x="5319040" y="4738261"/>
              <a:ext cx="2375518" cy="1332000"/>
            </a:xfrm>
            <a:prstGeom prst="rect">
              <a:avLst/>
            </a:prstGeom>
          </p:spPr>
        </p:pic>
        <p:sp>
          <p:nvSpPr>
            <p:cNvPr id="72" name="Text Placeholder 2">
              <a:extLst>
                <a:ext uri="{FF2B5EF4-FFF2-40B4-BE49-F238E27FC236}">
                  <a16:creationId xmlns:a16="http://schemas.microsoft.com/office/drawing/2014/main" id="{9F768255-0C6C-3D0C-EA3B-8EFA3A1414A2}"/>
                </a:ext>
              </a:extLst>
            </p:cNvPr>
            <p:cNvSpPr txBox="1">
              <a:spLocks/>
            </p:cNvSpPr>
            <p:nvPr/>
          </p:nvSpPr>
          <p:spPr>
            <a:xfrm>
              <a:off x="5718425" y="4508877"/>
              <a:ext cx="1080182" cy="368412"/>
            </a:xfrm>
            <a:prstGeom prst="rect">
              <a:avLst/>
            </a:prstGeom>
          </p:spPr>
          <p:txBody>
            <a:bodyPr vert="horz" lIns="0" tIns="0" rIns="0" bIns="0" rtlCol="0">
              <a:noAutofit/>
            </a:bodyPr>
            <a:lstStyle>
              <a:lvl1pPr marL="0" indent="0" algn="l" defTabSz="914400" rtl="0" eaLnBrk="1" latinLnBrk="0" hangingPunct="1">
                <a:lnSpc>
                  <a:spcPct val="110000"/>
                </a:lnSpc>
                <a:spcBef>
                  <a:spcPts val="1000"/>
                </a:spcBef>
                <a:buClr>
                  <a:schemeClr val="accent1"/>
                </a:buClr>
                <a:buFontTx/>
                <a:buNone/>
                <a:defRPr sz="1800" b="1" kern="1200">
                  <a:solidFill>
                    <a:schemeClr val="tx2"/>
                  </a:solidFill>
                  <a:latin typeface="+mn-lt"/>
                  <a:ea typeface="+mn-ea"/>
                  <a:cs typeface="+mn-cs"/>
                </a:defRPr>
              </a:lvl1pPr>
              <a:lvl2pPr marL="468000" indent="-228600" algn="l" defTabSz="914400" rtl="0" eaLnBrk="1" latinLnBrk="0" hangingPunct="1">
                <a:lnSpc>
                  <a:spcPct val="110000"/>
                </a:lnSpc>
                <a:spcBef>
                  <a:spcPts val="600"/>
                </a:spcBef>
                <a:buClr>
                  <a:schemeClr val="accent1"/>
                </a:buClr>
                <a:buFont typeface="Wingdings" panose="05000000000000000000" pitchFamily="2" charset="2"/>
                <a:buChar char="§"/>
                <a:defRPr sz="1600" kern="1200">
                  <a:solidFill>
                    <a:schemeClr val="tx1"/>
                  </a:solidFill>
                  <a:latin typeface="+mn-lt"/>
                  <a:ea typeface="+mn-ea"/>
                  <a:cs typeface="+mn-cs"/>
                </a:defRPr>
              </a:lvl2pPr>
              <a:lvl3pPr marL="702000" indent="-228600" algn="l" defTabSz="914400" rtl="0" eaLnBrk="1" latinLnBrk="0" hangingPunct="1">
                <a:lnSpc>
                  <a:spcPct val="110000"/>
                </a:lnSpc>
                <a:spcBef>
                  <a:spcPts val="600"/>
                </a:spcBef>
                <a:buClr>
                  <a:schemeClr val="accent1"/>
                </a:buClr>
                <a:buFont typeface="Wingdings" panose="05000000000000000000" pitchFamily="2" charset="2"/>
                <a:buChar char="§"/>
                <a:defRPr sz="1600" kern="1200">
                  <a:solidFill>
                    <a:schemeClr val="tx1"/>
                  </a:solidFill>
                  <a:latin typeface="+mn-lt"/>
                  <a:ea typeface="+mn-ea"/>
                  <a:cs typeface="+mn-cs"/>
                </a:defRPr>
              </a:lvl3pPr>
              <a:lvl4pPr marL="936000" indent="-228600" algn="l" defTabSz="914400" rtl="0" eaLnBrk="1" latinLnBrk="0" hangingPunct="1">
                <a:lnSpc>
                  <a:spcPct val="11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1152000" indent="-228600" algn="l" defTabSz="914400" rtl="0" eaLnBrk="1" latinLnBrk="0" hangingPunct="1">
                <a:lnSpc>
                  <a:spcPct val="11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9pPr>
            </a:lstStyle>
            <a:p>
              <a:pPr algn="ctr"/>
              <a:r>
                <a:rPr lang="en-GB" sz="1400">
                  <a:latin typeface="Roboto"/>
                  <a:ea typeface="Roboto"/>
                  <a:cs typeface="Roboto"/>
                </a:rPr>
                <a:t>Product Safety</a:t>
              </a:r>
            </a:p>
          </p:txBody>
        </p:sp>
      </p:grpSp>
      <p:sp>
        <p:nvSpPr>
          <p:cNvPr id="73" name="Text Placeholder 2">
            <a:extLst>
              <a:ext uri="{FF2B5EF4-FFF2-40B4-BE49-F238E27FC236}">
                <a16:creationId xmlns:a16="http://schemas.microsoft.com/office/drawing/2014/main" id="{7C8622FC-9A8B-322B-B35D-E1C625CF0071}"/>
              </a:ext>
            </a:extLst>
          </p:cNvPr>
          <p:cNvSpPr txBox="1">
            <a:spLocks/>
          </p:cNvSpPr>
          <p:nvPr/>
        </p:nvSpPr>
        <p:spPr>
          <a:xfrm>
            <a:off x="366657" y="2436397"/>
            <a:ext cx="3705862" cy="3521603"/>
          </a:xfrm>
          <a:prstGeom prst="rect">
            <a:avLst/>
          </a:prstGeom>
        </p:spPr>
        <p:txBody>
          <a:bodyPr vert="horz" lIns="0" tIns="0" rIns="0" bIns="0" rtlCol="0" anchor="t">
            <a:noAutofit/>
          </a:bodyPr>
          <a:lstStyle>
            <a:lvl1pPr marL="0" indent="0" algn="l" defTabSz="914400" rtl="0" eaLnBrk="1" latinLnBrk="0" hangingPunct="1">
              <a:lnSpc>
                <a:spcPct val="110000"/>
              </a:lnSpc>
              <a:spcBef>
                <a:spcPts val="1000"/>
              </a:spcBef>
              <a:buClr>
                <a:schemeClr val="accent1"/>
              </a:buClr>
              <a:buFontTx/>
              <a:buNone/>
              <a:defRPr sz="1800" b="1" kern="1200">
                <a:solidFill>
                  <a:schemeClr val="tx2"/>
                </a:solidFill>
                <a:latin typeface="+mn-lt"/>
                <a:ea typeface="+mn-ea"/>
                <a:cs typeface="+mn-cs"/>
              </a:defRPr>
            </a:lvl1pPr>
            <a:lvl2pPr marL="468000" indent="-228600" algn="l" defTabSz="914400" rtl="0" eaLnBrk="1" latinLnBrk="0" hangingPunct="1">
              <a:lnSpc>
                <a:spcPct val="110000"/>
              </a:lnSpc>
              <a:spcBef>
                <a:spcPts val="600"/>
              </a:spcBef>
              <a:buClr>
                <a:schemeClr val="accent1"/>
              </a:buClr>
              <a:buFont typeface="Wingdings" panose="05000000000000000000" pitchFamily="2" charset="2"/>
              <a:buChar char="§"/>
              <a:defRPr sz="1600" kern="1200">
                <a:solidFill>
                  <a:schemeClr val="tx1"/>
                </a:solidFill>
                <a:latin typeface="+mn-lt"/>
                <a:ea typeface="+mn-ea"/>
                <a:cs typeface="+mn-cs"/>
              </a:defRPr>
            </a:lvl2pPr>
            <a:lvl3pPr marL="702000" indent="-228600" algn="l" defTabSz="914400" rtl="0" eaLnBrk="1" latinLnBrk="0" hangingPunct="1">
              <a:lnSpc>
                <a:spcPct val="110000"/>
              </a:lnSpc>
              <a:spcBef>
                <a:spcPts val="600"/>
              </a:spcBef>
              <a:buClr>
                <a:schemeClr val="accent1"/>
              </a:buClr>
              <a:buFont typeface="Wingdings" panose="05000000000000000000" pitchFamily="2" charset="2"/>
              <a:buChar char="§"/>
              <a:defRPr sz="1600" kern="1200">
                <a:solidFill>
                  <a:schemeClr val="tx1"/>
                </a:solidFill>
                <a:latin typeface="+mn-lt"/>
                <a:ea typeface="+mn-ea"/>
                <a:cs typeface="+mn-cs"/>
              </a:defRPr>
            </a:lvl3pPr>
            <a:lvl4pPr marL="936000" indent="-228600" algn="l" defTabSz="914400" rtl="0" eaLnBrk="1" latinLnBrk="0" hangingPunct="1">
              <a:lnSpc>
                <a:spcPct val="11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1152000" indent="-228600" algn="l" defTabSz="914400" rtl="0" eaLnBrk="1" latinLnBrk="0" hangingPunct="1">
              <a:lnSpc>
                <a:spcPct val="11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9pPr>
          </a:lstStyle>
          <a:p>
            <a:pPr marL="357188" indent="-357188">
              <a:lnSpc>
                <a:spcPct val="100000"/>
              </a:lnSpc>
              <a:spcAft>
                <a:spcPts val="600"/>
              </a:spcAft>
              <a:buClrTx/>
              <a:buFont typeface="+mj-lt"/>
              <a:buAutoNum type="arabicPeriod"/>
            </a:pPr>
            <a:r>
              <a:rPr lang="en-GB" sz="1600" b="0" dirty="0">
                <a:solidFill>
                  <a:schemeClr val="tx1"/>
                </a:solidFill>
                <a:latin typeface="Roboto"/>
                <a:ea typeface="Roboto"/>
                <a:cs typeface="Roboto"/>
              </a:rPr>
              <a:t>FLTs – Safe Working Exclusion Zone</a:t>
            </a:r>
          </a:p>
          <a:p>
            <a:pPr marL="357188" indent="-357188">
              <a:lnSpc>
                <a:spcPct val="100000"/>
              </a:lnSpc>
              <a:spcAft>
                <a:spcPts val="600"/>
              </a:spcAft>
              <a:buClrTx/>
              <a:buFont typeface="+mj-lt"/>
              <a:buAutoNum type="arabicPeriod"/>
            </a:pPr>
            <a:r>
              <a:rPr lang="en-GB" sz="1600" b="0" dirty="0">
                <a:solidFill>
                  <a:schemeClr val="tx1"/>
                </a:solidFill>
                <a:latin typeface="Roboto"/>
                <a:ea typeface="Roboto"/>
                <a:cs typeface="Roboto"/>
              </a:rPr>
              <a:t>Drivers – Crane use, accessing cabs &amp; beds</a:t>
            </a:r>
          </a:p>
          <a:p>
            <a:pPr marL="357188" indent="-357188">
              <a:lnSpc>
                <a:spcPct val="100000"/>
              </a:lnSpc>
              <a:spcAft>
                <a:spcPts val="600"/>
              </a:spcAft>
              <a:buClrTx/>
              <a:buFont typeface="+mj-lt"/>
              <a:buAutoNum type="arabicPeriod"/>
            </a:pPr>
            <a:r>
              <a:rPr lang="en-GB" sz="1600" b="0" dirty="0">
                <a:solidFill>
                  <a:schemeClr val="tx1"/>
                </a:solidFill>
                <a:latin typeface="Roboto"/>
                <a:ea typeface="Roboto"/>
                <a:cs typeface="Roboto"/>
              </a:rPr>
              <a:t>Asbestos – Managing damage </a:t>
            </a:r>
            <a:br>
              <a:rPr lang="en-GB" sz="1600" b="0" dirty="0">
                <a:solidFill>
                  <a:schemeClr val="tx1"/>
                </a:solidFill>
                <a:latin typeface="Roboto"/>
                <a:ea typeface="Roboto"/>
                <a:cs typeface="Roboto"/>
              </a:rPr>
            </a:br>
            <a:r>
              <a:rPr lang="en-GB" sz="1600" b="0" dirty="0">
                <a:solidFill>
                  <a:schemeClr val="tx1"/>
                </a:solidFill>
                <a:latin typeface="Roboto"/>
                <a:ea typeface="Roboto"/>
                <a:cs typeface="Roboto"/>
              </a:rPr>
              <a:t>&amp; monthly ACM checks</a:t>
            </a:r>
          </a:p>
          <a:p>
            <a:pPr marL="357188" indent="-357188">
              <a:lnSpc>
                <a:spcPct val="100000"/>
              </a:lnSpc>
              <a:spcAft>
                <a:spcPts val="600"/>
              </a:spcAft>
              <a:buClrTx/>
              <a:buFont typeface="+mj-lt"/>
              <a:buAutoNum type="arabicPeriod"/>
            </a:pPr>
            <a:r>
              <a:rPr lang="en-GB" sz="1600" b="0" dirty="0">
                <a:solidFill>
                  <a:schemeClr val="tx1"/>
                </a:solidFill>
                <a:latin typeface="Roboto"/>
                <a:ea typeface="Roboto"/>
                <a:cs typeface="Roboto"/>
              </a:rPr>
              <a:t>Products – Storage / manual handling &amp; adverse weather</a:t>
            </a:r>
          </a:p>
          <a:p>
            <a:pPr marL="357188" indent="-357188">
              <a:lnSpc>
                <a:spcPct val="100000"/>
              </a:lnSpc>
              <a:spcAft>
                <a:spcPts val="600"/>
              </a:spcAft>
              <a:buClrTx/>
              <a:buFont typeface="+mj-lt"/>
              <a:buAutoNum type="arabicPeriod"/>
            </a:pPr>
            <a:r>
              <a:rPr lang="en-GB" sz="1600" b="0" dirty="0">
                <a:solidFill>
                  <a:schemeClr val="tx1"/>
                </a:solidFill>
                <a:latin typeface="Roboto"/>
                <a:ea typeface="Roboto"/>
                <a:cs typeface="Roboto"/>
              </a:rPr>
              <a:t>Competent to manage EHS?</a:t>
            </a:r>
            <a:br>
              <a:rPr lang="en-GB" sz="1600" b="0" dirty="0">
                <a:solidFill>
                  <a:schemeClr val="tx1"/>
                </a:solidFill>
                <a:latin typeface="Roboto"/>
                <a:ea typeface="Roboto"/>
                <a:cs typeface="Roboto"/>
              </a:rPr>
            </a:br>
            <a:r>
              <a:rPr lang="en-GB" sz="1600" b="0" dirty="0">
                <a:solidFill>
                  <a:schemeClr val="tx1"/>
                </a:solidFill>
                <a:latin typeface="Roboto"/>
                <a:ea typeface="Roboto"/>
                <a:cs typeface="Roboto"/>
              </a:rPr>
              <a:t>Get with the programmes </a:t>
            </a:r>
            <a:br>
              <a:rPr lang="en-GB" sz="1600" b="0" dirty="0">
                <a:solidFill>
                  <a:schemeClr val="tx1"/>
                </a:solidFill>
                <a:latin typeface="Roboto"/>
                <a:ea typeface="Roboto"/>
                <a:cs typeface="Roboto"/>
              </a:rPr>
            </a:br>
            <a:r>
              <a:rPr lang="en-GB" sz="1600" b="0" dirty="0">
                <a:solidFill>
                  <a:schemeClr val="tx1"/>
                </a:solidFill>
                <a:latin typeface="Roboto"/>
                <a:ea typeface="Roboto"/>
                <a:cs typeface="Roboto"/>
              </a:rPr>
              <a:t>i.e. SMAT Conversations</a:t>
            </a:r>
          </a:p>
        </p:txBody>
      </p:sp>
      <p:sp>
        <p:nvSpPr>
          <p:cNvPr id="6" name="Title 1">
            <a:extLst>
              <a:ext uri="{FF2B5EF4-FFF2-40B4-BE49-F238E27FC236}">
                <a16:creationId xmlns:a16="http://schemas.microsoft.com/office/drawing/2014/main" id="{4AEE1126-C71B-4955-645E-F528F93AB95E}"/>
              </a:ext>
            </a:extLst>
          </p:cNvPr>
          <p:cNvSpPr>
            <a:spLocks noGrp="1"/>
          </p:cNvSpPr>
          <p:nvPr>
            <p:ph type="title"/>
          </p:nvPr>
        </p:nvSpPr>
        <p:spPr>
          <a:xfrm>
            <a:off x="514800" y="333375"/>
            <a:ext cx="11161263" cy="554400"/>
          </a:xfrm>
        </p:spPr>
        <p:txBody>
          <a:bodyPr>
            <a:noAutofit/>
          </a:bodyPr>
          <a:lstStyle/>
          <a:p>
            <a:r>
              <a:rPr lang="en-GB" sz="3600" b="1" dirty="0">
                <a:solidFill>
                  <a:srgbClr val="002060"/>
                </a:solidFill>
                <a:latin typeface="Roboto Condensed"/>
                <a:ea typeface="Roboto"/>
                <a:cs typeface="Roboto"/>
              </a:rPr>
              <a:t>Safe to do the right thing</a:t>
            </a:r>
          </a:p>
        </p:txBody>
      </p:sp>
      <p:sp>
        <p:nvSpPr>
          <p:cNvPr id="7" name="Text Placeholder 2">
            <a:extLst>
              <a:ext uri="{FF2B5EF4-FFF2-40B4-BE49-F238E27FC236}">
                <a16:creationId xmlns:a16="http://schemas.microsoft.com/office/drawing/2014/main" id="{1A4CCAAD-615C-8578-772B-5C1D45E5658E}"/>
              </a:ext>
            </a:extLst>
          </p:cNvPr>
          <p:cNvSpPr>
            <a:spLocks noGrp="1"/>
          </p:cNvSpPr>
          <p:nvPr>
            <p:ph type="body" sz="quarter" idx="13"/>
          </p:nvPr>
        </p:nvSpPr>
        <p:spPr>
          <a:xfrm>
            <a:off x="515938" y="900000"/>
            <a:ext cx="6631258" cy="354035"/>
          </a:xfrm>
        </p:spPr>
        <p:txBody>
          <a:bodyPr vert="horz" lIns="91440" tIns="0" rIns="91440" bIns="0" rtlCol="0" anchor="t">
            <a:normAutofit/>
          </a:bodyPr>
          <a:lstStyle/>
          <a:p>
            <a:r>
              <a:rPr lang="en-GB" sz="1800" dirty="0">
                <a:latin typeface="Roboto"/>
                <a:ea typeface="Roboto"/>
                <a:cs typeface="Roboto"/>
              </a:rPr>
              <a:t>Our focus for 2024</a:t>
            </a:r>
          </a:p>
        </p:txBody>
      </p:sp>
    </p:spTree>
    <p:extLst>
      <p:ext uri="{BB962C8B-B14F-4D97-AF65-F5344CB8AC3E}">
        <p14:creationId xmlns:p14="http://schemas.microsoft.com/office/powerpoint/2010/main" val="1685660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57BD4E-2D0A-545A-8BBD-E289F5AEEB47}"/>
              </a:ext>
            </a:extLst>
          </p:cNvPr>
          <p:cNvSpPr>
            <a:spLocks noGrp="1"/>
          </p:cNvSpPr>
          <p:nvPr>
            <p:ph type="title"/>
          </p:nvPr>
        </p:nvSpPr>
        <p:spPr>
          <a:xfrm>
            <a:off x="209903" y="205706"/>
            <a:ext cx="10515600" cy="942664"/>
          </a:xfrm>
        </p:spPr>
        <p:txBody>
          <a:bodyPr vert="horz" lIns="91440" tIns="45720" rIns="91440" bIns="45720" rtlCol="0" anchor="ctr">
            <a:normAutofit/>
          </a:bodyPr>
          <a:lstStyle/>
          <a:p>
            <a:r>
              <a:rPr lang="en-US" sz="4000" b="1" dirty="0">
                <a:solidFill>
                  <a:srgbClr val="002060"/>
                </a:solidFill>
                <a:latin typeface="Roboto Condensed"/>
                <a:ea typeface="Roboto"/>
                <a:cs typeface="Roboto"/>
              </a:rPr>
              <a:t>Aviva </a:t>
            </a:r>
            <a:r>
              <a:rPr lang="en-US" sz="4000" b="1" dirty="0" err="1">
                <a:solidFill>
                  <a:srgbClr val="002060"/>
                </a:solidFill>
                <a:latin typeface="Roboto Condensed"/>
                <a:ea typeface="Roboto"/>
                <a:cs typeface="Roboto"/>
              </a:rPr>
              <a:t>DigiCare</a:t>
            </a:r>
            <a:r>
              <a:rPr lang="en-US" sz="4000" b="1" dirty="0">
                <a:solidFill>
                  <a:srgbClr val="002060"/>
                </a:solidFill>
                <a:latin typeface="Roboto Condensed"/>
                <a:ea typeface="Roboto"/>
                <a:cs typeface="Roboto"/>
              </a:rPr>
              <a:t>+ </a:t>
            </a:r>
            <a:br>
              <a:rPr lang="en-US" sz="4000" b="1" dirty="0">
                <a:solidFill>
                  <a:srgbClr val="002060"/>
                </a:solidFill>
                <a:latin typeface="Roboto Condensed"/>
                <a:ea typeface="Roboto"/>
                <a:cs typeface="Roboto"/>
              </a:rPr>
            </a:br>
            <a:r>
              <a:rPr lang="en-US" sz="2000" b="1" dirty="0">
                <a:solidFill>
                  <a:schemeClr val="tx2"/>
                </a:solidFill>
                <a:latin typeface="Roboto"/>
                <a:ea typeface="Roboto"/>
                <a:cs typeface="Roboto"/>
              </a:rPr>
              <a:t>Workplace services at a glance </a:t>
            </a:r>
          </a:p>
        </p:txBody>
      </p:sp>
      <p:pic>
        <p:nvPicPr>
          <p:cNvPr id="8" name="Picture 7">
            <a:extLst>
              <a:ext uri="{FF2B5EF4-FFF2-40B4-BE49-F238E27FC236}">
                <a16:creationId xmlns:a16="http://schemas.microsoft.com/office/drawing/2014/main" id="{855346E6-1501-183F-8CE8-5B9C07B1BD8C}"/>
              </a:ext>
            </a:extLst>
          </p:cNvPr>
          <p:cNvPicPr>
            <a:picLocks noChangeAspect="1"/>
          </p:cNvPicPr>
          <p:nvPr/>
        </p:nvPicPr>
        <p:blipFill rotWithShape="1">
          <a:blip r:embed="rId3"/>
          <a:srcRect l="-1164" t="6853" r="-35726" b="12334"/>
          <a:stretch/>
        </p:blipFill>
        <p:spPr>
          <a:xfrm>
            <a:off x="360888" y="1409882"/>
            <a:ext cx="11315175" cy="5186606"/>
          </a:xfrm>
          <a:prstGeom prst="rect">
            <a:avLst/>
          </a:prstGeom>
          <a:solidFill>
            <a:schemeClr val="bg1"/>
          </a:solidFill>
          <a:ln>
            <a:noFill/>
          </a:ln>
          <a:effectLst>
            <a:outerShdw blurRad="292100" dist="139700" dir="2700000" algn="tl" rotWithShape="0">
              <a:srgbClr val="333333">
                <a:alpha val="65000"/>
              </a:srgbClr>
            </a:outerShdw>
          </a:effectLst>
        </p:spPr>
      </p:pic>
      <p:pic>
        <p:nvPicPr>
          <p:cNvPr id="5" name="Picture 4">
            <a:extLst>
              <a:ext uri="{FF2B5EF4-FFF2-40B4-BE49-F238E27FC236}">
                <a16:creationId xmlns:a16="http://schemas.microsoft.com/office/drawing/2014/main" id="{C11195EE-D303-B90B-0B63-35F88C2EEE5A}"/>
              </a:ext>
            </a:extLst>
          </p:cNvPr>
          <p:cNvPicPr>
            <a:picLocks noChangeAspect="1"/>
          </p:cNvPicPr>
          <p:nvPr/>
        </p:nvPicPr>
        <p:blipFill>
          <a:blip r:embed="rId4"/>
          <a:stretch>
            <a:fillRect/>
          </a:stretch>
        </p:blipFill>
        <p:spPr>
          <a:xfrm>
            <a:off x="9450234" y="1703250"/>
            <a:ext cx="1375690" cy="1363931"/>
          </a:xfrm>
          <a:prstGeom prst="roundRect">
            <a:avLst/>
          </a:prstGeom>
        </p:spPr>
      </p:pic>
      <p:pic>
        <p:nvPicPr>
          <p:cNvPr id="7" name="Picture 6">
            <a:extLst>
              <a:ext uri="{FF2B5EF4-FFF2-40B4-BE49-F238E27FC236}">
                <a16:creationId xmlns:a16="http://schemas.microsoft.com/office/drawing/2014/main" id="{44B74BB2-F625-C572-3D91-02844280A02D}"/>
              </a:ext>
            </a:extLst>
          </p:cNvPr>
          <p:cNvPicPr>
            <a:picLocks noChangeAspect="1"/>
          </p:cNvPicPr>
          <p:nvPr/>
        </p:nvPicPr>
        <p:blipFill rotWithShape="1">
          <a:blip r:embed="rId5"/>
          <a:srcRect l="3846" t="2534" r="3576" b="2319"/>
          <a:stretch/>
        </p:blipFill>
        <p:spPr>
          <a:xfrm>
            <a:off x="8753850" y="3360548"/>
            <a:ext cx="2768458" cy="2788417"/>
          </a:xfrm>
          <a:prstGeom prst="ellipse">
            <a:avLst/>
          </a:prstGeom>
        </p:spPr>
      </p:pic>
    </p:spTree>
    <p:extLst>
      <p:ext uri="{BB962C8B-B14F-4D97-AF65-F5344CB8AC3E}">
        <p14:creationId xmlns:p14="http://schemas.microsoft.com/office/powerpoint/2010/main" val="3224113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1A61A15-3FD6-31C0-9A51-9724F5514283}"/>
              </a:ext>
            </a:extLst>
          </p:cNvPr>
          <p:cNvSpPr txBox="1"/>
          <p:nvPr/>
        </p:nvSpPr>
        <p:spPr>
          <a:xfrm>
            <a:off x="952500" y="2006600"/>
            <a:ext cx="3759200" cy="2281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78000"/>
              </a:lnSpc>
            </a:pPr>
            <a:r>
              <a:rPr lang="en-US" sz="6000" b="1">
                <a:solidFill>
                  <a:srgbClr val="002060"/>
                </a:solidFill>
                <a:latin typeface="Roboto Condensed"/>
                <a:ea typeface="Roboto Condensed"/>
                <a:cs typeface="Roboto Condensed"/>
              </a:rPr>
              <a:t>OUR CURRENT POSITION</a:t>
            </a:r>
            <a:endParaRPr lang="en-US"/>
          </a:p>
        </p:txBody>
      </p:sp>
    </p:spTree>
    <p:extLst>
      <p:ext uri="{BB962C8B-B14F-4D97-AF65-F5344CB8AC3E}">
        <p14:creationId xmlns:p14="http://schemas.microsoft.com/office/powerpoint/2010/main" val="840549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EB3C2403-720E-1147-B942-AB3B41D7F2D5}"/>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t="31479" r="176" b="7960"/>
          <a:stretch/>
        </p:blipFill>
        <p:spPr>
          <a:xfrm>
            <a:off x="0" y="0"/>
            <a:ext cx="11322705" cy="6858000"/>
          </a:xfrm>
        </p:spPr>
      </p:pic>
      <p:sp>
        <p:nvSpPr>
          <p:cNvPr id="18" name="Rectangle: Rounded Corners 17">
            <a:extLst>
              <a:ext uri="{FF2B5EF4-FFF2-40B4-BE49-F238E27FC236}">
                <a16:creationId xmlns:a16="http://schemas.microsoft.com/office/drawing/2014/main" id="{1DA71782-81FF-2078-B53D-B050A4A20407}"/>
              </a:ext>
            </a:extLst>
          </p:cNvPr>
          <p:cNvSpPr/>
          <p:nvPr/>
        </p:nvSpPr>
        <p:spPr>
          <a:xfrm>
            <a:off x="371466" y="5757863"/>
            <a:ext cx="7943850" cy="695325"/>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a:ea typeface="+mn-ea"/>
              <a:cs typeface="+mn-cs"/>
            </a:endParaRPr>
          </a:p>
        </p:txBody>
      </p:sp>
      <p:pic>
        <p:nvPicPr>
          <p:cNvPr id="8" name="Picture 7">
            <a:extLst>
              <a:ext uri="{FF2B5EF4-FFF2-40B4-BE49-F238E27FC236}">
                <a16:creationId xmlns:a16="http://schemas.microsoft.com/office/drawing/2014/main" id="{502450AF-1956-7022-B6A9-BF7AEF74E555}"/>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10750210" y="3612102"/>
            <a:ext cx="1147212" cy="1912938"/>
          </a:xfrm>
          <a:prstGeom prst="rect">
            <a:avLst/>
          </a:prstGeom>
        </p:spPr>
      </p:pic>
      <p:sp>
        <p:nvSpPr>
          <p:cNvPr id="3" name="TextBox 2">
            <a:extLst>
              <a:ext uri="{FF2B5EF4-FFF2-40B4-BE49-F238E27FC236}">
                <a16:creationId xmlns:a16="http://schemas.microsoft.com/office/drawing/2014/main" id="{DFEFA249-BF78-19A0-C5C3-DD854AC92E0B}"/>
              </a:ext>
            </a:extLst>
          </p:cNvPr>
          <p:cNvSpPr txBox="1"/>
          <p:nvPr/>
        </p:nvSpPr>
        <p:spPr>
          <a:xfrm>
            <a:off x="1636898" y="1100097"/>
            <a:ext cx="5390779" cy="1569660"/>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600" b="1" i="0" u="none" strike="noStrike" kern="1200" cap="none" spc="0" normalizeH="0" baseline="0" noProof="0">
                <a:ln>
                  <a:noFill/>
                </a:ln>
                <a:solidFill>
                  <a:srgbClr val="FDFEFD"/>
                </a:solidFill>
                <a:effectLst/>
                <a:uLnTx/>
                <a:uFillTx/>
                <a:latin typeface="Roboto Condensed"/>
                <a:ea typeface="+mn-ea"/>
                <a:cs typeface="+mn-cs"/>
              </a:rPr>
              <a:t>GROWTH</a:t>
            </a:r>
          </a:p>
        </p:txBody>
      </p:sp>
      <p:sp>
        <p:nvSpPr>
          <p:cNvPr id="13" name="TextBox 12">
            <a:extLst>
              <a:ext uri="{FF2B5EF4-FFF2-40B4-BE49-F238E27FC236}">
                <a16:creationId xmlns:a16="http://schemas.microsoft.com/office/drawing/2014/main" id="{B8A61962-2DA0-086F-1B05-7644094F4CE1}"/>
              </a:ext>
            </a:extLst>
          </p:cNvPr>
          <p:cNvSpPr txBox="1"/>
          <p:nvPr/>
        </p:nvSpPr>
        <p:spPr>
          <a:xfrm>
            <a:off x="434824" y="503171"/>
            <a:ext cx="6098874"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a:ln w="38100">
                  <a:noFill/>
                </a:ln>
                <a:solidFill>
                  <a:srgbClr val="FDFEFD"/>
                </a:solidFill>
                <a:effectLst/>
                <a:uLnTx/>
                <a:uFillTx/>
                <a:latin typeface="Roboto Condensed"/>
                <a:ea typeface="+mn-ea"/>
                <a:cs typeface="+mn-cs"/>
              </a:rPr>
              <a:t>POISED FOR </a:t>
            </a:r>
            <a:endParaRPr kumimoji="0" lang="en-US" sz="1800" b="0" i="0" u="none" strike="noStrike" kern="1200" cap="none" spc="0" normalizeH="0" baseline="0" noProof="0">
              <a:ln>
                <a:noFill/>
              </a:ln>
              <a:solidFill>
                <a:srgbClr val="000000"/>
              </a:solidFill>
              <a:effectLst/>
              <a:uLnTx/>
              <a:uFillTx/>
              <a:latin typeface="Roboto"/>
              <a:ea typeface="+mn-ea"/>
              <a:cs typeface="+mn-cs"/>
            </a:endParaRPr>
          </a:p>
        </p:txBody>
      </p:sp>
      <p:pic>
        <p:nvPicPr>
          <p:cNvPr id="17" name="Picture 16">
            <a:extLst>
              <a:ext uri="{FF2B5EF4-FFF2-40B4-BE49-F238E27FC236}">
                <a16:creationId xmlns:a16="http://schemas.microsoft.com/office/drawing/2014/main" id="{A0B1CAB8-DBE6-8055-7102-5D8EF28F68B7}"/>
              </a:ext>
            </a:extLst>
          </p:cNvPr>
          <p:cNvPicPr>
            <a:picLocks noChangeAspect="1"/>
          </p:cNvPicPr>
          <p:nvPr/>
        </p:nvPicPr>
        <p:blipFill>
          <a:blip r:embed="rId5"/>
          <a:stretch>
            <a:fillRect/>
          </a:stretch>
        </p:blipFill>
        <p:spPr>
          <a:xfrm>
            <a:off x="569248" y="5912547"/>
            <a:ext cx="7570273" cy="347787"/>
          </a:xfrm>
          <a:prstGeom prst="rect">
            <a:avLst/>
          </a:prstGeom>
          <a:solidFill>
            <a:schemeClr val="bg1"/>
          </a:solidFill>
        </p:spPr>
      </p:pic>
    </p:spTree>
    <p:extLst>
      <p:ext uri="{BB962C8B-B14F-4D97-AF65-F5344CB8AC3E}">
        <p14:creationId xmlns:p14="http://schemas.microsoft.com/office/powerpoint/2010/main" val="2334632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EB3C2403-720E-1147-B942-AB3B41D7F2D5}"/>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l="10325" t="22400" r="23122" b="17132"/>
          <a:stretch/>
        </p:blipFill>
        <p:spPr>
          <a:xfrm>
            <a:off x="0" y="0"/>
            <a:ext cx="11322429" cy="6858000"/>
          </a:xfrm>
        </p:spPr>
      </p:pic>
      <p:pic>
        <p:nvPicPr>
          <p:cNvPr id="8" name="Picture 7">
            <a:extLst>
              <a:ext uri="{FF2B5EF4-FFF2-40B4-BE49-F238E27FC236}">
                <a16:creationId xmlns:a16="http://schemas.microsoft.com/office/drawing/2014/main" id="{502450AF-1956-7022-B6A9-BF7AEF74E555}"/>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10750210" y="3612102"/>
            <a:ext cx="1147212" cy="1912938"/>
          </a:xfrm>
          <a:prstGeom prst="rect">
            <a:avLst/>
          </a:prstGeom>
        </p:spPr>
      </p:pic>
      <p:sp>
        <p:nvSpPr>
          <p:cNvPr id="2" name="TextBox 1">
            <a:extLst>
              <a:ext uri="{FF2B5EF4-FFF2-40B4-BE49-F238E27FC236}">
                <a16:creationId xmlns:a16="http://schemas.microsoft.com/office/drawing/2014/main" id="{6111BF0E-B6BB-5688-5795-354AFABDFA38}"/>
              </a:ext>
            </a:extLst>
          </p:cNvPr>
          <p:cNvSpPr txBox="1"/>
          <p:nvPr/>
        </p:nvSpPr>
        <p:spPr>
          <a:xfrm>
            <a:off x="503837" y="1511765"/>
            <a:ext cx="6054126" cy="1446550"/>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a:ln w="38100">
                  <a:noFill/>
                </a:ln>
                <a:solidFill>
                  <a:srgbClr val="FFFFFF"/>
                </a:solidFill>
                <a:effectLst/>
                <a:uLnTx/>
                <a:uFillTx/>
                <a:latin typeface="Roboto Condensed"/>
                <a:ea typeface="+mn-ea"/>
                <a:cs typeface="+mn-cs"/>
              </a:rPr>
              <a:t>BLUEPRINT</a:t>
            </a:r>
            <a:endParaRPr kumimoji="0" lang="en-US" sz="8800" b="1" i="0" u="none" strike="noStrike" kern="1200" cap="none" spc="0" normalizeH="0" baseline="0" noProof="0">
              <a:ln>
                <a:noFill/>
              </a:ln>
              <a:solidFill>
                <a:srgbClr val="FFFFFF"/>
              </a:solidFill>
              <a:effectLst/>
              <a:uLnTx/>
              <a:uFillTx/>
              <a:latin typeface="Roboto Condensed"/>
              <a:ea typeface="+mn-ea"/>
              <a:cs typeface="+mn-cs"/>
            </a:endParaRPr>
          </a:p>
        </p:txBody>
      </p:sp>
      <p:sp>
        <p:nvSpPr>
          <p:cNvPr id="3" name="TextBox 2">
            <a:extLst>
              <a:ext uri="{FF2B5EF4-FFF2-40B4-BE49-F238E27FC236}">
                <a16:creationId xmlns:a16="http://schemas.microsoft.com/office/drawing/2014/main" id="{DFEFA249-BF78-19A0-C5C3-DD854AC92E0B}"/>
              </a:ext>
            </a:extLst>
          </p:cNvPr>
          <p:cNvSpPr txBox="1"/>
          <p:nvPr/>
        </p:nvSpPr>
        <p:spPr>
          <a:xfrm>
            <a:off x="1805339" y="2576295"/>
            <a:ext cx="5390779" cy="1107996"/>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a:ln>
                  <a:noFill/>
                </a:ln>
                <a:solidFill>
                  <a:srgbClr val="FFFFFF"/>
                </a:solidFill>
                <a:effectLst/>
                <a:uLnTx/>
                <a:uFillTx/>
                <a:latin typeface="Roboto Condensed"/>
                <a:ea typeface="+mn-ea"/>
                <a:cs typeface="+mn-cs"/>
              </a:rPr>
              <a:t>FOR SUCCESS</a:t>
            </a:r>
          </a:p>
        </p:txBody>
      </p:sp>
      <p:sp>
        <p:nvSpPr>
          <p:cNvPr id="13" name="TextBox 12">
            <a:extLst>
              <a:ext uri="{FF2B5EF4-FFF2-40B4-BE49-F238E27FC236}">
                <a16:creationId xmlns:a16="http://schemas.microsoft.com/office/drawing/2014/main" id="{B8A61962-2DA0-086F-1B05-7644094F4CE1}"/>
              </a:ext>
            </a:extLst>
          </p:cNvPr>
          <p:cNvSpPr txBox="1"/>
          <p:nvPr/>
        </p:nvSpPr>
        <p:spPr>
          <a:xfrm>
            <a:off x="434824" y="945453"/>
            <a:ext cx="6098874"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a:ln w="38100">
                  <a:noFill/>
                </a:ln>
                <a:solidFill>
                  <a:srgbClr val="FFFFFF"/>
                </a:solidFill>
                <a:effectLst/>
                <a:uLnTx/>
                <a:uFillTx/>
                <a:latin typeface="Roboto Condensed"/>
                <a:ea typeface="+mn-ea"/>
                <a:cs typeface="+mn-cs"/>
              </a:rPr>
              <a:t>OUR </a:t>
            </a:r>
            <a:endParaRPr kumimoji="0" lang="en-US" sz="1800" b="0" i="0" u="none" strike="noStrike" kern="1200" cap="none" spc="0" normalizeH="0" baseline="0" noProof="0">
              <a:ln>
                <a:noFill/>
              </a:ln>
              <a:solidFill>
                <a:srgbClr val="FFFFFF"/>
              </a:solidFill>
              <a:effectLst/>
              <a:uLnTx/>
              <a:uFillTx/>
              <a:latin typeface="Roboto"/>
              <a:ea typeface="+mn-ea"/>
              <a:cs typeface="+mn-cs"/>
            </a:endParaRPr>
          </a:p>
        </p:txBody>
      </p:sp>
      <p:sp>
        <p:nvSpPr>
          <p:cNvPr id="4" name="TextBox 3">
            <a:extLst>
              <a:ext uri="{FF2B5EF4-FFF2-40B4-BE49-F238E27FC236}">
                <a16:creationId xmlns:a16="http://schemas.microsoft.com/office/drawing/2014/main" id="{BB701A68-08E8-CA8E-E62C-C1D84869DC16}"/>
              </a:ext>
            </a:extLst>
          </p:cNvPr>
          <p:cNvSpPr txBox="1"/>
          <p:nvPr/>
        </p:nvSpPr>
        <p:spPr>
          <a:xfrm>
            <a:off x="1188470" y="4161950"/>
            <a:ext cx="3985065" cy="1569660"/>
          </a:xfrm>
          <a:prstGeom prst="rect">
            <a:avLst/>
          </a:prstGeom>
          <a:noFill/>
        </p:spPr>
        <p:txBody>
          <a:bodyPr wrap="non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Roboto Condensed"/>
                <a:ea typeface="+mn-ea"/>
                <a:cs typeface="+mn-cs"/>
              </a:rPr>
              <a:t>SIMPLIFIC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Roboto Condensed"/>
                <a:ea typeface="+mn-ea"/>
                <a:cs typeface="+mn-cs"/>
              </a:rPr>
              <a:t>THE CUSTOM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Roboto Condensed"/>
                <a:ea typeface="+mn-ea"/>
                <a:cs typeface="+mn-cs"/>
              </a:rPr>
              <a:t>THE BRANCH MANAGER</a:t>
            </a:r>
          </a:p>
        </p:txBody>
      </p:sp>
    </p:spTree>
    <p:extLst>
      <p:ext uri="{BB962C8B-B14F-4D97-AF65-F5344CB8AC3E}">
        <p14:creationId xmlns:p14="http://schemas.microsoft.com/office/powerpoint/2010/main" val="20709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2_STARK LIght">
  <a:themeElements>
    <a:clrScheme name="STARK theme colours">
      <a:dk1>
        <a:srgbClr val="000000"/>
      </a:dk1>
      <a:lt1>
        <a:srgbClr val="FFFFFF"/>
      </a:lt1>
      <a:dk2>
        <a:srgbClr val="00326E"/>
      </a:dk2>
      <a:lt2>
        <a:srgbClr val="FDFEFD"/>
      </a:lt2>
      <a:accent1>
        <a:srgbClr val="00326E"/>
      </a:accent1>
      <a:accent2>
        <a:srgbClr val="B2C1D3"/>
      </a:accent2>
      <a:accent3>
        <a:srgbClr val="F5821E"/>
      </a:accent3>
      <a:accent4>
        <a:srgbClr val="F8AE6D"/>
      </a:accent4>
      <a:accent5>
        <a:srgbClr val="0B5AC8"/>
      </a:accent5>
      <a:accent6>
        <a:srgbClr val="85ACE3"/>
      </a:accent6>
      <a:hlink>
        <a:srgbClr val="F5821E"/>
      </a:hlink>
      <a:folHlink>
        <a:srgbClr val="F5821E"/>
      </a:folHlink>
    </a:clrScheme>
    <a:fontScheme name="STARK theme fonts">
      <a:majorFont>
        <a:latin typeface="Roboto Condensed"/>
        <a:ea typeface=""/>
        <a:cs typeface=""/>
      </a:majorFont>
      <a:minorFont>
        <a:latin typeface="Robo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rIns="0" rtlCol="0">
        <a:spAutoFit/>
      </a:bodyPr>
      <a:lstStyle>
        <a:defPPr algn="l">
          <a:defRPr dirty="0" err="1" smtClean="0"/>
        </a:defPPr>
      </a:lstStyle>
    </a:txDef>
  </a:objectDefaults>
  <a:extraClrSchemeLst/>
  <a:extLst>
    <a:ext uri="{05A4C25C-085E-4340-85A3-A5531E510DB2}">
      <thm15:themeFamily xmlns:thm15="http://schemas.microsoft.com/office/thememl/2012/main" name="STARK UK 1.4" id="{7CF6C614-DC5A-4118-B863-1890D5BD8535}" vid="{991DD978-2050-4145-A2C6-89991EC993AE}"/>
    </a:ext>
  </a:extLst>
</a:theme>
</file>

<file path=ppt/theme/theme3.xml><?xml version="1.0" encoding="utf-8"?>
<a:theme xmlns:a="http://schemas.openxmlformats.org/drawingml/2006/main" name="STARK LIght">
  <a:themeElements>
    <a:clrScheme name="STARK theme colours">
      <a:dk1>
        <a:srgbClr val="000000"/>
      </a:dk1>
      <a:lt1>
        <a:srgbClr val="FFFFFF"/>
      </a:lt1>
      <a:dk2>
        <a:srgbClr val="00326E"/>
      </a:dk2>
      <a:lt2>
        <a:srgbClr val="FDFEFD"/>
      </a:lt2>
      <a:accent1>
        <a:srgbClr val="00326E"/>
      </a:accent1>
      <a:accent2>
        <a:srgbClr val="B2C1D3"/>
      </a:accent2>
      <a:accent3>
        <a:srgbClr val="F5821E"/>
      </a:accent3>
      <a:accent4>
        <a:srgbClr val="F8AE6D"/>
      </a:accent4>
      <a:accent5>
        <a:srgbClr val="0B5AC8"/>
      </a:accent5>
      <a:accent6>
        <a:srgbClr val="85ACE3"/>
      </a:accent6>
      <a:hlink>
        <a:srgbClr val="F5821E"/>
      </a:hlink>
      <a:folHlink>
        <a:srgbClr val="F5821E"/>
      </a:folHlink>
    </a:clrScheme>
    <a:fontScheme name="STARK theme fonts">
      <a:majorFont>
        <a:latin typeface="Roboto Condensed"/>
        <a:ea typeface=""/>
        <a:cs typeface=""/>
      </a:majorFont>
      <a:minorFont>
        <a:latin typeface="Robo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rIns="0" rtlCol="0">
        <a:spAutoFit/>
      </a:bodyPr>
      <a:lstStyle>
        <a:defPPr algn="l">
          <a:defRPr dirty="0" err="1" smtClean="0"/>
        </a:defPPr>
      </a:lstStyle>
    </a:txDef>
  </a:objectDefaults>
  <a:extraClrSchemeLst/>
  <a:extLst>
    <a:ext uri="{05A4C25C-085E-4340-85A3-A5531E510DB2}">
      <thm15:themeFamily xmlns:thm15="http://schemas.microsoft.com/office/thememl/2012/main" name="STARK UK 1.4" id="{7CF6C614-DC5A-4118-B863-1890D5BD8535}" vid="{991DD978-2050-4145-A2C6-89991EC993AE}"/>
    </a:ext>
  </a:extLst>
</a:theme>
</file>

<file path=ppt/theme/theme4.xml><?xml version="1.0" encoding="utf-8"?>
<a:theme xmlns:a="http://schemas.openxmlformats.org/drawingml/2006/main" name="Stark Dark">
  <a:themeElements>
    <a:clrScheme name="STARK theme colours">
      <a:dk1>
        <a:srgbClr val="000000"/>
      </a:dk1>
      <a:lt1>
        <a:srgbClr val="FFFFFF"/>
      </a:lt1>
      <a:dk2>
        <a:srgbClr val="00326E"/>
      </a:dk2>
      <a:lt2>
        <a:srgbClr val="FDFEFD"/>
      </a:lt2>
      <a:accent1>
        <a:srgbClr val="00326E"/>
      </a:accent1>
      <a:accent2>
        <a:srgbClr val="B2C1D3"/>
      </a:accent2>
      <a:accent3>
        <a:srgbClr val="F5821E"/>
      </a:accent3>
      <a:accent4>
        <a:srgbClr val="F8AE6D"/>
      </a:accent4>
      <a:accent5>
        <a:srgbClr val="0B5AC8"/>
      </a:accent5>
      <a:accent6>
        <a:srgbClr val="85ACE3"/>
      </a:accent6>
      <a:hlink>
        <a:srgbClr val="F5821E"/>
      </a:hlink>
      <a:folHlink>
        <a:srgbClr val="F5821E"/>
      </a:folHlink>
    </a:clrScheme>
    <a:fontScheme name="STARK theme fonts">
      <a:majorFont>
        <a:latin typeface="Roboto Condensed"/>
        <a:ea typeface=""/>
        <a:cs typeface=""/>
      </a:majorFont>
      <a:minorFont>
        <a:latin typeface="Robo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rIns="0" rtlCol="0">
        <a:spAutoFit/>
      </a:bodyPr>
      <a:lstStyle>
        <a:defPPr algn="l">
          <a:defRPr dirty="0" err="1" smtClean="0"/>
        </a:defPPr>
      </a:lstStyle>
    </a:txDef>
  </a:objectDefaults>
  <a:extraClrSchemeLst/>
  <a:extLst>
    <a:ext uri="{05A4C25C-085E-4340-85A3-A5531E510DB2}">
      <thm15:themeFamily xmlns:thm15="http://schemas.microsoft.com/office/thememl/2012/main" name="STARK_UK_template_(potx)" id="{7B20F10C-0069-4C9E-9734-CB59C1A19C5A}" vid="{4636876D-8328-4DB4-BB78-80286986F0C6}"/>
    </a:ext>
  </a:extLst>
</a:theme>
</file>

<file path=ppt/theme/theme5.xml><?xml version="1.0" encoding="utf-8"?>
<a:theme xmlns:a="http://schemas.openxmlformats.org/drawingml/2006/main" name="1_Stark Dark">
  <a:themeElements>
    <a:clrScheme name="STARK theme colours">
      <a:dk1>
        <a:srgbClr val="000000"/>
      </a:dk1>
      <a:lt1>
        <a:srgbClr val="FFFFFF"/>
      </a:lt1>
      <a:dk2>
        <a:srgbClr val="00326E"/>
      </a:dk2>
      <a:lt2>
        <a:srgbClr val="FDFEFD"/>
      </a:lt2>
      <a:accent1>
        <a:srgbClr val="00326E"/>
      </a:accent1>
      <a:accent2>
        <a:srgbClr val="B2C1D3"/>
      </a:accent2>
      <a:accent3>
        <a:srgbClr val="F5821E"/>
      </a:accent3>
      <a:accent4>
        <a:srgbClr val="F8AE6D"/>
      </a:accent4>
      <a:accent5>
        <a:srgbClr val="0B5AC8"/>
      </a:accent5>
      <a:accent6>
        <a:srgbClr val="85ACE3"/>
      </a:accent6>
      <a:hlink>
        <a:srgbClr val="F5821E"/>
      </a:hlink>
      <a:folHlink>
        <a:srgbClr val="F5821E"/>
      </a:folHlink>
    </a:clrScheme>
    <a:fontScheme name="STARK theme fonts">
      <a:majorFont>
        <a:latin typeface="Roboto Condensed"/>
        <a:ea typeface=""/>
        <a:cs typeface=""/>
      </a:majorFont>
      <a:minorFont>
        <a:latin typeface="Robo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rIns="0" rtlCol="0">
        <a:spAutoFit/>
      </a:bodyPr>
      <a:lstStyle>
        <a:defPPr algn="l">
          <a:defRPr dirty="0" err="1" smtClean="0"/>
        </a:defPPr>
      </a:lstStyle>
    </a:txDef>
  </a:objectDefaults>
  <a:extraClrSchemeLst/>
  <a:extLst>
    <a:ext uri="{05A4C25C-085E-4340-85A3-A5531E510DB2}">
      <thm15:themeFamily xmlns:thm15="http://schemas.microsoft.com/office/thememl/2012/main" name="STARK_UK_template_(potx)" id="{7B20F10C-0069-4C9E-9734-CB59C1A19C5A}" vid="{4636876D-8328-4DB4-BB78-80286986F0C6}"/>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38</TotalTime>
  <Words>5248</Words>
  <Application>Microsoft Office PowerPoint</Application>
  <PresentationFormat>Widescreen</PresentationFormat>
  <Paragraphs>620</Paragraphs>
  <Slides>44</Slides>
  <Notes>44</Notes>
  <HiddenSlides>0</HiddenSlides>
  <MMClips>0</MMClips>
  <ScaleCrop>false</ScaleCrop>
  <HeadingPairs>
    <vt:vector size="8" baseType="variant">
      <vt:variant>
        <vt:lpstr>Fonts Used</vt:lpstr>
      </vt:variant>
      <vt:variant>
        <vt:i4>13</vt:i4>
      </vt:variant>
      <vt:variant>
        <vt:lpstr>Theme</vt:lpstr>
      </vt:variant>
      <vt:variant>
        <vt:i4>5</vt:i4>
      </vt:variant>
      <vt:variant>
        <vt:lpstr>Embedded OLE Servers</vt:lpstr>
      </vt:variant>
      <vt:variant>
        <vt:i4>1</vt:i4>
      </vt:variant>
      <vt:variant>
        <vt:lpstr>Slide Titles</vt:lpstr>
      </vt:variant>
      <vt:variant>
        <vt:i4>44</vt:i4>
      </vt:variant>
    </vt:vector>
  </HeadingPairs>
  <TitlesOfParts>
    <vt:vector size="63" baseType="lpstr">
      <vt:lpstr>Aptos</vt:lpstr>
      <vt:lpstr>Aptos Display</vt:lpstr>
      <vt:lpstr>Arial</vt:lpstr>
      <vt:lpstr>Calibri</vt:lpstr>
      <vt:lpstr>Calibri Light</vt:lpstr>
      <vt:lpstr>Courier New</vt:lpstr>
      <vt:lpstr>Roboto</vt:lpstr>
      <vt:lpstr>Roboto Black</vt:lpstr>
      <vt:lpstr>Roboto Condensed</vt:lpstr>
      <vt:lpstr>Roboto Condensed Bold</vt:lpstr>
      <vt:lpstr>Symbol</vt:lpstr>
      <vt:lpstr>Trebuchet MS</vt:lpstr>
      <vt:lpstr>Wingdings</vt:lpstr>
      <vt:lpstr>office theme</vt:lpstr>
      <vt:lpstr>2_STARK LIght</vt:lpstr>
      <vt:lpstr>STARK LIght</vt:lpstr>
      <vt:lpstr>Stark Dark</vt:lpstr>
      <vt:lpstr>1_Stark Dark</vt:lpstr>
      <vt:lpstr>think-cell Slide</vt:lpstr>
      <vt:lpstr>OUR HOUSE</vt:lpstr>
      <vt:lpstr>Today’s Team Talk</vt:lpstr>
      <vt:lpstr>Safe to do the right thing</vt:lpstr>
      <vt:lpstr>Safe to do the right thing</vt:lpstr>
      <vt:lpstr>Safe to do the right thing</vt:lpstr>
      <vt:lpstr>Aviva DigiCare+  Workplace services at a glance </vt:lpstr>
      <vt:lpstr>PowerPoint Presentation</vt:lpstr>
      <vt:lpstr>PowerPoint Presentation</vt:lpstr>
      <vt:lpstr>PowerPoint Presentation</vt:lpstr>
      <vt:lpstr>PowerPoint Presentation</vt:lpstr>
      <vt:lpstr>PowerPoint Presentation</vt:lpstr>
      <vt:lpstr>PowerPoint Presentation</vt:lpstr>
      <vt:lpstr>Our progress in 2023  &amp; roadmap for 2024</vt:lpstr>
      <vt:lpstr>Trust in BETTER</vt:lpstr>
      <vt:lpstr>7 Specialist businesses </vt:lpstr>
      <vt:lpstr>Jewson’s key strategic priorities</vt:lpstr>
      <vt:lpstr>Our progress – Autumn 2023        </vt:lpstr>
      <vt:lpstr>Our next priorities        </vt:lpstr>
      <vt:lpstr>Our plan to 2027           </vt:lpstr>
      <vt:lpstr>CATEGORY UPDATE</vt:lpstr>
      <vt:lpstr>Category update</vt:lpstr>
      <vt:lpstr>Category structure</vt:lpstr>
      <vt:lpstr>The new brand house</vt:lpstr>
      <vt:lpstr>PowerPoint Presentation</vt:lpstr>
      <vt:lpstr>PowerPoint Presentation</vt:lpstr>
      <vt:lpstr>PowerPoint Presentation</vt:lpstr>
      <vt:lpstr>PowerPoint Presentation</vt:lpstr>
      <vt:lpstr>What’s getting in the way?</vt:lpstr>
      <vt:lpstr>Stop, Start, Continue</vt:lpstr>
      <vt:lpstr>Our Trust in Better Stories</vt:lpstr>
      <vt:lpstr>PowerPoint Presentation</vt:lpstr>
      <vt:lpstr>PowerPoint Presentation</vt:lpstr>
      <vt:lpstr>PowerPoint Presentation</vt:lpstr>
      <vt:lpstr>Creating our behaviours</vt:lpstr>
      <vt:lpstr>Next 100 days</vt:lpstr>
      <vt:lpstr>Key priorities for the next 100 days</vt:lpstr>
      <vt:lpstr>BETTER  STARTS WITH EACH OF US   BETTER  STARTS TODAY  TRUST IN BETTER </vt:lpstr>
      <vt:lpstr>PowerPoint Presentation</vt:lpstr>
      <vt:lpstr>appendix</vt:lpstr>
      <vt:lpstr>PowerPoint Presentation</vt:lpstr>
      <vt:lpstr>Jewson South East &amp; London</vt:lpstr>
      <vt:lpstr>Jewson Scotland &amp; North</vt:lpstr>
      <vt:lpstr>Jewson Wales &amp; Central England</vt:lpstr>
      <vt:lpstr>Jewson South Wes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adley, Helene</dc:creator>
  <cp:lastModifiedBy>Bains, Shital</cp:lastModifiedBy>
  <cp:revision>3</cp:revision>
  <dcterms:created xsi:type="dcterms:W3CDTF">2024-01-31T10:22:59Z</dcterms:created>
  <dcterms:modified xsi:type="dcterms:W3CDTF">2024-02-12T12:20:56Z</dcterms:modified>
</cp:coreProperties>
</file>